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6"/>
  </p:notesMasterIdLst>
  <p:sldIdLst>
    <p:sldId id="258" r:id="rId2"/>
    <p:sldId id="581" r:id="rId3"/>
    <p:sldId id="579" r:id="rId4"/>
    <p:sldId id="589" r:id="rId5"/>
    <p:sldId id="593" r:id="rId6"/>
    <p:sldId id="257" r:id="rId7"/>
    <p:sldId id="594" r:id="rId8"/>
    <p:sldId id="595" r:id="rId9"/>
    <p:sldId id="596" r:id="rId10"/>
    <p:sldId id="597" r:id="rId11"/>
    <p:sldId id="389" r:id="rId12"/>
    <p:sldId id="588" r:id="rId13"/>
    <p:sldId id="291" r:id="rId14"/>
    <p:sldId id="570" r:id="rId15"/>
    <p:sldId id="587" r:id="rId16"/>
    <p:sldId id="583" r:id="rId17"/>
    <p:sldId id="387" r:id="rId18"/>
    <p:sldId id="592" r:id="rId19"/>
    <p:sldId id="599" r:id="rId20"/>
    <p:sldId id="600" r:id="rId21"/>
    <p:sldId id="601" r:id="rId22"/>
    <p:sldId id="602" r:id="rId23"/>
    <p:sldId id="574" r:id="rId24"/>
    <p:sldId id="576"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96" d="100"/>
          <a:sy n="96" d="100"/>
        </p:scale>
        <p:origin x="86" y="10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00657F-E393-44A9-A809-F8EF3BACC834}" type="datetimeFigureOut">
              <a:rPr lang="en-IN" smtClean="0"/>
              <a:t>10-12-2022</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E2C8D3E-5384-4D24-B7F6-874AA9C642F3}" type="slidenum">
              <a:rPr lang="en-IN" smtClean="0"/>
              <a:t>‹#›</a:t>
            </a:fld>
            <a:endParaRPr lang="en-IN"/>
          </a:p>
        </p:txBody>
      </p:sp>
    </p:spTree>
    <p:extLst>
      <p:ext uri="{BB962C8B-B14F-4D97-AF65-F5344CB8AC3E}">
        <p14:creationId xmlns:p14="http://schemas.microsoft.com/office/powerpoint/2010/main" val="24286071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freepik.com/free-vector/cartoon-characters-coworking-center-creative-space-freelancers-designers-work-together_3266662.htm"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freepik.com/free-vector/cartoon-characters-coworking-center-creative-space-freelancers-designers-work-together_3266662.htm"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dirty="0"/>
              <a:t>&lt;a href="http://www.freepik.com"&gt;Designed by katemangostar / Freepik&lt;/a&gt;</a:t>
            </a:r>
            <a:endParaRPr lang="en-ID" dirty="0"/>
          </a:p>
        </p:txBody>
      </p:sp>
      <p:sp>
        <p:nvSpPr>
          <p:cNvPr id="4" name="Slide Number Placeholder 3"/>
          <p:cNvSpPr>
            <a:spLocks noGrp="1"/>
          </p:cNvSpPr>
          <p:nvPr>
            <p:ph type="sldNum" sz="quarter" idx="5"/>
          </p:nvPr>
        </p:nvSpPr>
        <p:spPr/>
        <p:txBody>
          <a:bodyPr/>
          <a:lstStyle/>
          <a:p>
            <a:fld id="{38ACA1A7-BBBE-4EEC-A773-B93D88219069}" type="slidenum">
              <a:rPr lang="en-ID" smtClean="0"/>
              <a:t>2</a:t>
            </a:fld>
            <a:endParaRPr lang="en-ID"/>
          </a:p>
        </p:txBody>
      </p:sp>
    </p:spTree>
    <p:extLst>
      <p:ext uri="{BB962C8B-B14F-4D97-AF65-F5344CB8AC3E}">
        <p14:creationId xmlns:p14="http://schemas.microsoft.com/office/powerpoint/2010/main" val="15736175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llustration:</a:t>
            </a:r>
          </a:p>
          <a:p>
            <a:pPr marL="171450" indent="-171450">
              <a:buFontTx/>
              <a:buChar char="-"/>
            </a:pPr>
            <a:r>
              <a:rPr lang="en-US" dirty="0">
                <a:hlinkClick r:id="rId3"/>
              </a:rPr>
              <a:t>https://www.freepik.com/free-vector/cartoon-characters-coworking-center-creative-space-freelancers-designers-work-together_3266662.htm</a:t>
            </a:r>
            <a:endParaRPr lang="en-US" dirty="0"/>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400CFF11-17DD-475D-9713-5EF4053141CE}" type="slidenum">
              <a:rPr lang="en-US" smtClean="0"/>
              <a:t>5</a:t>
            </a:fld>
            <a:endParaRPr lang="en-US"/>
          </a:p>
        </p:txBody>
      </p:sp>
    </p:spTree>
    <p:extLst>
      <p:ext uri="{BB962C8B-B14F-4D97-AF65-F5344CB8AC3E}">
        <p14:creationId xmlns:p14="http://schemas.microsoft.com/office/powerpoint/2010/main" val="1288772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llustration:</a:t>
            </a:r>
          </a:p>
          <a:p>
            <a:pPr marL="171450" indent="-171450">
              <a:buFontTx/>
              <a:buChar char="-"/>
            </a:pPr>
            <a:r>
              <a:rPr lang="en-US" dirty="0">
                <a:hlinkClick r:id="rId3"/>
              </a:rPr>
              <a:t>https://www.freepik.com/free-vector/cartoon-characters-coworking-center-creative-space-freelancers-designers-work-together_3266662.htm</a:t>
            </a:r>
            <a:endParaRPr lang="en-US" dirty="0"/>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400CFF11-17DD-475D-9713-5EF4053141CE}" type="slidenum">
              <a:rPr lang="en-US" smtClean="0"/>
              <a:t>11</a:t>
            </a:fld>
            <a:endParaRPr lang="en-US"/>
          </a:p>
        </p:txBody>
      </p:sp>
    </p:spTree>
    <p:extLst>
      <p:ext uri="{BB962C8B-B14F-4D97-AF65-F5344CB8AC3E}">
        <p14:creationId xmlns:p14="http://schemas.microsoft.com/office/powerpoint/2010/main" val="26483656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free-photos-vectors/business"&gt;Business vector created by </a:t>
            </a:r>
            <a:r>
              <a:rPr lang="en-US" dirty="0" err="1"/>
              <a:t>pikisuperstar</a:t>
            </a:r>
            <a:r>
              <a:rPr lang="en-US" dirty="0"/>
              <a:t> - www.freepik.com&lt;/a&gt;</a:t>
            </a:r>
          </a:p>
        </p:txBody>
      </p:sp>
      <p:sp>
        <p:nvSpPr>
          <p:cNvPr id="4" name="Slide Number Placeholder 3"/>
          <p:cNvSpPr>
            <a:spLocks noGrp="1"/>
          </p:cNvSpPr>
          <p:nvPr>
            <p:ph type="sldNum" sz="quarter" idx="5"/>
          </p:nvPr>
        </p:nvSpPr>
        <p:spPr/>
        <p:txBody>
          <a:bodyPr/>
          <a:lstStyle/>
          <a:p>
            <a:fld id="{6AFC05A0-9EDC-4BA4-A242-4EF068C7D54C}" type="slidenum">
              <a:rPr lang="en-US" smtClean="0"/>
              <a:t>12</a:t>
            </a:fld>
            <a:endParaRPr lang="en-US"/>
          </a:p>
        </p:txBody>
      </p:sp>
    </p:spTree>
    <p:extLst>
      <p:ext uri="{BB962C8B-B14F-4D97-AF65-F5344CB8AC3E}">
        <p14:creationId xmlns:p14="http://schemas.microsoft.com/office/powerpoint/2010/main" val="21756340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free-photos-vectors/business"&gt;Business vector created by </a:t>
            </a:r>
            <a:r>
              <a:rPr lang="en-US" dirty="0" err="1"/>
              <a:t>pikisuperstar</a:t>
            </a:r>
            <a:r>
              <a:rPr lang="en-US" dirty="0"/>
              <a:t> - www.freepik.com&lt;/a&gt;</a:t>
            </a:r>
          </a:p>
        </p:txBody>
      </p:sp>
      <p:sp>
        <p:nvSpPr>
          <p:cNvPr id="4" name="Slide Number Placeholder 3"/>
          <p:cNvSpPr>
            <a:spLocks noGrp="1"/>
          </p:cNvSpPr>
          <p:nvPr>
            <p:ph type="sldNum" sz="quarter" idx="5"/>
          </p:nvPr>
        </p:nvSpPr>
        <p:spPr/>
        <p:txBody>
          <a:bodyPr/>
          <a:lstStyle/>
          <a:p>
            <a:fld id="{6AFC05A0-9EDC-4BA4-A242-4EF068C7D54C}" type="slidenum">
              <a:rPr lang="en-US" smtClean="0"/>
              <a:t>15</a:t>
            </a:fld>
            <a:endParaRPr lang="en-US"/>
          </a:p>
        </p:txBody>
      </p:sp>
    </p:spTree>
    <p:extLst>
      <p:ext uri="{BB962C8B-B14F-4D97-AF65-F5344CB8AC3E}">
        <p14:creationId xmlns:p14="http://schemas.microsoft.com/office/powerpoint/2010/main" val="924780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free-photos-vectors/business"&gt;Business vector created by </a:t>
            </a:r>
            <a:r>
              <a:rPr lang="en-US" dirty="0" err="1"/>
              <a:t>pikisuperstar</a:t>
            </a:r>
            <a:r>
              <a:rPr lang="en-US" dirty="0"/>
              <a:t> - www.freepik.com&lt;/a&gt;</a:t>
            </a:r>
          </a:p>
        </p:txBody>
      </p:sp>
      <p:sp>
        <p:nvSpPr>
          <p:cNvPr id="4" name="Slide Number Placeholder 3"/>
          <p:cNvSpPr>
            <a:spLocks noGrp="1"/>
          </p:cNvSpPr>
          <p:nvPr>
            <p:ph type="sldNum" sz="quarter" idx="5"/>
          </p:nvPr>
        </p:nvSpPr>
        <p:spPr/>
        <p:txBody>
          <a:bodyPr/>
          <a:lstStyle/>
          <a:p>
            <a:fld id="{6AFC05A0-9EDC-4BA4-A242-4EF068C7D54C}" type="slidenum">
              <a:rPr lang="en-US" smtClean="0"/>
              <a:t>16</a:t>
            </a:fld>
            <a:endParaRPr lang="en-US"/>
          </a:p>
        </p:txBody>
      </p:sp>
    </p:spTree>
    <p:extLst>
      <p:ext uri="{BB962C8B-B14F-4D97-AF65-F5344CB8AC3E}">
        <p14:creationId xmlns:p14="http://schemas.microsoft.com/office/powerpoint/2010/main" val="14075684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BCEA92-F142-4D57-B507-37BDAF44710C}" type="slidenum">
              <a:rPr lang="en-US" smtClean="0"/>
              <a:t>17</a:t>
            </a:fld>
            <a:endParaRPr lang="en-US"/>
          </a:p>
        </p:txBody>
      </p:sp>
    </p:spTree>
    <p:extLst>
      <p:ext uri="{BB962C8B-B14F-4D97-AF65-F5344CB8AC3E}">
        <p14:creationId xmlns:p14="http://schemas.microsoft.com/office/powerpoint/2010/main" val="1351520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2349C-B416-116E-F0AD-0A5C50001E7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87475377-3E36-5146-2D1B-7517AF3CF4F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E166BD92-D39C-B72A-A575-99340C598D9C}"/>
              </a:ext>
            </a:extLst>
          </p:cNvPr>
          <p:cNvSpPr>
            <a:spLocks noGrp="1"/>
          </p:cNvSpPr>
          <p:nvPr>
            <p:ph type="dt" sz="half" idx="10"/>
          </p:nvPr>
        </p:nvSpPr>
        <p:spPr/>
        <p:txBody>
          <a:bodyPr/>
          <a:lstStyle/>
          <a:p>
            <a:fld id="{F97C6114-4FD8-4CD2-88B3-4E019E90659A}" type="datetimeFigureOut">
              <a:rPr lang="en-IN" smtClean="0"/>
              <a:t>10-12-2022</a:t>
            </a:fld>
            <a:endParaRPr lang="en-IN"/>
          </a:p>
        </p:txBody>
      </p:sp>
      <p:sp>
        <p:nvSpPr>
          <p:cNvPr id="5" name="Footer Placeholder 4">
            <a:extLst>
              <a:ext uri="{FF2B5EF4-FFF2-40B4-BE49-F238E27FC236}">
                <a16:creationId xmlns:a16="http://schemas.microsoft.com/office/drawing/2014/main" id="{608AC41F-ED9F-5508-DDB4-0AF8305147A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56ECF98-F626-5CAF-86C9-FE7FF93B0D37}"/>
              </a:ext>
            </a:extLst>
          </p:cNvPr>
          <p:cNvSpPr>
            <a:spLocks noGrp="1"/>
          </p:cNvSpPr>
          <p:nvPr>
            <p:ph type="sldNum" sz="quarter" idx="12"/>
          </p:nvPr>
        </p:nvSpPr>
        <p:spPr/>
        <p:txBody>
          <a:bodyPr/>
          <a:lstStyle/>
          <a:p>
            <a:fld id="{4737B917-BF9E-453A-A89B-4E1DC62DABA1}" type="slidenum">
              <a:rPr lang="en-IN" smtClean="0"/>
              <a:t>‹#›</a:t>
            </a:fld>
            <a:endParaRPr lang="en-IN"/>
          </a:p>
        </p:txBody>
      </p:sp>
    </p:spTree>
    <p:extLst>
      <p:ext uri="{BB962C8B-B14F-4D97-AF65-F5344CB8AC3E}">
        <p14:creationId xmlns:p14="http://schemas.microsoft.com/office/powerpoint/2010/main" val="2637342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AB2A38-5B40-C176-137F-4BF39A522736}"/>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467C7366-420D-97F0-27DB-C2BE9A87CA6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0FAEF62A-C448-6031-8819-54B5B5C77504}"/>
              </a:ext>
            </a:extLst>
          </p:cNvPr>
          <p:cNvSpPr>
            <a:spLocks noGrp="1"/>
          </p:cNvSpPr>
          <p:nvPr>
            <p:ph type="dt" sz="half" idx="10"/>
          </p:nvPr>
        </p:nvSpPr>
        <p:spPr/>
        <p:txBody>
          <a:bodyPr/>
          <a:lstStyle/>
          <a:p>
            <a:fld id="{F97C6114-4FD8-4CD2-88B3-4E019E90659A}" type="datetimeFigureOut">
              <a:rPr lang="en-IN" smtClean="0"/>
              <a:t>10-12-2022</a:t>
            </a:fld>
            <a:endParaRPr lang="en-IN"/>
          </a:p>
        </p:txBody>
      </p:sp>
      <p:sp>
        <p:nvSpPr>
          <p:cNvPr id="5" name="Footer Placeholder 4">
            <a:extLst>
              <a:ext uri="{FF2B5EF4-FFF2-40B4-BE49-F238E27FC236}">
                <a16:creationId xmlns:a16="http://schemas.microsoft.com/office/drawing/2014/main" id="{C230B6E3-43B2-EAAA-48A8-AA4D0389DEE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5779A2B7-67A8-653F-C0B8-33C59722ABD1}"/>
              </a:ext>
            </a:extLst>
          </p:cNvPr>
          <p:cNvSpPr>
            <a:spLocks noGrp="1"/>
          </p:cNvSpPr>
          <p:nvPr>
            <p:ph type="sldNum" sz="quarter" idx="12"/>
          </p:nvPr>
        </p:nvSpPr>
        <p:spPr/>
        <p:txBody>
          <a:bodyPr/>
          <a:lstStyle/>
          <a:p>
            <a:fld id="{4737B917-BF9E-453A-A89B-4E1DC62DABA1}" type="slidenum">
              <a:rPr lang="en-IN" smtClean="0"/>
              <a:t>‹#›</a:t>
            </a:fld>
            <a:endParaRPr lang="en-IN"/>
          </a:p>
        </p:txBody>
      </p:sp>
    </p:spTree>
    <p:extLst>
      <p:ext uri="{BB962C8B-B14F-4D97-AF65-F5344CB8AC3E}">
        <p14:creationId xmlns:p14="http://schemas.microsoft.com/office/powerpoint/2010/main" val="9540734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E61C3EA-9017-E4E3-188E-AD14619D56B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2F9584D0-21DF-EE6C-DB52-51CC626E6E8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CFD7A35-F406-8729-E455-8D91336DD315}"/>
              </a:ext>
            </a:extLst>
          </p:cNvPr>
          <p:cNvSpPr>
            <a:spLocks noGrp="1"/>
          </p:cNvSpPr>
          <p:nvPr>
            <p:ph type="dt" sz="half" idx="10"/>
          </p:nvPr>
        </p:nvSpPr>
        <p:spPr/>
        <p:txBody>
          <a:bodyPr/>
          <a:lstStyle/>
          <a:p>
            <a:fld id="{F97C6114-4FD8-4CD2-88B3-4E019E90659A}" type="datetimeFigureOut">
              <a:rPr lang="en-IN" smtClean="0"/>
              <a:t>10-12-2022</a:t>
            </a:fld>
            <a:endParaRPr lang="en-IN"/>
          </a:p>
        </p:txBody>
      </p:sp>
      <p:sp>
        <p:nvSpPr>
          <p:cNvPr id="5" name="Footer Placeholder 4">
            <a:extLst>
              <a:ext uri="{FF2B5EF4-FFF2-40B4-BE49-F238E27FC236}">
                <a16:creationId xmlns:a16="http://schemas.microsoft.com/office/drawing/2014/main" id="{DF6EC7B8-565D-C5FA-7147-D7CDB87132B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57A07694-9A5F-E0C2-5474-C5B3499E0F96}"/>
              </a:ext>
            </a:extLst>
          </p:cNvPr>
          <p:cNvSpPr>
            <a:spLocks noGrp="1"/>
          </p:cNvSpPr>
          <p:nvPr>
            <p:ph type="sldNum" sz="quarter" idx="12"/>
          </p:nvPr>
        </p:nvSpPr>
        <p:spPr/>
        <p:txBody>
          <a:bodyPr/>
          <a:lstStyle/>
          <a:p>
            <a:fld id="{4737B917-BF9E-453A-A89B-4E1DC62DABA1}" type="slidenum">
              <a:rPr lang="en-IN" smtClean="0"/>
              <a:t>‹#›</a:t>
            </a:fld>
            <a:endParaRPr lang="en-IN"/>
          </a:p>
        </p:txBody>
      </p:sp>
    </p:spTree>
    <p:extLst>
      <p:ext uri="{BB962C8B-B14F-4D97-AF65-F5344CB8AC3E}">
        <p14:creationId xmlns:p14="http://schemas.microsoft.com/office/powerpoint/2010/main" val="23802594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Title,  5 Pillars smaller text">
    <p:spTree>
      <p:nvGrpSpPr>
        <p:cNvPr id="1" name=""/>
        <p:cNvGrpSpPr/>
        <p:nvPr/>
      </p:nvGrpSpPr>
      <p:grpSpPr>
        <a:xfrm>
          <a:off x="0" y="0"/>
          <a:ext cx="0" cy="0"/>
          <a:chOff x="0" y="0"/>
          <a:chExt cx="0" cy="0"/>
        </a:xfrm>
      </p:grpSpPr>
      <p:sp>
        <p:nvSpPr>
          <p:cNvPr id="4" name="Rectangle 3"/>
          <p:cNvSpPr/>
          <p:nvPr userDrawn="1"/>
        </p:nvSpPr>
        <p:spPr>
          <a:xfrm>
            <a:off x="0" y="0"/>
            <a:ext cx="12192000" cy="1214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304800" y="2598127"/>
            <a:ext cx="3714704" cy="2524794"/>
          </a:xfrm>
        </p:spPr>
        <p:txBody>
          <a:bodyPr lIns="91440" rIns="91440"/>
          <a:lstStyle>
            <a:lvl1pPr algn="ctr">
              <a:spcAft>
                <a:spcPts val="3000"/>
              </a:spcAft>
              <a:defRPr sz="2400">
                <a:gradFill>
                  <a:gsLst>
                    <a:gs pos="15000">
                      <a:schemeClr val="tx2"/>
                    </a:gs>
                    <a:gs pos="47000">
                      <a:schemeClr val="tx2"/>
                    </a:gs>
                  </a:gsLst>
                  <a:lin ang="5400000" scaled="1"/>
                </a:gradFill>
                <a:latin typeface="Segoe UI Semilight" panose="020B0402040204020203" pitchFamily="34" charset="0"/>
                <a:cs typeface="Segoe UI Semilight" panose="020B0402040204020203" pitchFamily="34" charset="0"/>
              </a:defRPr>
            </a:lvl1pPr>
            <a:lvl2pPr marL="0" indent="0" algn="ctr" defTabSz="914400" rtl="0" eaLnBrk="1" latinLnBrk="0" hangingPunct="1">
              <a:lnSpc>
                <a:spcPct val="90000"/>
              </a:lnSpc>
              <a:spcBef>
                <a:spcPts val="1000"/>
              </a:spcBef>
              <a:spcAft>
                <a:spcPts val="1200"/>
              </a:spcAft>
              <a:buFont typeface="Arial" panose="020B0604020202020204" pitchFamily="34" charset="0"/>
              <a:buNone/>
              <a:defRPr lang="en-US" sz="2000" kern="1200" dirty="0">
                <a:solidFill>
                  <a:schemeClr val="tx1"/>
                </a:solidFill>
                <a:latin typeface="Segoe UI Semilight" panose="020B0402040204020203" pitchFamily="34" charset="0"/>
                <a:ea typeface="+mn-ea"/>
                <a:cs typeface="Segoe UI Semilight" panose="020B0402040204020203" pitchFamily="34" charset="0"/>
              </a:defRPr>
            </a:lvl2pPr>
            <a:lvl3pPr algn="ctr">
              <a:defRPr sz="1800"/>
            </a:lvl3pPr>
            <a:lvl4pPr algn="ctr">
              <a:defRPr sz="1800">
                <a:latin typeface="+mn-lt"/>
              </a:defRPr>
            </a:lvl4pPr>
            <a:lvl5pPr algn="ct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idx="14"/>
          </p:nvPr>
        </p:nvSpPr>
        <p:spPr>
          <a:xfrm>
            <a:off x="4168631" y="2598127"/>
            <a:ext cx="3840480" cy="2524794"/>
          </a:xfrm>
        </p:spPr>
        <p:txBody>
          <a:bodyPr lIns="91440" rIns="91440"/>
          <a:lstStyle>
            <a:lvl1pPr algn="ctr">
              <a:defRPr lang="en-US" sz="2400" kern="1200" dirty="0">
                <a:gradFill>
                  <a:gsLst>
                    <a:gs pos="15000">
                      <a:schemeClr val="tx2"/>
                    </a:gs>
                    <a:gs pos="47000">
                      <a:schemeClr val="tx2"/>
                    </a:gs>
                  </a:gsLst>
                  <a:lin ang="5400000" scaled="1"/>
                </a:gradFill>
                <a:latin typeface="Segoe UI Semilight" panose="020B0402040204020203" pitchFamily="34" charset="0"/>
                <a:ea typeface="+mn-ea"/>
                <a:cs typeface="Segoe UI Semilight" panose="020B0402040204020203" pitchFamily="34" charset="0"/>
              </a:defRPr>
            </a:lvl1pPr>
            <a:lvl2pPr marL="0" indent="0" algn="ctr" defTabSz="914400" rtl="0" eaLnBrk="1" latinLnBrk="0" hangingPunct="1">
              <a:lnSpc>
                <a:spcPct val="90000"/>
              </a:lnSpc>
              <a:spcBef>
                <a:spcPts val="1000"/>
              </a:spcBef>
              <a:spcAft>
                <a:spcPts val="1200"/>
              </a:spcAft>
              <a:buFont typeface="Arial" panose="020B0604020202020204" pitchFamily="34" charset="0"/>
              <a:buNone/>
              <a:defRPr lang="en-US" sz="2000" kern="1200" dirty="0">
                <a:solidFill>
                  <a:schemeClr val="tx1"/>
                </a:solidFill>
                <a:latin typeface="Segoe UI Semilight" panose="020B0402040204020203" pitchFamily="34" charset="0"/>
                <a:ea typeface="+mn-ea"/>
                <a:cs typeface="Segoe UI Semilight" panose="020B0402040204020203" pitchFamily="34" charset="0"/>
              </a:defRPr>
            </a:lvl2pPr>
            <a:lvl3pPr algn="ctr">
              <a:defRPr sz="1800"/>
            </a:lvl3pPr>
            <a:lvl4pPr algn="ctr">
              <a:defRPr sz="1800">
                <a:latin typeface="+mn-lt"/>
              </a:defRPr>
            </a:lvl4pPr>
            <a:lvl5pPr algn="ctr">
              <a:defRPr sz="1600">
                <a:latin typeface="+mn-lt"/>
              </a:defRPr>
            </a:lvl5pPr>
          </a:lstStyle>
          <a:p>
            <a:pPr marL="0" lvl="0" indent="0" algn="ctr" defTabSz="914400" rtl="0" eaLnBrk="1" latinLnBrk="0" hangingPunct="1">
              <a:lnSpc>
                <a:spcPct val="90000"/>
              </a:lnSpc>
              <a:spcBef>
                <a:spcPts val="1000"/>
              </a:spcBef>
              <a:spcAft>
                <a:spcPts val="3000"/>
              </a:spcAft>
              <a:buFont typeface="Arial" panose="020B0604020202020204" pitchFamily="34" charset="0"/>
              <a:buNone/>
            </a:pPr>
            <a:r>
              <a:rPr lang="en-US"/>
              <a:t>Click to edit Master text styles</a:t>
            </a:r>
          </a:p>
          <a:p>
            <a:pPr marL="0" lvl="1" indent="0" algn="ctr" defTabSz="914400" rtl="0" eaLnBrk="1" latinLnBrk="0" hangingPunct="1">
              <a:lnSpc>
                <a:spcPct val="90000"/>
              </a:lnSpc>
              <a:spcBef>
                <a:spcPts val="1000"/>
              </a:spcBef>
              <a:spcAft>
                <a:spcPts val="3000"/>
              </a:spcAft>
              <a:buFont typeface="Arial" panose="020B0604020202020204" pitchFamily="34" charset="0"/>
              <a:buNone/>
            </a:pPr>
            <a:r>
              <a:rPr lang="en-US"/>
              <a:t>Second level</a:t>
            </a:r>
          </a:p>
          <a:p>
            <a:pPr marL="0" lvl="2" indent="0" algn="ctr" defTabSz="914400" rtl="0" eaLnBrk="1" latinLnBrk="0" hangingPunct="1">
              <a:lnSpc>
                <a:spcPct val="90000"/>
              </a:lnSpc>
              <a:spcBef>
                <a:spcPts val="1000"/>
              </a:spcBef>
              <a:spcAft>
                <a:spcPts val="3000"/>
              </a:spcAft>
              <a:buFont typeface="Arial" panose="020B0604020202020204" pitchFamily="34" charset="0"/>
              <a:buNone/>
            </a:pPr>
            <a:r>
              <a:rPr lang="en-US"/>
              <a:t>Third level</a:t>
            </a:r>
          </a:p>
          <a:p>
            <a:pPr marL="0" lvl="3" indent="0" algn="ctr" defTabSz="914400" rtl="0" eaLnBrk="1" latinLnBrk="0" hangingPunct="1">
              <a:lnSpc>
                <a:spcPct val="90000"/>
              </a:lnSpc>
              <a:spcBef>
                <a:spcPts val="1000"/>
              </a:spcBef>
              <a:spcAft>
                <a:spcPts val="3000"/>
              </a:spcAft>
              <a:buFont typeface="Arial" panose="020B0604020202020204" pitchFamily="34" charset="0"/>
              <a:buNone/>
            </a:pPr>
            <a:r>
              <a:rPr lang="en-US"/>
              <a:t>Fourth level</a:t>
            </a:r>
          </a:p>
          <a:p>
            <a:pPr marL="0" lvl="4" indent="0" algn="ctr" defTabSz="914400" rtl="0" eaLnBrk="1" latinLnBrk="0" hangingPunct="1">
              <a:lnSpc>
                <a:spcPct val="90000"/>
              </a:lnSpc>
              <a:spcBef>
                <a:spcPts val="1000"/>
              </a:spcBef>
              <a:spcAft>
                <a:spcPts val="3000"/>
              </a:spcAft>
              <a:buFont typeface="Arial" panose="020B0604020202020204" pitchFamily="34" charset="0"/>
              <a:buNone/>
            </a:pPr>
            <a:r>
              <a:rPr lang="en-US"/>
              <a:t>Fifth level</a:t>
            </a:r>
            <a:endParaRPr lang="en-US" dirty="0"/>
          </a:p>
        </p:txBody>
      </p:sp>
      <p:sp>
        <p:nvSpPr>
          <p:cNvPr id="9" name="Content Placeholder 2"/>
          <p:cNvSpPr>
            <a:spLocks noGrp="1"/>
          </p:cNvSpPr>
          <p:nvPr>
            <p:ph idx="15"/>
          </p:nvPr>
        </p:nvSpPr>
        <p:spPr>
          <a:xfrm>
            <a:off x="8158238" y="2598127"/>
            <a:ext cx="3773077" cy="2524794"/>
          </a:xfrm>
        </p:spPr>
        <p:txBody>
          <a:bodyPr lIns="91440" rIns="91440"/>
          <a:lstStyle>
            <a:lvl1pPr algn="ctr">
              <a:defRPr lang="en-US" sz="2400" kern="1200" dirty="0">
                <a:gradFill>
                  <a:gsLst>
                    <a:gs pos="15000">
                      <a:schemeClr val="tx2"/>
                    </a:gs>
                    <a:gs pos="47000">
                      <a:schemeClr val="tx2"/>
                    </a:gs>
                  </a:gsLst>
                  <a:lin ang="5400000" scaled="1"/>
                </a:gradFill>
                <a:latin typeface="Segoe UI Semilight" panose="020B0402040204020203" pitchFamily="34" charset="0"/>
                <a:ea typeface="+mn-ea"/>
                <a:cs typeface="Segoe UI Semilight" panose="020B0402040204020203" pitchFamily="34" charset="0"/>
              </a:defRPr>
            </a:lvl1pPr>
            <a:lvl2pPr marL="0" indent="0" algn="ctr" defTabSz="914400" rtl="0" eaLnBrk="1" latinLnBrk="0" hangingPunct="1">
              <a:lnSpc>
                <a:spcPct val="90000"/>
              </a:lnSpc>
              <a:spcBef>
                <a:spcPts val="1000"/>
              </a:spcBef>
              <a:spcAft>
                <a:spcPts val="1200"/>
              </a:spcAft>
              <a:buFont typeface="Arial" panose="020B0604020202020204" pitchFamily="34" charset="0"/>
              <a:buNone/>
              <a:defRPr lang="en-US" sz="2000" kern="1200" dirty="0">
                <a:solidFill>
                  <a:schemeClr val="tx1"/>
                </a:solidFill>
                <a:latin typeface="Segoe UI Semilight" panose="020B0402040204020203" pitchFamily="34" charset="0"/>
                <a:ea typeface="+mn-ea"/>
                <a:cs typeface="Segoe UI Semilight" panose="020B0402040204020203" pitchFamily="34" charset="0"/>
              </a:defRPr>
            </a:lvl2pPr>
            <a:lvl3pPr algn="ctr">
              <a:defRPr sz="1800"/>
            </a:lvl3pPr>
            <a:lvl4pPr algn="ctr">
              <a:defRPr sz="1800">
                <a:latin typeface="+mn-lt"/>
              </a:defRPr>
            </a:lvl4pPr>
            <a:lvl5pPr algn="ctr">
              <a:defRPr sz="1600">
                <a:latin typeface="+mn-lt"/>
              </a:defRPr>
            </a:lvl5pPr>
          </a:lstStyle>
          <a:p>
            <a:pPr marL="0" lvl="0" indent="0" algn="ctr" defTabSz="914400" rtl="0" eaLnBrk="1" latinLnBrk="0" hangingPunct="1">
              <a:lnSpc>
                <a:spcPct val="90000"/>
              </a:lnSpc>
              <a:spcBef>
                <a:spcPts val="1000"/>
              </a:spcBef>
              <a:spcAft>
                <a:spcPts val="3000"/>
              </a:spcAft>
              <a:buFont typeface="Arial" panose="020B0604020202020204" pitchFamily="34" charset="0"/>
              <a:buNone/>
            </a:pPr>
            <a:r>
              <a:rPr lang="en-US"/>
              <a:t>Click to edit Master text styles</a:t>
            </a:r>
          </a:p>
          <a:p>
            <a:pPr marL="0" lvl="1" indent="0" algn="ctr" defTabSz="914400" rtl="0" eaLnBrk="1" latinLnBrk="0" hangingPunct="1">
              <a:lnSpc>
                <a:spcPct val="90000"/>
              </a:lnSpc>
              <a:spcBef>
                <a:spcPts val="1000"/>
              </a:spcBef>
              <a:spcAft>
                <a:spcPts val="3000"/>
              </a:spcAft>
              <a:buFont typeface="Arial" panose="020B0604020202020204" pitchFamily="34" charset="0"/>
              <a:buNone/>
            </a:pPr>
            <a:r>
              <a:rPr lang="en-US"/>
              <a:t>Second level</a:t>
            </a:r>
          </a:p>
          <a:p>
            <a:pPr marL="0" lvl="2" indent="0" algn="ctr" defTabSz="914400" rtl="0" eaLnBrk="1" latinLnBrk="0" hangingPunct="1">
              <a:lnSpc>
                <a:spcPct val="90000"/>
              </a:lnSpc>
              <a:spcBef>
                <a:spcPts val="1000"/>
              </a:spcBef>
              <a:spcAft>
                <a:spcPts val="3000"/>
              </a:spcAft>
              <a:buFont typeface="Arial" panose="020B0604020202020204" pitchFamily="34" charset="0"/>
              <a:buNone/>
            </a:pPr>
            <a:r>
              <a:rPr lang="en-US"/>
              <a:t>Third level</a:t>
            </a:r>
          </a:p>
          <a:p>
            <a:pPr marL="0" lvl="3" indent="0" algn="ctr" defTabSz="914400" rtl="0" eaLnBrk="1" latinLnBrk="0" hangingPunct="1">
              <a:lnSpc>
                <a:spcPct val="90000"/>
              </a:lnSpc>
              <a:spcBef>
                <a:spcPts val="1000"/>
              </a:spcBef>
              <a:spcAft>
                <a:spcPts val="3000"/>
              </a:spcAft>
              <a:buFont typeface="Arial" panose="020B0604020202020204" pitchFamily="34" charset="0"/>
              <a:buNone/>
            </a:pPr>
            <a:r>
              <a:rPr lang="en-US"/>
              <a:t>Fourth level</a:t>
            </a:r>
          </a:p>
          <a:p>
            <a:pPr marL="0" lvl="4" indent="0" algn="ctr" defTabSz="914400" rtl="0" eaLnBrk="1" latinLnBrk="0" hangingPunct="1">
              <a:lnSpc>
                <a:spcPct val="90000"/>
              </a:lnSpc>
              <a:spcBef>
                <a:spcPts val="1000"/>
              </a:spcBef>
              <a:spcAft>
                <a:spcPts val="3000"/>
              </a:spcAft>
              <a:buFont typeface="Arial" panose="020B0604020202020204" pitchFamily="34" charset="0"/>
              <a:buNone/>
            </a:pPr>
            <a:r>
              <a:rPr lang="en-US"/>
              <a:t>Fifth level</a:t>
            </a:r>
            <a:endParaRPr lang="en-US" dirty="0"/>
          </a:p>
        </p:txBody>
      </p:sp>
      <p:sp>
        <p:nvSpPr>
          <p:cNvPr id="11" name="Freeform: Shape 10"/>
          <p:cNvSpPr/>
          <p:nvPr userDrawn="1"/>
        </p:nvSpPr>
        <p:spPr>
          <a:xfrm>
            <a:off x="129521" y="0"/>
            <a:ext cx="2749481" cy="1364786"/>
          </a:xfrm>
          <a:custGeom>
            <a:avLst/>
            <a:gdLst>
              <a:gd name="connsiteX0" fmla="*/ 0 w 4741280"/>
              <a:gd name="connsiteY0" fmla="*/ 0 h 2353474"/>
              <a:gd name="connsiteX1" fmla="*/ 4741280 w 4741280"/>
              <a:gd name="connsiteY1" fmla="*/ 0 h 2353474"/>
              <a:gd name="connsiteX2" fmla="*/ 4729949 w 4741280"/>
              <a:gd name="connsiteY2" fmla="*/ 224399 h 2353474"/>
              <a:gd name="connsiteX3" fmla="*/ 2370640 w 4741280"/>
              <a:gd name="connsiteY3" fmla="*/ 2353474 h 2353474"/>
              <a:gd name="connsiteX4" fmla="*/ 11331 w 4741280"/>
              <a:gd name="connsiteY4" fmla="*/ 224399 h 2353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1280" h="2353474">
                <a:moveTo>
                  <a:pt x="0" y="0"/>
                </a:moveTo>
                <a:lnTo>
                  <a:pt x="4741280" y="0"/>
                </a:lnTo>
                <a:lnTo>
                  <a:pt x="4729949" y="224399"/>
                </a:lnTo>
                <a:cubicBezTo>
                  <a:pt x="4608502" y="1420269"/>
                  <a:pt x="3598552" y="2353474"/>
                  <a:pt x="2370640" y="2353474"/>
                </a:cubicBezTo>
                <a:cubicBezTo>
                  <a:pt x="1142728" y="2353474"/>
                  <a:pt x="132779" y="1420269"/>
                  <a:pt x="11331" y="224399"/>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16322" y="339408"/>
            <a:ext cx="2375877" cy="535531"/>
          </a:xfrm>
        </p:spPr>
        <p:txBody>
          <a:bodyPr/>
          <a:lstStyle>
            <a:lvl1pPr algn="ctr">
              <a:defRPr lang="en-US" sz="3200" b="0" i="0" kern="1200" spc="60" baseline="0" dirty="0">
                <a:solidFill>
                  <a:schemeClr val="bg1"/>
                </a:solidFill>
                <a:latin typeface="+mj-lt"/>
                <a:ea typeface="+mn-ea"/>
                <a:cs typeface="Segoe UI Semilight" panose="020B0402040204020203" pitchFamily="34" charset="0"/>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US" dirty="0"/>
              <a:t>CLICK TO</a:t>
            </a:r>
          </a:p>
        </p:txBody>
      </p:sp>
      <p:sp>
        <p:nvSpPr>
          <p:cNvPr id="10" name="Text Placeholder 9"/>
          <p:cNvSpPr>
            <a:spLocks noGrp="1"/>
          </p:cNvSpPr>
          <p:nvPr>
            <p:ph type="body" sz="quarter" idx="16"/>
          </p:nvPr>
        </p:nvSpPr>
        <p:spPr>
          <a:xfrm>
            <a:off x="2879003" y="419100"/>
            <a:ext cx="9084398" cy="1370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lide Number Placeholder 7"/>
          <p:cNvSpPr>
            <a:spLocks noGrp="1"/>
          </p:cNvSpPr>
          <p:nvPr>
            <p:ph type="sldNum" sz="quarter" idx="4"/>
          </p:nvPr>
        </p:nvSpPr>
        <p:spPr>
          <a:xfrm>
            <a:off x="11668594" y="6484937"/>
            <a:ext cx="523406" cy="365125"/>
          </a:xfrm>
          <a:prstGeom prst="rect">
            <a:avLst/>
          </a:prstGeom>
        </p:spPr>
        <p:txBody>
          <a:bodyPr vert="horz" wrap="none" lIns="91440" tIns="45720" rIns="91440" bIns="45720" rtlCol="0" anchor="ctr"/>
          <a:lstStyle>
            <a:lvl1pPr algn="r">
              <a:defRPr sz="1200">
                <a:solidFill>
                  <a:schemeClr val="tx2"/>
                </a:solidFill>
              </a:defRPr>
            </a:lvl1pPr>
          </a:lstStyle>
          <a:p>
            <a:fld id="{4997E989-D798-4C62-8E93-3D2D613C2488}" type="slidenum">
              <a:rPr lang="en-US" smtClean="0"/>
              <a:pPr/>
              <a:t>‹#›</a:t>
            </a:fld>
            <a:endParaRPr lang="en-US"/>
          </a:p>
        </p:txBody>
      </p:sp>
    </p:spTree>
    <p:extLst>
      <p:ext uri="{BB962C8B-B14F-4D97-AF65-F5344CB8AC3E}">
        <p14:creationId xmlns:p14="http://schemas.microsoft.com/office/powerpoint/2010/main" val="22877698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er with Image">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12A714F2-A8EC-40F7-ACFF-A00E1DD10C56}"/>
              </a:ext>
            </a:extLst>
          </p:cNvPr>
          <p:cNvSpPr>
            <a:spLocks noGrp="1"/>
          </p:cNvSpPr>
          <p:nvPr>
            <p:ph type="pic" sz="quarter" idx="13"/>
          </p:nvPr>
        </p:nvSpPr>
        <p:spPr>
          <a:xfrm>
            <a:off x="912412" y="2373273"/>
            <a:ext cx="11271651" cy="2549580"/>
          </a:xfrm>
          <a:custGeom>
            <a:avLst/>
            <a:gdLst>
              <a:gd name="connsiteX0" fmla="*/ 1257522 w 11271651"/>
              <a:gd name="connsiteY0" fmla="*/ 0 h 2549580"/>
              <a:gd name="connsiteX1" fmla="*/ 7117931 w 11271651"/>
              <a:gd name="connsiteY1" fmla="*/ 0 h 2549580"/>
              <a:gd name="connsiteX2" fmla="*/ 7133189 w 11271651"/>
              <a:gd name="connsiteY2" fmla="*/ 37934 h 2549580"/>
              <a:gd name="connsiteX3" fmla="*/ 7567673 w 11271651"/>
              <a:gd name="connsiteY3" fmla="*/ 284761 h 2549580"/>
              <a:gd name="connsiteX4" fmla="*/ 11271651 w 11271651"/>
              <a:gd name="connsiteY4" fmla="*/ 284761 h 2549580"/>
              <a:gd name="connsiteX5" fmla="*/ 11271651 w 11271651"/>
              <a:gd name="connsiteY5" fmla="*/ 2292367 h 2549580"/>
              <a:gd name="connsiteX6" fmla="*/ 3360838 w 11271651"/>
              <a:gd name="connsiteY6" fmla="*/ 2292367 h 2549580"/>
              <a:gd name="connsiteX7" fmla="*/ 3027059 w 11271651"/>
              <a:gd name="connsiteY7" fmla="*/ 2473692 h 2549580"/>
              <a:gd name="connsiteX8" fmla="*/ 2997435 w 11271651"/>
              <a:gd name="connsiteY8" fmla="*/ 2549580 h 2549580"/>
              <a:gd name="connsiteX9" fmla="*/ 1257522 w 11271651"/>
              <a:gd name="connsiteY9" fmla="*/ 2549580 h 2549580"/>
              <a:gd name="connsiteX10" fmla="*/ 0 w 11271651"/>
              <a:gd name="connsiteY10" fmla="*/ 1291940 h 2549580"/>
              <a:gd name="connsiteX11" fmla="*/ 0 w 11271651"/>
              <a:gd name="connsiteY11" fmla="*/ 1257641 h 2549580"/>
              <a:gd name="connsiteX12" fmla="*/ 1257522 w 11271651"/>
              <a:gd name="connsiteY12" fmla="*/ 0 h 254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71651" h="2549580">
                <a:moveTo>
                  <a:pt x="1257522" y="0"/>
                </a:moveTo>
                <a:lnTo>
                  <a:pt x="7117931" y="0"/>
                </a:lnTo>
                <a:lnTo>
                  <a:pt x="7133189" y="37934"/>
                </a:lnTo>
                <a:cubicBezTo>
                  <a:pt x="7196165" y="161665"/>
                  <a:pt x="7320847" y="284761"/>
                  <a:pt x="7567673" y="284761"/>
                </a:cubicBezTo>
                <a:lnTo>
                  <a:pt x="11271651" y="284761"/>
                </a:lnTo>
                <a:lnTo>
                  <a:pt x="11271651" y="2292367"/>
                </a:lnTo>
                <a:lnTo>
                  <a:pt x="3360838" y="2292367"/>
                </a:lnTo>
                <a:cubicBezTo>
                  <a:pt x="3357507" y="2292367"/>
                  <a:pt x="3127793" y="2295282"/>
                  <a:pt x="3027059" y="2473692"/>
                </a:cubicBezTo>
                <a:lnTo>
                  <a:pt x="2997435" y="2549580"/>
                </a:lnTo>
                <a:lnTo>
                  <a:pt x="1257522" y="2549580"/>
                </a:lnTo>
                <a:cubicBezTo>
                  <a:pt x="1257522" y="2549580"/>
                  <a:pt x="0" y="2549580"/>
                  <a:pt x="0" y="1291940"/>
                </a:cubicBezTo>
                <a:lnTo>
                  <a:pt x="0" y="1257641"/>
                </a:lnTo>
                <a:cubicBezTo>
                  <a:pt x="0" y="1257641"/>
                  <a:pt x="0" y="0"/>
                  <a:pt x="1257522" y="0"/>
                </a:cubicBezTo>
                <a:close/>
              </a:path>
            </a:pathLst>
          </a:custGeom>
        </p:spPr>
        <p:txBody>
          <a:bodyPr wrap="square" anchor="ctr" anchorCtr="0">
            <a:noAutofit/>
          </a:bodyPr>
          <a:lstStyle>
            <a:lvl1pPr marL="0" indent="0" algn="ctr">
              <a:buNone/>
              <a:defRPr sz="1400"/>
            </a:lvl1pPr>
          </a:lstStyle>
          <a:p>
            <a:r>
              <a:rPr lang="en-US"/>
              <a:t>Click icon to add picture</a:t>
            </a:r>
            <a:endParaRPr lang="ru-RU"/>
          </a:p>
        </p:txBody>
      </p:sp>
      <p:sp>
        <p:nvSpPr>
          <p:cNvPr id="34" name="Oval 33">
            <a:extLst>
              <a:ext uri="{FF2B5EF4-FFF2-40B4-BE49-F238E27FC236}">
                <a16:creationId xmlns:a16="http://schemas.microsoft.com/office/drawing/2014/main" id="{13074BE4-153F-46FE-B915-CD1AEF318A25}"/>
              </a:ext>
            </a:extLst>
          </p:cNvPr>
          <p:cNvSpPr/>
          <p:nvPr userDrawn="1"/>
        </p:nvSpPr>
        <p:spPr>
          <a:xfrm>
            <a:off x="10893420" y="5803030"/>
            <a:ext cx="385200" cy="385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5" name="Graphic 12">
            <a:extLst>
              <a:ext uri="{FF2B5EF4-FFF2-40B4-BE49-F238E27FC236}">
                <a16:creationId xmlns:a16="http://schemas.microsoft.com/office/drawing/2014/main" id="{0B7E91C4-F19E-46BE-B05F-139B5418924E}"/>
              </a:ext>
            </a:extLst>
          </p:cNvPr>
          <p:cNvSpPr/>
          <p:nvPr userDrawn="1"/>
        </p:nvSpPr>
        <p:spPr>
          <a:xfrm>
            <a:off x="11334292" y="5787811"/>
            <a:ext cx="870509" cy="409651"/>
          </a:xfrm>
          <a:custGeom>
            <a:avLst/>
            <a:gdLst>
              <a:gd name="connsiteX0" fmla="*/ 203546 w 870509"/>
              <a:gd name="connsiteY0" fmla="*/ 400690 h 409651"/>
              <a:gd name="connsiteX1" fmla="*/ 860268 w 870509"/>
              <a:gd name="connsiteY1" fmla="*/ 400690 h 409651"/>
              <a:gd name="connsiteX2" fmla="*/ 860268 w 870509"/>
              <a:gd name="connsiteY2" fmla="*/ 12802 h 409651"/>
              <a:gd name="connsiteX3" fmla="*/ 203546 w 870509"/>
              <a:gd name="connsiteY3" fmla="*/ 12802 h 409651"/>
              <a:gd name="connsiteX4" fmla="*/ 12802 w 870509"/>
              <a:gd name="connsiteY4" fmla="*/ 203545 h 409651"/>
              <a:gd name="connsiteX5" fmla="*/ 12802 w 870509"/>
              <a:gd name="connsiteY5" fmla="*/ 211226 h 409651"/>
              <a:gd name="connsiteX6" fmla="*/ 203546 w 870509"/>
              <a:gd name="connsiteY6" fmla="*/ 400690 h 40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09" h="409651">
                <a:moveTo>
                  <a:pt x="203546" y="400690"/>
                </a:moveTo>
                <a:lnTo>
                  <a:pt x="860268" y="400690"/>
                </a:lnTo>
                <a:lnTo>
                  <a:pt x="860268" y="12802"/>
                </a:lnTo>
                <a:lnTo>
                  <a:pt x="203546" y="12802"/>
                </a:lnTo>
                <a:cubicBezTo>
                  <a:pt x="203546" y="12802"/>
                  <a:pt x="12802" y="12802"/>
                  <a:pt x="12802" y="203545"/>
                </a:cubicBezTo>
                <a:lnTo>
                  <a:pt x="12802" y="211226"/>
                </a:lnTo>
                <a:cubicBezTo>
                  <a:pt x="12802" y="209946"/>
                  <a:pt x="12802" y="400690"/>
                  <a:pt x="203546" y="400690"/>
                </a:cubicBezTo>
                <a:close/>
              </a:path>
            </a:pathLst>
          </a:custGeom>
          <a:gradFill flip="none" rotWithShape="1">
            <a:gsLst>
              <a:gs pos="12000">
                <a:schemeClr val="accent1"/>
              </a:gs>
              <a:gs pos="100000">
                <a:schemeClr val="accent3"/>
              </a:gs>
            </a:gsLst>
            <a:lin ang="0" scaled="1"/>
            <a:tileRect/>
          </a:gradFill>
          <a:ln w="12700" cap="flat">
            <a:noFill/>
            <a:prstDash val="solid"/>
            <a:miter/>
          </a:ln>
        </p:spPr>
        <p:txBody>
          <a:bodyPr rtlCol="0" anchor="ctr"/>
          <a:lstStyle/>
          <a:p>
            <a:endParaRPr lang="ru-RU" dirty="0"/>
          </a:p>
        </p:txBody>
      </p:sp>
      <p:sp>
        <p:nvSpPr>
          <p:cNvPr id="10" name="Freeform: Shape 9">
            <a:extLst>
              <a:ext uri="{FF2B5EF4-FFF2-40B4-BE49-F238E27FC236}">
                <a16:creationId xmlns:a16="http://schemas.microsoft.com/office/drawing/2014/main" id="{08A64499-0304-4070-BCB0-67E2BE20A3EA}"/>
              </a:ext>
            </a:extLst>
          </p:cNvPr>
          <p:cNvSpPr/>
          <p:nvPr userDrawn="1"/>
        </p:nvSpPr>
        <p:spPr>
          <a:xfrm>
            <a:off x="7998821" y="1645349"/>
            <a:ext cx="4196737" cy="1001638"/>
          </a:xfrm>
          <a:custGeom>
            <a:avLst/>
            <a:gdLst>
              <a:gd name="connsiteX0" fmla="*/ 3150394 w 3152775"/>
              <a:gd name="connsiteY0" fmla="*/ 7144 h 752475"/>
              <a:gd name="connsiteX1" fmla="*/ 371952 w 3152775"/>
              <a:gd name="connsiteY1" fmla="*/ 7144 h 752475"/>
              <a:gd name="connsiteX2" fmla="*/ 7144 w 3152775"/>
              <a:gd name="connsiteY2" fmla="*/ 370999 h 752475"/>
              <a:gd name="connsiteX3" fmla="*/ 7144 w 3152775"/>
              <a:gd name="connsiteY3" fmla="*/ 384334 h 752475"/>
              <a:gd name="connsiteX4" fmla="*/ 371952 w 3152775"/>
              <a:gd name="connsiteY4" fmla="*/ 748189 h 752475"/>
              <a:gd name="connsiteX5" fmla="*/ 3150394 w 3152775"/>
              <a:gd name="connsiteY5" fmla="*/ 748189 h 752475"/>
              <a:gd name="connsiteX6" fmla="*/ 3150394 w 3152775"/>
              <a:gd name="connsiteY6" fmla="*/ 714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2775" h="752475">
                <a:moveTo>
                  <a:pt x="3150394" y="7144"/>
                </a:moveTo>
                <a:lnTo>
                  <a:pt x="371952" y="7144"/>
                </a:lnTo>
                <a:cubicBezTo>
                  <a:pt x="371952" y="7144"/>
                  <a:pt x="7144" y="7144"/>
                  <a:pt x="7144" y="370999"/>
                </a:cubicBezTo>
                <a:lnTo>
                  <a:pt x="7144" y="384334"/>
                </a:lnTo>
                <a:cubicBezTo>
                  <a:pt x="7144" y="384334"/>
                  <a:pt x="7144" y="748189"/>
                  <a:pt x="371952" y="748189"/>
                </a:cubicBezTo>
                <a:lnTo>
                  <a:pt x="3150394" y="748189"/>
                </a:lnTo>
                <a:lnTo>
                  <a:pt x="3150394" y="7144"/>
                </a:lnTo>
                <a:close/>
              </a:path>
            </a:pathLst>
          </a:custGeom>
          <a:solidFill>
            <a:schemeClr val="accent1"/>
          </a:solidFill>
          <a:ln w="25400" cap="flat">
            <a:noFill/>
            <a:prstDash val="solid"/>
            <a:miter/>
          </a:ln>
        </p:spPr>
        <p:txBody>
          <a:bodyPr rtlCol="0" anchor="ctr"/>
          <a:lstStyle/>
          <a:p>
            <a:endParaRPr lang="ru-RU" dirty="0"/>
          </a:p>
        </p:txBody>
      </p:sp>
      <p:sp>
        <p:nvSpPr>
          <p:cNvPr id="25" name="Freeform: Shape 24">
            <a:extLst>
              <a:ext uri="{FF2B5EF4-FFF2-40B4-BE49-F238E27FC236}">
                <a16:creationId xmlns:a16="http://schemas.microsoft.com/office/drawing/2014/main" id="{ED1736B3-AE79-40C2-80FF-2FB0FEE27195}"/>
              </a:ext>
            </a:extLst>
          </p:cNvPr>
          <p:cNvSpPr/>
          <p:nvPr userDrawn="1"/>
        </p:nvSpPr>
        <p:spPr>
          <a:xfrm>
            <a:off x="12186920" y="2632655"/>
            <a:ext cx="5081" cy="25381"/>
          </a:xfrm>
          <a:custGeom>
            <a:avLst/>
            <a:gdLst>
              <a:gd name="connsiteX0" fmla="*/ 0 w 5081"/>
              <a:gd name="connsiteY0" fmla="*/ 0 h 25381"/>
              <a:gd name="connsiteX1" fmla="*/ 5081 w 5081"/>
              <a:gd name="connsiteY1" fmla="*/ 0 h 25381"/>
              <a:gd name="connsiteX2" fmla="*/ 5081 w 5081"/>
              <a:gd name="connsiteY2" fmla="*/ 25381 h 25381"/>
              <a:gd name="connsiteX3" fmla="*/ 0 w 5081"/>
              <a:gd name="connsiteY3" fmla="*/ 25381 h 25381"/>
              <a:gd name="connsiteX4" fmla="*/ 0 w 5081"/>
              <a:gd name="connsiteY4" fmla="*/ 0 h 2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1" h="25381">
                <a:moveTo>
                  <a:pt x="0" y="0"/>
                </a:moveTo>
                <a:lnTo>
                  <a:pt x="5081" y="0"/>
                </a:lnTo>
                <a:lnTo>
                  <a:pt x="5081" y="25381"/>
                </a:lnTo>
                <a:lnTo>
                  <a:pt x="0" y="25381"/>
                </a:lnTo>
                <a:lnTo>
                  <a:pt x="0" y="0"/>
                </a:lnTo>
                <a:close/>
              </a:path>
            </a:pathLst>
          </a:custGeom>
          <a:solidFill>
            <a:schemeClr val="tx2"/>
          </a:solidFill>
          <a:ln w="12690" cap="flat">
            <a:noFill/>
            <a:prstDash val="solid"/>
            <a:miter/>
          </a:ln>
        </p:spPr>
        <p:txBody>
          <a:bodyPr wrap="square" rtlCol="0" anchor="ctr">
            <a:noAutofit/>
          </a:bodyPr>
          <a:lstStyle/>
          <a:p>
            <a:endParaRPr lang="ru-RU" dirty="0"/>
          </a:p>
        </p:txBody>
      </p:sp>
      <p:sp>
        <p:nvSpPr>
          <p:cNvPr id="2" name="Title 1">
            <a:extLst>
              <a:ext uri="{FF2B5EF4-FFF2-40B4-BE49-F238E27FC236}">
                <a16:creationId xmlns:a16="http://schemas.microsoft.com/office/drawing/2014/main" id="{DC2228EE-3546-4272-9C39-150FF23CE033}"/>
              </a:ext>
            </a:extLst>
          </p:cNvPr>
          <p:cNvSpPr>
            <a:spLocks noGrp="1"/>
          </p:cNvSpPr>
          <p:nvPr>
            <p:ph type="ctrTitle" hasCustomPrompt="1"/>
          </p:nvPr>
        </p:nvSpPr>
        <p:spPr>
          <a:xfrm>
            <a:off x="781987" y="793172"/>
            <a:ext cx="9144000" cy="655621"/>
          </a:xfrm>
        </p:spPr>
        <p:txBody>
          <a:bodyPr anchor="b">
            <a:normAutofit/>
          </a:bodyPr>
          <a:lstStyle>
            <a:lvl1pPr algn="l">
              <a:defRPr sz="4000" b="1">
                <a:gradFill>
                  <a:gsLst>
                    <a:gs pos="0">
                      <a:schemeClr val="accent1"/>
                    </a:gs>
                    <a:gs pos="100000">
                      <a:schemeClr val="accent3"/>
                    </a:gs>
                  </a:gsLst>
                  <a:lin ang="0" scaled="1"/>
                </a:gradFill>
              </a:defRPr>
            </a:lvl1pPr>
          </a:lstStyle>
          <a:p>
            <a:r>
              <a:rPr lang="en-US" dirty="0"/>
              <a:t>DIVIDER SLIDE</a:t>
            </a:r>
            <a:endParaRPr lang="ru-RU" dirty="0"/>
          </a:p>
        </p:txBody>
      </p:sp>
      <p:sp>
        <p:nvSpPr>
          <p:cNvPr id="3" name="Subtitle 2">
            <a:extLst>
              <a:ext uri="{FF2B5EF4-FFF2-40B4-BE49-F238E27FC236}">
                <a16:creationId xmlns:a16="http://schemas.microsoft.com/office/drawing/2014/main" id="{0F2EFCC6-4D5A-4B43-A534-1A868887BC7F}"/>
              </a:ext>
            </a:extLst>
          </p:cNvPr>
          <p:cNvSpPr>
            <a:spLocks noGrp="1"/>
          </p:cNvSpPr>
          <p:nvPr>
            <p:ph type="subTitle" idx="1"/>
          </p:nvPr>
        </p:nvSpPr>
        <p:spPr>
          <a:xfrm>
            <a:off x="795772" y="1877051"/>
            <a:ext cx="6843278" cy="496223"/>
          </a:xfrm>
        </p:spPr>
        <p:txBody>
          <a:bodyPr>
            <a:normAutofit/>
          </a:bodyPr>
          <a:lstStyle>
            <a:lvl1pPr marL="0" indent="0" algn="l">
              <a:buNone/>
              <a:defRPr sz="1800" b="1" i="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ru-RU" dirty="0"/>
          </a:p>
        </p:txBody>
      </p:sp>
      <p:sp>
        <p:nvSpPr>
          <p:cNvPr id="4" name="Date Placeholder 3">
            <a:extLst>
              <a:ext uri="{FF2B5EF4-FFF2-40B4-BE49-F238E27FC236}">
                <a16:creationId xmlns:a16="http://schemas.microsoft.com/office/drawing/2014/main" id="{0FD10BB4-D57E-4372-8E10-AC15DC09615A}"/>
              </a:ext>
            </a:extLst>
          </p:cNvPr>
          <p:cNvSpPr>
            <a:spLocks noGrp="1"/>
          </p:cNvSpPr>
          <p:nvPr>
            <p:ph type="dt" sz="half" idx="10"/>
          </p:nvPr>
        </p:nvSpPr>
        <p:spPr/>
        <p:txBody>
          <a:bodyPr/>
          <a:lstStyle/>
          <a:p>
            <a:r>
              <a:rPr lang="ru-RU" dirty="0"/>
              <a:t>MM.DD.20XX</a:t>
            </a:r>
          </a:p>
        </p:txBody>
      </p:sp>
      <p:sp>
        <p:nvSpPr>
          <p:cNvPr id="5" name="Footer Placeholder 4">
            <a:extLst>
              <a:ext uri="{FF2B5EF4-FFF2-40B4-BE49-F238E27FC236}">
                <a16:creationId xmlns:a16="http://schemas.microsoft.com/office/drawing/2014/main" id="{66020939-F172-405E-A418-A87CE5D908B7}"/>
              </a:ext>
            </a:extLst>
          </p:cNvPr>
          <p:cNvSpPr>
            <a:spLocks noGrp="1"/>
          </p:cNvSpPr>
          <p:nvPr>
            <p:ph type="ftr" sz="quarter" idx="11"/>
          </p:nvPr>
        </p:nvSpPr>
        <p:spPr>
          <a:xfrm>
            <a:off x="812290" y="5797769"/>
            <a:ext cx="3808348" cy="365125"/>
          </a:xfrm>
          <a:prstGeom prst="rect">
            <a:avLst/>
          </a:prstGeom>
        </p:spPr>
        <p:txBody>
          <a:bodyPr/>
          <a:lstStyle/>
          <a:p>
            <a:r>
              <a:rPr lang="en-US" dirty="0"/>
              <a:t>ADD A FOOTER</a:t>
            </a:r>
            <a:endParaRPr lang="ru-RU" dirty="0"/>
          </a:p>
        </p:txBody>
      </p:sp>
      <p:sp>
        <p:nvSpPr>
          <p:cNvPr id="24" name="Graphic 22">
            <a:extLst>
              <a:ext uri="{FF2B5EF4-FFF2-40B4-BE49-F238E27FC236}">
                <a16:creationId xmlns:a16="http://schemas.microsoft.com/office/drawing/2014/main" id="{4EE1436E-33B5-4388-87D8-2D0633CC3CE7}"/>
              </a:ext>
            </a:extLst>
          </p:cNvPr>
          <p:cNvSpPr/>
          <p:nvPr/>
        </p:nvSpPr>
        <p:spPr>
          <a:xfrm>
            <a:off x="903223" y="1550951"/>
            <a:ext cx="3273552" cy="151200"/>
          </a:xfrm>
          <a:custGeom>
            <a:avLst/>
            <a:gdLst>
              <a:gd name="connsiteX0" fmla="*/ 2392204 w 2447925"/>
              <a:gd name="connsiteY0" fmla="*/ 114776 h 114300"/>
              <a:gd name="connsiteX1" fmla="*/ 60484 w 2447925"/>
              <a:gd name="connsiteY1" fmla="*/ 114776 h 114300"/>
              <a:gd name="connsiteX2" fmla="*/ 7144 w 2447925"/>
              <a:gd name="connsiteY2" fmla="*/ 60484 h 114300"/>
              <a:gd name="connsiteX3" fmla="*/ 7144 w 2447925"/>
              <a:gd name="connsiteY3" fmla="*/ 60484 h 114300"/>
              <a:gd name="connsiteX4" fmla="*/ 60484 w 2447925"/>
              <a:gd name="connsiteY4" fmla="*/ 7144 h 114300"/>
              <a:gd name="connsiteX5" fmla="*/ 2392204 w 2447925"/>
              <a:gd name="connsiteY5" fmla="*/ 7144 h 114300"/>
              <a:gd name="connsiteX6" fmla="*/ 2445544 w 2447925"/>
              <a:gd name="connsiteY6" fmla="*/ 60484 h 114300"/>
              <a:gd name="connsiteX7" fmla="*/ 2445544 w 2447925"/>
              <a:gd name="connsiteY7" fmla="*/ 60484 h 114300"/>
              <a:gd name="connsiteX8" fmla="*/ 2392204 w 2447925"/>
              <a:gd name="connsiteY8" fmla="*/ 114776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7925" h="114300">
                <a:moveTo>
                  <a:pt x="2392204" y="114776"/>
                </a:moveTo>
                <a:lnTo>
                  <a:pt x="60484" y="114776"/>
                </a:lnTo>
                <a:cubicBezTo>
                  <a:pt x="30956" y="114776"/>
                  <a:pt x="7144" y="90011"/>
                  <a:pt x="7144" y="60484"/>
                </a:cubicBezTo>
                <a:lnTo>
                  <a:pt x="7144" y="60484"/>
                </a:lnTo>
                <a:cubicBezTo>
                  <a:pt x="7144" y="30956"/>
                  <a:pt x="30956" y="7144"/>
                  <a:pt x="60484" y="7144"/>
                </a:cubicBezTo>
                <a:lnTo>
                  <a:pt x="2392204" y="7144"/>
                </a:lnTo>
                <a:cubicBezTo>
                  <a:pt x="2421731" y="7144"/>
                  <a:pt x="2445544" y="30956"/>
                  <a:pt x="2445544" y="60484"/>
                </a:cubicBezTo>
                <a:lnTo>
                  <a:pt x="2445544" y="60484"/>
                </a:lnTo>
                <a:cubicBezTo>
                  <a:pt x="2445544" y="90011"/>
                  <a:pt x="2421731" y="114776"/>
                  <a:pt x="2392204" y="114776"/>
                </a:cubicBezTo>
                <a:close/>
              </a:path>
            </a:pathLst>
          </a:custGeom>
          <a:gradFill>
            <a:gsLst>
              <a:gs pos="0">
                <a:schemeClr val="accent1"/>
              </a:gs>
              <a:gs pos="100000">
                <a:schemeClr val="accent3"/>
              </a:gs>
            </a:gsLst>
            <a:lin ang="0" scaled="1"/>
          </a:gradFill>
          <a:ln w="9525" cap="flat">
            <a:noFill/>
            <a:prstDash val="solid"/>
            <a:miter/>
          </a:ln>
        </p:spPr>
        <p:txBody>
          <a:bodyPr rtlCol="0" anchor="ctr"/>
          <a:lstStyle/>
          <a:p>
            <a:endParaRPr lang="ru-RU" dirty="0"/>
          </a:p>
        </p:txBody>
      </p:sp>
      <p:sp>
        <p:nvSpPr>
          <p:cNvPr id="9" name="Freeform: Shape 8">
            <a:extLst>
              <a:ext uri="{FF2B5EF4-FFF2-40B4-BE49-F238E27FC236}">
                <a16:creationId xmlns:a16="http://schemas.microsoft.com/office/drawing/2014/main" id="{A8FB11AB-3031-47CA-85DD-696856C3C62C}"/>
              </a:ext>
            </a:extLst>
          </p:cNvPr>
          <p:cNvSpPr/>
          <p:nvPr/>
        </p:nvSpPr>
        <p:spPr>
          <a:xfrm>
            <a:off x="3899957" y="4662943"/>
            <a:ext cx="8292043" cy="760738"/>
          </a:xfrm>
          <a:custGeom>
            <a:avLst/>
            <a:gdLst>
              <a:gd name="connsiteX0" fmla="*/ 6228874 w 6229350"/>
              <a:gd name="connsiteY0" fmla="*/ 7144 h 571500"/>
              <a:gd name="connsiteX1" fmla="*/ 284321 w 6229350"/>
              <a:gd name="connsiteY1" fmla="*/ 7144 h 571500"/>
              <a:gd name="connsiteX2" fmla="*/ 7144 w 6229350"/>
              <a:gd name="connsiteY2" fmla="*/ 282416 h 571500"/>
              <a:gd name="connsiteX3" fmla="*/ 7144 w 6229350"/>
              <a:gd name="connsiteY3" fmla="*/ 292894 h 571500"/>
              <a:gd name="connsiteX4" fmla="*/ 284321 w 6229350"/>
              <a:gd name="connsiteY4" fmla="*/ 568166 h 571500"/>
              <a:gd name="connsiteX5" fmla="*/ 6228874 w 6229350"/>
              <a:gd name="connsiteY5" fmla="*/ 568166 h 571500"/>
              <a:gd name="connsiteX6" fmla="*/ 6228874 w 6229350"/>
              <a:gd name="connsiteY6" fmla="*/ 7144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29350" h="571500">
                <a:moveTo>
                  <a:pt x="6228874" y="7144"/>
                </a:moveTo>
                <a:lnTo>
                  <a:pt x="284321" y="7144"/>
                </a:lnTo>
                <a:cubicBezTo>
                  <a:pt x="284321" y="7144"/>
                  <a:pt x="7144" y="7144"/>
                  <a:pt x="7144" y="282416"/>
                </a:cubicBezTo>
                <a:lnTo>
                  <a:pt x="7144" y="292894"/>
                </a:lnTo>
                <a:cubicBezTo>
                  <a:pt x="7144" y="292894"/>
                  <a:pt x="7144" y="568166"/>
                  <a:pt x="284321" y="568166"/>
                </a:cubicBezTo>
                <a:lnTo>
                  <a:pt x="6228874" y="568166"/>
                </a:lnTo>
                <a:lnTo>
                  <a:pt x="6228874" y="7144"/>
                </a:lnTo>
                <a:close/>
              </a:path>
            </a:pathLst>
          </a:custGeom>
          <a:solidFill>
            <a:schemeClr val="accent3"/>
          </a:solidFill>
          <a:ln w="25400" cap="flat">
            <a:noFill/>
            <a:prstDash val="solid"/>
            <a:miter/>
          </a:ln>
        </p:spPr>
        <p:txBody>
          <a:bodyPr rtlCol="0" anchor="ctr"/>
          <a:lstStyle/>
          <a:p>
            <a:endParaRPr lang="ru-RU" dirty="0"/>
          </a:p>
        </p:txBody>
      </p:sp>
      <p:sp>
        <p:nvSpPr>
          <p:cNvPr id="6" name="Slide Number Placeholder 5">
            <a:extLst>
              <a:ext uri="{FF2B5EF4-FFF2-40B4-BE49-F238E27FC236}">
                <a16:creationId xmlns:a16="http://schemas.microsoft.com/office/drawing/2014/main" id="{E0210624-61F8-48B2-BD00-D3BC39DEBDCF}"/>
              </a:ext>
            </a:extLst>
          </p:cNvPr>
          <p:cNvSpPr>
            <a:spLocks noGrp="1"/>
          </p:cNvSpPr>
          <p:nvPr>
            <p:ph type="sldNum" sz="quarter" idx="12"/>
          </p:nvPr>
        </p:nvSpPr>
        <p:spPr/>
        <p:txBody>
          <a:bodyPr/>
          <a:lstStyle/>
          <a:p>
            <a:fld id="{D495E168-DA5E-4888-8D8A-92B118324C14}" type="slidenum">
              <a:rPr lang="ru-RU" smtClean="0"/>
              <a:t>‹#›</a:t>
            </a:fld>
            <a:endParaRPr lang="ru-RU" dirty="0"/>
          </a:p>
        </p:txBody>
      </p:sp>
      <p:sp>
        <p:nvSpPr>
          <p:cNvPr id="38" name="Freeform: Shape 37">
            <a:extLst>
              <a:ext uri="{FF2B5EF4-FFF2-40B4-BE49-F238E27FC236}">
                <a16:creationId xmlns:a16="http://schemas.microsoft.com/office/drawing/2014/main" id="{9CD6F167-FB82-4EFB-BAB9-1D0FEE07B85D}"/>
              </a:ext>
            </a:extLst>
          </p:cNvPr>
          <p:cNvSpPr/>
          <p:nvPr/>
        </p:nvSpPr>
        <p:spPr>
          <a:xfrm>
            <a:off x="3909848" y="4665641"/>
            <a:ext cx="8277071" cy="257213"/>
          </a:xfrm>
          <a:custGeom>
            <a:avLst/>
            <a:gdLst>
              <a:gd name="connsiteX0" fmla="*/ 363403 w 8277071"/>
              <a:gd name="connsiteY0" fmla="*/ 0 h 257213"/>
              <a:gd name="connsiteX1" fmla="*/ 8277071 w 8277071"/>
              <a:gd name="connsiteY1" fmla="*/ 0 h 257213"/>
              <a:gd name="connsiteX2" fmla="*/ 8277071 w 8277071"/>
              <a:gd name="connsiteY2" fmla="*/ 25380 h 257213"/>
              <a:gd name="connsiteX3" fmla="*/ 363403 w 8277071"/>
              <a:gd name="connsiteY3" fmla="*/ 25380 h 257213"/>
              <a:gd name="connsiteX4" fmla="*/ 61632 w 8277071"/>
              <a:gd name="connsiteY4" fmla="*/ 176355 h 257213"/>
              <a:gd name="connsiteX5" fmla="*/ 25441 w 8277071"/>
              <a:gd name="connsiteY5" fmla="*/ 257213 h 257213"/>
              <a:gd name="connsiteX6" fmla="*/ 0 w 8277071"/>
              <a:gd name="connsiteY6" fmla="*/ 257213 h 257213"/>
              <a:gd name="connsiteX7" fmla="*/ 29624 w 8277071"/>
              <a:gd name="connsiteY7" fmla="*/ 181325 h 257213"/>
              <a:gd name="connsiteX8" fmla="*/ 363403 w 8277071"/>
              <a:gd name="connsiteY8" fmla="*/ 0 h 25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77071" h="257213">
                <a:moveTo>
                  <a:pt x="363403" y="0"/>
                </a:moveTo>
                <a:lnTo>
                  <a:pt x="8277071" y="0"/>
                </a:lnTo>
                <a:lnTo>
                  <a:pt x="8277071" y="25380"/>
                </a:lnTo>
                <a:lnTo>
                  <a:pt x="363403" y="25380"/>
                </a:lnTo>
                <a:cubicBezTo>
                  <a:pt x="352934" y="25380"/>
                  <a:pt x="158297" y="28235"/>
                  <a:pt x="61632" y="176355"/>
                </a:cubicBezTo>
                <a:lnTo>
                  <a:pt x="25441" y="257213"/>
                </a:lnTo>
                <a:lnTo>
                  <a:pt x="0" y="257213"/>
                </a:lnTo>
                <a:lnTo>
                  <a:pt x="29624" y="181325"/>
                </a:lnTo>
                <a:cubicBezTo>
                  <a:pt x="130358" y="2915"/>
                  <a:pt x="360072" y="0"/>
                  <a:pt x="363403" y="0"/>
                </a:cubicBezTo>
                <a:close/>
              </a:path>
            </a:pathLst>
          </a:custGeom>
          <a:solidFill>
            <a:schemeClr val="bg1"/>
          </a:solidFill>
          <a:ln w="12690" cap="flat">
            <a:noFill/>
            <a:prstDash val="solid"/>
            <a:miter/>
          </a:ln>
        </p:spPr>
        <p:txBody>
          <a:bodyPr wrap="square" rtlCol="0" anchor="ctr">
            <a:noAutofit/>
          </a:bodyPr>
          <a:lstStyle/>
          <a:p>
            <a:endParaRPr lang="ru-RU" dirty="0"/>
          </a:p>
        </p:txBody>
      </p:sp>
      <p:sp>
        <p:nvSpPr>
          <p:cNvPr id="36" name="Freeform: Shape 35">
            <a:extLst>
              <a:ext uri="{FF2B5EF4-FFF2-40B4-BE49-F238E27FC236}">
                <a16:creationId xmlns:a16="http://schemas.microsoft.com/office/drawing/2014/main" id="{3DD2082D-81A7-4E2D-8136-9D48016E7FE9}"/>
              </a:ext>
            </a:extLst>
          </p:cNvPr>
          <p:cNvSpPr/>
          <p:nvPr/>
        </p:nvSpPr>
        <p:spPr>
          <a:xfrm>
            <a:off x="12186919" y="4665641"/>
            <a:ext cx="5081" cy="25380"/>
          </a:xfrm>
          <a:custGeom>
            <a:avLst/>
            <a:gdLst>
              <a:gd name="connsiteX0" fmla="*/ 0 w 5081"/>
              <a:gd name="connsiteY0" fmla="*/ 0 h 25380"/>
              <a:gd name="connsiteX1" fmla="*/ 5081 w 5081"/>
              <a:gd name="connsiteY1" fmla="*/ 0 h 25380"/>
              <a:gd name="connsiteX2" fmla="*/ 5081 w 5081"/>
              <a:gd name="connsiteY2" fmla="*/ 25380 h 25380"/>
              <a:gd name="connsiteX3" fmla="*/ 0 w 5081"/>
              <a:gd name="connsiteY3" fmla="*/ 25380 h 25380"/>
              <a:gd name="connsiteX4" fmla="*/ 0 w 5081"/>
              <a:gd name="connsiteY4" fmla="*/ 0 h 25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1" h="25380">
                <a:moveTo>
                  <a:pt x="0" y="0"/>
                </a:moveTo>
                <a:lnTo>
                  <a:pt x="5081" y="0"/>
                </a:lnTo>
                <a:lnTo>
                  <a:pt x="5081" y="25380"/>
                </a:lnTo>
                <a:lnTo>
                  <a:pt x="0" y="25380"/>
                </a:lnTo>
                <a:lnTo>
                  <a:pt x="0" y="0"/>
                </a:lnTo>
                <a:close/>
              </a:path>
            </a:pathLst>
          </a:custGeom>
          <a:solidFill>
            <a:schemeClr val="bg1"/>
          </a:solidFill>
          <a:ln w="12690" cap="flat">
            <a:noFill/>
            <a:prstDash val="solid"/>
            <a:miter/>
          </a:ln>
        </p:spPr>
        <p:txBody>
          <a:bodyPr wrap="square" rtlCol="0" anchor="ctr">
            <a:noAutofit/>
          </a:bodyPr>
          <a:lstStyle/>
          <a:p>
            <a:endParaRPr lang="ru-RU" dirty="0"/>
          </a:p>
        </p:txBody>
      </p:sp>
      <p:sp>
        <p:nvSpPr>
          <p:cNvPr id="30" name="Freeform: Shape 29">
            <a:extLst>
              <a:ext uri="{FF2B5EF4-FFF2-40B4-BE49-F238E27FC236}">
                <a16:creationId xmlns:a16="http://schemas.microsoft.com/office/drawing/2014/main" id="{ECF16C35-4A81-4062-808C-7697AF0FD6F5}"/>
              </a:ext>
            </a:extLst>
          </p:cNvPr>
          <p:cNvSpPr/>
          <p:nvPr/>
        </p:nvSpPr>
        <p:spPr>
          <a:xfrm>
            <a:off x="3905233" y="4922854"/>
            <a:ext cx="8286767" cy="513089"/>
          </a:xfrm>
          <a:custGeom>
            <a:avLst/>
            <a:gdLst>
              <a:gd name="connsiteX0" fmla="*/ 4615 w 8286767"/>
              <a:gd name="connsiteY0" fmla="*/ 0 h 513089"/>
              <a:gd name="connsiteX1" fmla="*/ 30056 w 8286767"/>
              <a:gd name="connsiteY1" fmla="*/ 0 h 513089"/>
              <a:gd name="connsiteX2" fmla="*/ 27385 w 8286767"/>
              <a:gd name="connsiteY2" fmla="*/ 5967 h 513089"/>
              <a:gd name="connsiteX3" fmla="*/ 12690 w 8286767"/>
              <a:gd name="connsiteY3" fmla="*/ 120958 h 513089"/>
              <a:gd name="connsiteX4" fmla="*/ 12690 w 8286767"/>
              <a:gd name="connsiteY4" fmla="*/ 134918 h 513089"/>
              <a:gd name="connsiteX5" fmla="*/ 368018 w 8286767"/>
              <a:gd name="connsiteY5" fmla="*/ 488977 h 513089"/>
              <a:gd name="connsiteX6" fmla="*/ 8286767 w 8286767"/>
              <a:gd name="connsiteY6" fmla="*/ 488977 h 513089"/>
              <a:gd name="connsiteX7" fmla="*/ 8286767 w 8286767"/>
              <a:gd name="connsiteY7" fmla="*/ 513089 h 513089"/>
              <a:gd name="connsiteX8" fmla="*/ 368018 w 8286767"/>
              <a:gd name="connsiteY8" fmla="*/ 513089 h 513089"/>
              <a:gd name="connsiteX9" fmla="*/ 0 w 8286767"/>
              <a:gd name="connsiteY9" fmla="*/ 225019 h 513089"/>
              <a:gd name="connsiteX10" fmla="*/ 0 w 8286767"/>
              <a:gd name="connsiteY10" fmla="*/ 11822 h 513089"/>
              <a:gd name="connsiteX11" fmla="*/ 4615 w 8286767"/>
              <a:gd name="connsiteY11" fmla="*/ 0 h 513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86767" h="513089">
                <a:moveTo>
                  <a:pt x="4615" y="0"/>
                </a:moveTo>
                <a:lnTo>
                  <a:pt x="30056" y="0"/>
                </a:lnTo>
                <a:lnTo>
                  <a:pt x="27385" y="5967"/>
                </a:lnTo>
                <a:cubicBezTo>
                  <a:pt x="18024" y="39383"/>
                  <a:pt x="12690" y="77494"/>
                  <a:pt x="12690" y="120958"/>
                </a:cubicBezTo>
                <a:lnTo>
                  <a:pt x="12690" y="134918"/>
                </a:lnTo>
                <a:cubicBezTo>
                  <a:pt x="12690" y="150146"/>
                  <a:pt x="17766" y="488977"/>
                  <a:pt x="368018" y="488977"/>
                </a:cubicBezTo>
                <a:lnTo>
                  <a:pt x="8286767" y="488977"/>
                </a:lnTo>
                <a:lnTo>
                  <a:pt x="8286767" y="513089"/>
                </a:lnTo>
                <a:lnTo>
                  <a:pt x="368018" y="513089"/>
                </a:lnTo>
                <a:cubicBezTo>
                  <a:pt x="110405" y="513089"/>
                  <a:pt x="26649" y="336694"/>
                  <a:pt x="0" y="225019"/>
                </a:cubicBezTo>
                <a:lnTo>
                  <a:pt x="0" y="11822"/>
                </a:lnTo>
                <a:lnTo>
                  <a:pt x="4615" y="0"/>
                </a:lnTo>
                <a:close/>
              </a:path>
            </a:pathLst>
          </a:custGeom>
          <a:solidFill>
            <a:schemeClr val="bg1"/>
          </a:solidFill>
          <a:ln w="12690" cap="flat">
            <a:noFill/>
            <a:prstDash val="solid"/>
            <a:miter/>
          </a:ln>
        </p:spPr>
        <p:txBody>
          <a:bodyPr wrap="square" rtlCol="0" anchor="ctr">
            <a:noAutofit/>
          </a:bodyPr>
          <a:lstStyle/>
          <a:p>
            <a:endParaRPr lang="ru-RU" dirty="0"/>
          </a:p>
        </p:txBody>
      </p:sp>
    </p:spTree>
    <p:extLst>
      <p:ext uri="{BB962C8B-B14F-4D97-AF65-F5344CB8AC3E}">
        <p14:creationId xmlns:p14="http://schemas.microsoft.com/office/powerpoint/2010/main" val="1099407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ubtitle, Content and Image">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5A97CE06-9ECC-4438-8B22-B58B27F2B5FA}"/>
              </a:ext>
            </a:extLst>
          </p:cNvPr>
          <p:cNvSpPr>
            <a:spLocks noGrp="1"/>
          </p:cNvSpPr>
          <p:nvPr>
            <p:ph type="pic" sz="quarter" idx="15"/>
          </p:nvPr>
        </p:nvSpPr>
        <p:spPr>
          <a:xfrm>
            <a:off x="1396781" y="0"/>
            <a:ext cx="3894833" cy="5656330"/>
          </a:xfrm>
          <a:custGeom>
            <a:avLst/>
            <a:gdLst>
              <a:gd name="connsiteX0" fmla="*/ 691654 w 3894833"/>
              <a:gd name="connsiteY0" fmla="*/ 0 h 5656330"/>
              <a:gd name="connsiteX1" fmla="*/ 925166 w 3894833"/>
              <a:gd name="connsiteY1" fmla="*/ 0 h 5656330"/>
              <a:gd name="connsiteX2" fmla="*/ 925166 w 3894833"/>
              <a:gd name="connsiteY2" fmla="*/ 1025424 h 5656330"/>
              <a:gd name="connsiteX3" fmla="*/ 1184060 w 3894833"/>
              <a:gd name="connsiteY3" fmla="*/ 1289394 h 5656330"/>
              <a:gd name="connsiteX4" fmla="*/ 1194212 w 3894833"/>
              <a:gd name="connsiteY4" fmla="*/ 1289394 h 5656330"/>
              <a:gd name="connsiteX5" fmla="*/ 1453107 w 3894833"/>
              <a:gd name="connsiteY5" fmla="*/ 1025424 h 5656330"/>
              <a:gd name="connsiteX6" fmla="*/ 1453107 w 3894833"/>
              <a:gd name="connsiteY6" fmla="*/ 0 h 5656330"/>
              <a:gd name="connsiteX7" fmla="*/ 3894833 w 3894833"/>
              <a:gd name="connsiteY7" fmla="*/ 0 h 5656330"/>
              <a:gd name="connsiteX8" fmla="*/ 3894833 w 3894833"/>
              <a:gd name="connsiteY8" fmla="*/ 3731122 h 5656330"/>
              <a:gd name="connsiteX9" fmla="*/ 2110494 w 3894833"/>
              <a:gd name="connsiteY9" fmla="*/ 5656330 h 5656330"/>
              <a:gd name="connsiteX10" fmla="*/ 1842717 w 3894833"/>
              <a:gd name="connsiteY10" fmla="*/ 5656330 h 5656330"/>
              <a:gd name="connsiteX11" fmla="*/ 0 w 3894833"/>
              <a:gd name="connsiteY11" fmla="*/ 3731122 h 5656330"/>
              <a:gd name="connsiteX12" fmla="*/ 0 w 3894833"/>
              <a:gd name="connsiteY12" fmla="*/ 2120572 h 5656330"/>
              <a:gd name="connsiteX13" fmla="*/ 7266 w 3894833"/>
              <a:gd name="connsiteY13" fmla="*/ 2123266 h 5656330"/>
              <a:gd name="connsiteX14" fmla="*/ 171328 w 3894833"/>
              <a:gd name="connsiteY14" fmla="*/ 2144761 h 5656330"/>
              <a:gd name="connsiteX15" fmla="*/ 189095 w 3894833"/>
              <a:gd name="connsiteY15" fmla="*/ 2144761 h 5656330"/>
              <a:gd name="connsiteX16" fmla="*/ 691654 w 3894833"/>
              <a:gd name="connsiteY16" fmla="*/ 1639663 h 565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94833" h="5656330">
                <a:moveTo>
                  <a:pt x="691654" y="0"/>
                </a:moveTo>
                <a:lnTo>
                  <a:pt x="925166" y="0"/>
                </a:lnTo>
                <a:lnTo>
                  <a:pt x="925166" y="1025424"/>
                </a:lnTo>
                <a:cubicBezTo>
                  <a:pt x="925166" y="1025424"/>
                  <a:pt x="925166" y="1289394"/>
                  <a:pt x="1184060" y="1289394"/>
                </a:cubicBezTo>
                <a:lnTo>
                  <a:pt x="1194212" y="1289394"/>
                </a:lnTo>
                <a:cubicBezTo>
                  <a:pt x="1194212" y="1289394"/>
                  <a:pt x="1453107" y="1289394"/>
                  <a:pt x="1453107" y="1025424"/>
                </a:cubicBezTo>
                <a:lnTo>
                  <a:pt x="1453107" y="0"/>
                </a:lnTo>
                <a:lnTo>
                  <a:pt x="3894833" y="0"/>
                </a:lnTo>
                <a:lnTo>
                  <a:pt x="3894833" y="3731122"/>
                </a:lnTo>
                <a:cubicBezTo>
                  <a:pt x="3894833" y="3731122"/>
                  <a:pt x="3894833" y="5562417"/>
                  <a:pt x="2110494" y="5656330"/>
                </a:cubicBezTo>
                <a:lnTo>
                  <a:pt x="1842717" y="5656330"/>
                </a:lnTo>
                <a:cubicBezTo>
                  <a:pt x="1467066" y="5628410"/>
                  <a:pt x="0" y="5413934"/>
                  <a:pt x="0" y="3731122"/>
                </a:cubicBezTo>
                <a:lnTo>
                  <a:pt x="0" y="2120572"/>
                </a:lnTo>
                <a:lnTo>
                  <a:pt x="7266" y="2123266"/>
                </a:lnTo>
                <a:cubicBezTo>
                  <a:pt x="54929" y="2136948"/>
                  <a:pt x="109301" y="2144761"/>
                  <a:pt x="171328" y="2144761"/>
                </a:cubicBezTo>
                <a:lnTo>
                  <a:pt x="189095" y="2144761"/>
                </a:lnTo>
                <a:cubicBezTo>
                  <a:pt x="194172" y="2144761"/>
                  <a:pt x="691654" y="2138415"/>
                  <a:pt x="691654" y="1639663"/>
                </a:cubicBezTo>
                <a:close/>
              </a:path>
            </a:pathLst>
          </a:custGeom>
        </p:spPr>
        <p:txBody>
          <a:bodyPr wrap="square" anchor="ctr" anchorCtr="0">
            <a:noAutofit/>
          </a:bodyPr>
          <a:lstStyle>
            <a:lvl1pPr marL="0" indent="0" algn="ctr">
              <a:buNone/>
              <a:defRPr sz="1400"/>
            </a:lvl1pPr>
          </a:lstStyle>
          <a:p>
            <a:r>
              <a:rPr lang="en-US"/>
              <a:t>Click icon to add picture</a:t>
            </a:r>
            <a:endParaRPr lang="ru-RU"/>
          </a:p>
        </p:txBody>
      </p:sp>
      <p:sp>
        <p:nvSpPr>
          <p:cNvPr id="24" name="Oval 23">
            <a:extLst>
              <a:ext uri="{FF2B5EF4-FFF2-40B4-BE49-F238E27FC236}">
                <a16:creationId xmlns:a16="http://schemas.microsoft.com/office/drawing/2014/main" id="{CE8B26E3-C9CA-4CFF-8221-19518F497FF4}"/>
              </a:ext>
            </a:extLst>
          </p:cNvPr>
          <p:cNvSpPr/>
          <p:nvPr userDrawn="1"/>
        </p:nvSpPr>
        <p:spPr>
          <a:xfrm>
            <a:off x="10893420" y="5803030"/>
            <a:ext cx="385200" cy="385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5" name="Graphic 12">
            <a:extLst>
              <a:ext uri="{FF2B5EF4-FFF2-40B4-BE49-F238E27FC236}">
                <a16:creationId xmlns:a16="http://schemas.microsoft.com/office/drawing/2014/main" id="{A9957602-C843-44E0-A93F-66AF5A6A0F0A}"/>
              </a:ext>
            </a:extLst>
          </p:cNvPr>
          <p:cNvSpPr/>
          <p:nvPr userDrawn="1"/>
        </p:nvSpPr>
        <p:spPr>
          <a:xfrm>
            <a:off x="11334292" y="5787811"/>
            <a:ext cx="870509" cy="409651"/>
          </a:xfrm>
          <a:custGeom>
            <a:avLst/>
            <a:gdLst>
              <a:gd name="connsiteX0" fmla="*/ 203546 w 870509"/>
              <a:gd name="connsiteY0" fmla="*/ 400690 h 409651"/>
              <a:gd name="connsiteX1" fmla="*/ 860268 w 870509"/>
              <a:gd name="connsiteY1" fmla="*/ 400690 h 409651"/>
              <a:gd name="connsiteX2" fmla="*/ 860268 w 870509"/>
              <a:gd name="connsiteY2" fmla="*/ 12802 h 409651"/>
              <a:gd name="connsiteX3" fmla="*/ 203546 w 870509"/>
              <a:gd name="connsiteY3" fmla="*/ 12802 h 409651"/>
              <a:gd name="connsiteX4" fmla="*/ 12802 w 870509"/>
              <a:gd name="connsiteY4" fmla="*/ 203545 h 409651"/>
              <a:gd name="connsiteX5" fmla="*/ 12802 w 870509"/>
              <a:gd name="connsiteY5" fmla="*/ 211226 h 409651"/>
              <a:gd name="connsiteX6" fmla="*/ 203546 w 870509"/>
              <a:gd name="connsiteY6" fmla="*/ 400690 h 40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09" h="409651">
                <a:moveTo>
                  <a:pt x="203546" y="400690"/>
                </a:moveTo>
                <a:lnTo>
                  <a:pt x="860268" y="400690"/>
                </a:lnTo>
                <a:lnTo>
                  <a:pt x="860268" y="12802"/>
                </a:lnTo>
                <a:lnTo>
                  <a:pt x="203546" y="12802"/>
                </a:lnTo>
                <a:cubicBezTo>
                  <a:pt x="203546" y="12802"/>
                  <a:pt x="12802" y="12802"/>
                  <a:pt x="12802" y="203545"/>
                </a:cubicBezTo>
                <a:lnTo>
                  <a:pt x="12802" y="211226"/>
                </a:lnTo>
                <a:cubicBezTo>
                  <a:pt x="12802" y="209946"/>
                  <a:pt x="12802" y="400690"/>
                  <a:pt x="203546" y="400690"/>
                </a:cubicBezTo>
                <a:close/>
              </a:path>
            </a:pathLst>
          </a:custGeom>
          <a:gradFill flip="none" rotWithShape="1">
            <a:gsLst>
              <a:gs pos="12000">
                <a:schemeClr val="accent1"/>
              </a:gs>
              <a:gs pos="100000">
                <a:schemeClr val="accent3"/>
              </a:gs>
            </a:gsLst>
            <a:lin ang="0" scaled="1"/>
            <a:tileRect/>
          </a:gradFill>
          <a:ln w="12700" cap="flat">
            <a:noFill/>
            <a:prstDash val="solid"/>
            <a:miter/>
          </a:ln>
        </p:spPr>
        <p:txBody>
          <a:bodyPr rtlCol="0" anchor="ctr"/>
          <a:lstStyle/>
          <a:p>
            <a:endParaRPr lang="ru-RU" dirty="0"/>
          </a:p>
        </p:txBody>
      </p:sp>
      <p:sp>
        <p:nvSpPr>
          <p:cNvPr id="2" name="Title 1">
            <a:extLst>
              <a:ext uri="{FF2B5EF4-FFF2-40B4-BE49-F238E27FC236}">
                <a16:creationId xmlns:a16="http://schemas.microsoft.com/office/drawing/2014/main" id="{7242568A-7F20-40F2-9490-E3BC7466DA0D}"/>
              </a:ext>
            </a:extLst>
          </p:cNvPr>
          <p:cNvSpPr>
            <a:spLocks noGrp="1"/>
          </p:cNvSpPr>
          <p:nvPr>
            <p:ph type="title" hasCustomPrompt="1"/>
          </p:nvPr>
        </p:nvSpPr>
        <p:spPr>
          <a:xfrm>
            <a:off x="6910023" y="908050"/>
            <a:ext cx="4503295" cy="782638"/>
          </a:xfrm>
        </p:spPr>
        <p:txBody>
          <a:bodyPr/>
          <a:lstStyle>
            <a:lvl1pPr>
              <a:defRPr/>
            </a:lvl1pPr>
          </a:lstStyle>
          <a:p>
            <a:r>
              <a:rPr lang="en-US" dirty="0"/>
              <a:t>TEXT LAYOUT 02</a:t>
            </a:r>
            <a:endParaRPr lang="ru-RU" dirty="0"/>
          </a:p>
        </p:txBody>
      </p:sp>
      <p:sp>
        <p:nvSpPr>
          <p:cNvPr id="4" name="Date Placeholder 3">
            <a:extLst>
              <a:ext uri="{FF2B5EF4-FFF2-40B4-BE49-F238E27FC236}">
                <a16:creationId xmlns:a16="http://schemas.microsoft.com/office/drawing/2014/main" id="{AC6F89F8-3E24-406D-9C49-00E6E47E4AAC}"/>
              </a:ext>
            </a:extLst>
          </p:cNvPr>
          <p:cNvSpPr>
            <a:spLocks noGrp="1"/>
          </p:cNvSpPr>
          <p:nvPr>
            <p:ph type="dt" sz="half" idx="10"/>
          </p:nvPr>
        </p:nvSpPr>
        <p:spPr/>
        <p:txBody>
          <a:bodyPr/>
          <a:lstStyle/>
          <a:p>
            <a:r>
              <a:rPr lang="ru-RU" dirty="0"/>
              <a:t>MM.DD.20XX</a:t>
            </a:r>
          </a:p>
        </p:txBody>
      </p:sp>
      <p:sp>
        <p:nvSpPr>
          <p:cNvPr id="5" name="Footer Placeholder 4">
            <a:extLst>
              <a:ext uri="{FF2B5EF4-FFF2-40B4-BE49-F238E27FC236}">
                <a16:creationId xmlns:a16="http://schemas.microsoft.com/office/drawing/2014/main" id="{4392DBDA-ED00-4248-AC6D-0CE0B821B52F}"/>
              </a:ext>
            </a:extLst>
          </p:cNvPr>
          <p:cNvSpPr>
            <a:spLocks noGrp="1"/>
          </p:cNvSpPr>
          <p:nvPr>
            <p:ph type="ftr" sz="quarter" idx="11"/>
          </p:nvPr>
        </p:nvSpPr>
        <p:spPr>
          <a:xfrm>
            <a:off x="812290" y="5797769"/>
            <a:ext cx="3908793" cy="365125"/>
          </a:xfrm>
          <a:prstGeom prst="rect">
            <a:avLst/>
          </a:prstGeom>
        </p:spPr>
        <p:txBody>
          <a:bodyPr/>
          <a:lstStyle/>
          <a:p>
            <a:r>
              <a:rPr lang="en-US" dirty="0"/>
              <a:t>ADD A FOOTER</a:t>
            </a:r>
            <a:endParaRPr lang="ru-RU" dirty="0"/>
          </a:p>
        </p:txBody>
      </p:sp>
      <p:sp>
        <p:nvSpPr>
          <p:cNvPr id="6" name="Slide Number Placeholder 5">
            <a:extLst>
              <a:ext uri="{FF2B5EF4-FFF2-40B4-BE49-F238E27FC236}">
                <a16:creationId xmlns:a16="http://schemas.microsoft.com/office/drawing/2014/main" id="{EC2B5F97-2F18-4EF2-9CBC-AAAB9FF4CC91}"/>
              </a:ext>
            </a:extLst>
          </p:cNvPr>
          <p:cNvSpPr>
            <a:spLocks noGrp="1"/>
          </p:cNvSpPr>
          <p:nvPr>
            <p:ph type="sldNum" sz="quarter" idx="12"/>
          </p:nvPr>
        </p:nvSpPr>
        <p:spPr/>
        <p:txBody>
          <a:bodyPr/>
          <a:lstStyle/>
          <a:p>
            <a:fld id="{D495E168-DA5E-4888-8D8A-92B118324C14}" type="slidenum">
              <a:rPr lang="ru-RU" smtClean="0"/>
              <a:t>‹#›</a:t>
            </a:fld>
            <a:endParaRPr lang="ru-RU" dirty="0"/>
          </a:p>
        </p:txBody>
      </p:sp>
      <p:sp>
        <p:nvSpPr>
          <p:cNvPr id="10" name="Freeform: Shape 9">
            <a:extLst>
              <a:ext uri="{FF2B5EF4-FFF2-40B4-BE49-F238E27FC236}">
                <a16:creationId xmlns:a16="http://schemas.microsoft.com/office/drawing/2014/main" id="{7492975F-6F5D-4157-A751-54BACCCF1800}"/>
              </a:ext>
            </a:extLst>
          </p:cNvPr>
          <p:cNvSpPr/>
          <p:nvPr/>
        </p:nvSpPr>
        <p:spPr>
          <a:xfrm>
            <a:off x="5492146" y="-12675"/>
            <a:ext cx="545708" cy="3819957"/>
          </a:xfrm>
          <a:custGeom>
            <a:avLst/>
            <a:gdLst>
              <a:gd name="connsiteX0" fmla="*/ 12675 w 545708"/>
              <a:gd name="connsiteY0" fmla="*/ 12675 h 3819957"/>
              <a:gd name="connsiteX1" fmla="*/ 12675 w 545708"/>
              <a:gd name="connsiteY1" fmla="*/ 3550894 h 3819957"/>
              <a:gd name="connsiteX2" fmla="*/ 271569 w 545708"/>
              <a:gd name="connsiteY2" fmla="*/ 3814865 h 3819957"/>
              <a:gd name="connsiteX3" fmla="*/ 281722 w 545708"/>
              <a:gd name="connsiteY3" fmla="*/ 3814865 h 3819957"/>
              <a:gd name="connsiteX4" fmla="*/ 540616 w 545708"/>
              <a:gd name="connsiteY4" fmla="*/ 3550894 h 3819957"/>
              <a:gd name="connsiteX5" fmla="*/ 540616 w 545708"/>
              <a:gd name="connsiteY5" fmla="*/ 12675 h 3819957"/>
              <a:gd name="connsiteX6" fmla="*/ 12675 w 545708"/>
              <a:gd name="connsiteY6" fmla="*/ 12675 h 3819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5708" h="3819957">
                <a:moveTo>
                  <a:pt x="12675" y="12675"/>
                </a:moveTo>
                <a:lnTo>
                  <a:pt x="12675" y="3550894"/>
                </a:lnTo>
                <a:cubicBezTo>
                  <a:pt x="12675" y="3550894"/>
                  <a:pt x="12675" y="3814865"/>
                  <a:pt x="271569" y="3814865"/>
                </a:cubicBezTo>
                <a:lnTo>
                  <a:pt x="281722" y="3814865"/>
                </a:lnTo>
                <a:cubicBezTo>
                  <a:pt x="281722" y="3814865"/>
                  <a:pt x="540616" y="3814865"/>
                  <a:pt x="540616" y="3550894"/>
                </a:cubicBezTo>
                <a:lnTo>
                  <a:pt x="540616" y="12675"/>
                </a:lnTo>
                <a:lnTo>
                  <a:pt x="12675" y="12675"/>
                </a:lnTo>
                <a:close/>
              </a:path>
            </a:pathLst>
          </a:custGeom>
          <a:solidFill>
            <a:schemeClr val="accent1"/>
          </a:solidFill>
          <a:ln w="12684" cap="flat">
            <a:noFill/>
            <a:prstDash val="solid"/>
            <a:miter/>
          </a:ln>
        </p:spPr>
        <p:txBody>
          <a:bodyPr rtlCol="0" anchor="ctr"/>
          <a:lstStyle/>
          <a:p>
            <a:endParaRPr lang="ru-RU" dirty="0"/>
          </a:p>
        </p:txBody>
      </p:sp>
      <p:sp>
        <p:nvSpPr>
          <p:cNvPr id="13" name="Freeform: Shape 12">
            <a:extLst>
              <a:ext uri="{FF2B5EF4-FFF2-40B4-BE49-F238E27FC236}">
                <a16:creationId xmlns:a16="http://schemas.microsoft.com/office/drawing/2014/main" id="{6C50EDEB-35C1-4DED-A608-A0EAA8DE5404}"/>
              </a:ext>
            </a:extLst>
          </p:cNvPr>
          <p:cNvSpPr/>
          <p:nvPr/>
        </p:nvSpPr>
        <p:spPr>
          <a:xfrm>
            <a:off x="5479455" y="-12675"/>
            <a:ext cx="571090" cy="3832648"/>
          </a:xfrm>
          <a:custGeom>
            <a:avLst/>
            <a:gdLst>
              <a:gd name="connsiteX0" fmla="*/ 540616 w 571089"/>
              <a:gd name="connsiteY0" fmla="*/ 12675 h 3832648"/>
              <a:gd name="connsiteX1" fmla="*/ 540616 w 571089"/>
              <a:gd name="connsiteY1" fmla="*/ 3550894 h 3832648"/>
              <a:gd name="connsiteX2" fmla="*/ 294413 w 571089"/>
              <a:gd name="connsiteY2" fmla="*/ 3802174 h 3832648"/>
              <a:gd name="connsiteX3" fmla="*/ 284260 w 571089"/>
              <a:gd name="connsiteY3" fmla="*/ 3802174 h 3832648"/>
              <a:gd name="connsiteX4" fmla="*/ 38056 w 571089"/>
              <a:gd name="connsiteY4" fmla="*/ 3550894 h 3832648"/>
              <a:gd name="connsiteX5" fmla="*/ 38056 w 571089"/>
              <a:gd name="connsiteY5" fmla="*/ 12675 h 3832648"/>
              <a:gd name="connsiteX6" fmla="*/ 12675 w 571089"/>
              <a:gd name="connsiteY6" fmla="*/ 12675 h 3832648"/>
              <a:gd name="connsiteX7" fmla="*/ 12675 w 571089"/>
              <a:gd name="connsiteY7" fmla="*/ 3550894 h 3832648"/>
              <a:gd name="connsiteX8" fmla="*/ 284260 w 571089"/>
              <a:gd name="connsiteY8" fmla="*/ 3827556 h 3832648"/>
              <a:gd name="connsiteX9" fmla="*/ 294413 w 571089"/>
              <a:gd name="connsiteY9" fmla="*/ 3827556 h 3832648"/>
              <a:gd name="connsiteX10" fmla="*/ 565998 w 571089"/>
              <a:gd name="connsiteY10" fmla="*/ 3550894 h 3832648"/>
              <a:gd name="connsiteX11" fmla="*/ 565998 w 571089"/>
              <a:gd name="connsiteY11" fmla="*/ 12675 h 3832648"/>
              <a:gd name="connsiteX12" fmla="*/ 540616 w 571089"/>
              <a:gd name="connsiteY12" fmla="*/ 12675 h 383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089" h="3832648">
                <a:moveTo>
                  <a:pt x="540616" y="12675"/>
                </a:moveTo>
                <a:lnTo>
                  <a:pt x="540616" y="3550894"/>
                </a:lnTo>
                <a:cubicBezTo>
                  <a:pt x="540616" y="3798367"/>
                  <a:pt x="304565" y="3802174"/>
                  <a:pt x="294413" y="3802174"/>
                </a:cubicBezTo>
                <a:lnTo>
                  <a:pt x="284260" y="3802174"/>
                </a:lnTo>
                <a:cubicBezTo>
                  <a:pt x="41864" y="3802174"/>
                  <a:pt x="38056" y="3561047"/>
                  <a:pt x="38056" y="3550894"/>
                </a:cubicBezTo>
                <a:lnTo>
                  <a:pt x="38056" y="12675"/>
                </a:lnTo>
                <a:lnTo>
                  <a:pt x="12675" y="12675"/>
                </a:lnTo>
                <a:lnTo>
                  <a:pt x="12675" y="3550894"/>
                </a:lnTo>
                <a:cubicBezTo>
                  <a:pt x="12675" y="3553433"/>
                  <a:pt x="15213" y="3827556"/>
                  <a:pt x="284260" y="3827556"/>
                </a:cubicBezTo>
                <a:lnTo>
                  <a:pt x="294413" y="3827556"/>
                </a:lnTo>
                <a:cubicBezTo>
                  <a:pt x="296951" y="3827556"/>
                  <a:pt x="565998" y="3825017"/>
                  <a:pt x="565998" y="3550894"/>
                </a:cubicBezTo>
                <a:lnTo>
                  <a:pt x="565998" y="12675"/>
                </a:lnTo>
                <a:lnTo>
                  <a:pt x="540616" y="12675"/>
                </a:lnTo>
                <a:close/>
              </a:path>
            </a:pathLst>
          </a:custGeom>
          <a:solidFill>
            <a:schemeClr val="bg1"/>
          </a:solidFill>
          <a:ln w="12684" cap="flat">
            <a:noFill/>
            <a:prstDash val="solid"/>
            <a:miter/>
          </a:ln>
        </p:spPr>
        <p:txBody>
          <a:bodyPr rtlCol="0" anchor="ctr"/>
          <a:lstStyle/>
          <a:p>
            <a:endParaRPr lang="ru-RU" dirty="0"/>
          </a:p>
        </p:txBody>
      </p:sp>
      <p:sp>
        <p:nvSpPr>
          <p:cNvPr id="16" name="Text Placeholder 14">
            <a:extLst>
              <a:ext uri="{FF2B5EF4-FFF2-40B4-BE49-F238E27FC236}">
                <a16:creationId xmlns:a16="http://schemas.microsoft.com/office/drawing/2014/main" id="{F469DEB5-CC79-4D71-8360-0B10B34244B7}"/>
              </a:ext>
            </a:extLst>
          </p:cNvPr>
          <p:cNvSpPr>
            <a:spLocks noGrp="1"/>
          </p:cNvSpPr>
          <p:nvPr userDrawn="1">
            <p:ph type="body" sz="quarter" idx="13"/>
          </p:nvPr>
        </p:nvSpPr>
        <p:spPr>
          <a:xfrm>
            <a:off x="6910023" y="2050475"/>
            <a:ext cx="4548187" cy="639683"/>
          </a:xfrm>
        </p:spPr>
        <p:txBody>
          <a:bodyPr>
            <a:normAutofit/>
          </a:bodyPr>
          <a:lstStyle>
            <a:lvl1pPr marL="0" indent="0">
              <a:buNone/>
              <a:defRPr sz="1800" b="1" i="0"/>
            </a:lvl1pPr>
          </a:lstStyle>
          <a:p>
            <a:pPr lvl="0"/>
            <a:r>
              <a:rPr lang="en-US"/>
              <a:t>Click to edit Master text styles</a:t>
            </a:r>
          </a:p>
        </p:txBody>
      </p:sp>
      <p:sp>
        <p:nvSpPr>
          <p:cNvPr id="17" name="Text Placeholder 14">
            <a:extLst>
              <a:ext uri="{FF2B5EF4-FFF2-40B4-BE49-F238E27FC236}">
                <a16:creationId xmlns:a16="http://schemas.microsoft.com/office/drawing/2014/main" id="{9EE0722D-F13C-4FFB-9E31-CC024B92E6CD}"/>
              </a:ext>
            </a:extLst>
          </p:cNvPr>
          <p:cNvSpPr>
            <a:spLocks noGrp="1"/>
          </p:cNvSpPr>
          <p:nvPr userDrawn="1">
            <p:ph type="body" sz="quarter" idx="14"/>
          </p:nvPr>
        </p:nvSpPr>
        <p:spPr>
          <a:xfrm>
            <a:off x="6910023" y="2839714"/>
            <a:ext cx="4548187" cy="2916952"/>
          </a:xfrm>
        </p:spPr>
        <p:txBody>
          <a:bodyPr>
            <a:normAutofit/>
          </a:bodyPr>
          <a:lstStyle>
            <a:lvl1pPr marL="180000" indent="-180000">
              <a:spcBef>
                <a:spcPts val="600"/>
              </a:spcBef>
              <a:buClr>
                <a:schemeClr val="accent3"/>
              </a:buClr>
              <a:buFont typeface="Arial" panose="020B0604020202020204" pitchFamily="34" charset="0"/>
              <a:buChar char="•"/>
              <a:defRPr sz="1400" b="0" i="0">
                <a:solidFill>
                  <a:schemeClr val="tx1">
                    <a:lumMod val="65000"/>
                    <a:lumOff val="35000"/>
                  </a:schemeClr>
                </a:solidFill>
              </a:defRPr>
            </a:lvl1pPr>
          </a:lstStyle>
          <a:p>
            <a:pPr lvl="0"/>
            <a:r>
              <a:rPr lang="en-US"/>
              <a:t>Click to edit Master text styles</a:t>
            </a:r>
          </a:p>
        </p:txBody>
      </p:sp>
      <p:sp>
        <p:nvSpPr>
          <p:cNvPr id="3" name="Graphic 22">
            <a:extLst>
              <a:ext uri="{FF2B5EF4-FFF2-40B4-BE49-F238E27FC236}">
                <a16:creationId xmlns:a16="http://schemas.microsoft.com/office/drawing/2014/main" id="{827885C7-FA6F-4513-83BC-BEAD42F63D5B}"/>
              </a:ext>
            </a:extLst>
          </p:cNvPr>
          <p:cNvSpPr/>
          <p:nvPr userDrawn="1"/>
        </p:nvSpPr>
        <p:spPr>
          <a:xfrm>
            <a:off x="6981947" y="1726672"/>
            <a:ext cx="3785313" cy="165305"/>
          </a:xfrm>
          <a:custGeom>
            <a:avLst/>
            <a:gdLst>
              <a:gd name="connsiteX0" fmla="*/ 3700149 w 3785313"/>
              <a:gd name="connsiteY0" fmla="*/ 162194 h 165304"/>
              <a:gd name="connsiteX1" fmla="*/ 92020 w 3785313"/>
              <a:gd name="connsiteY1" fmla="*/ 162194 h 165304"/>
              <a:gd name="connsiteX2" fmla="*/ 14166 w 3785313"/>
              <a:gd name="connsiteY2" fmla="*/ 87171 h 165304"/>
              <a:gd name="connsiteX3" fmla="*/ 14166 w 3785313"/>
              <a:gd name="connsiteY3" fmla="*/ 87171 h 165304"/>
              <a:gd name="connsiteX4" fmla="*/ 92020 w 3785313"/>
              <a:gd name="connsiteY4" fmla="*/ 13420 h 165304"/>
              <a:gd name="connsiteX5" fmla="*/ 3698806 w 3785313"/>
              <a:gd name="connsiteY5" fmla="*/ 13420 h 165304"/>
              <a:gd name="connsiteX6" fmla="*/ 3776660 w 3785313"/>
              <a:gd name="connsiteY6" fmla="*/ 87171 h 165304"/>
              <a:gd name="connsiteX7" fmla="*/ 3776660 w 3785313"/>
              <a:gd name="connsiteY7" fmla="*/ 87171 h 165304"/>
              <a:gd name="connsiteX8" fmla="*/ 3700149 w 3785313"/>
              <a:gd name="connsiteY8" fmla="*/ 162194 h 165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5313" h="165304">
                <a:moveTo>
                  <a:pt x="3700149" y="162194"/>
                </a:moveTo>
                <a:lnTo>
                  <a:pt x="92020" y="162194"/>
                </a:lnTo>
                <a:cubicBezTo>
                  <a:pt x="49066" y="162194"/>
                  <a:pt x="14166" y="127861"/>
                  <a:pt x="14166" y="87171"/>
                </a:cubicBezTo>
                <a:lnTo>
                  <a:pt x="14166" y="87171"/>
                </a:lnTo>
                <a:cubicBezTo>
                  <a:pt x="14166" y="46481"/>
                  <a:pt x="49066" y="13420"/>
                  <a:pt x="92020" y="13420"/>
                </a:cubicBezTo>
                <a:lnTo>
                  <a:pt x="3698806" y="13420"/>
                </a:lnTo>
                <a:cubicBezTo>
                  <a:pt x="3741760" y="13420"/>
                  <a:pt x="3776660" y="46481"/>
                  <a:pt x="3776660" y="87171"/>
                </a:cubicBezTo>
                <a:lnTo>
                  <a:pt x="3776660" y="87171"/>
                </a:lnTo>
                <a:cubicBezTo>
                  <a:pt x="3778002" y="127861"/>
                  <a:pt x="3743102" y="162194"/>
                  <a:pt x="3700149" y="162194"/>
                </a:cubicBezTo>
                <a:close/>
              </a:path>
            </a:pathLst>
          </a:custGeom>
          <a:gradFill>
            <a:gsLst>
              <a:gs pos="0">
                <a:schemeClr val="accent1"/>
              </a:gs>
              <a:gs pos="100000">
                <a:schemeClr val="accent3"/>
              </a:gs>
            </a:gsLst>
            <a:lin ang="0" scaled="1"/>
          </a:gradFill>
          <a:ln w="13403" cap="flat">
            <a:noFill/>
            <a:prstDash val="solid"/>
            <a:miter/>
          </a:ln>
        </p:spPr>
        <p:txBody>
          <a:bodyPr rtlCol="0" anchor="ctr"/>
          <a:lstStyle/>
          <a:p>
            <a:endParaRPr lang="ru-RU" dirty="0"/>
          </a:p>
        </p:txBody>
      </p:sp>
      <p:sp>
        <p:nvSpPr>
          <p:cNvPr id="22" name="Freeform: Shape 21">
            <a:extLst>
              <a:ext uri="{FF2B5EF4-FFF2-40B4-BE49-F238E27FC236}">
                <a16:creationId xmlns:a16="http://schemas.microsoft.com/office/drawing/2014/main" id="{30961087-B677-45AC-8D02-FEE615D17609}"/>
              </a:ext>
            </a:extLst>
          </p:cNvPr>
          <p:cNvSpPr/>
          <p:nvPr userDrawn="1"/>
        </p:nvSpPr>
        <p:spPr>
          <a:xfrm>
            <a:off x="1069371" y="-12675"/>
            <a:ext cx="1002580" cy="2144760"/>
          </a:xfrm>
          <a:custGeom>
            <a:avLst/>
            <a:gdLst>
              <a:gd name="connsiteX0" fmla="*/ 12675 w 1002580"/>
              <a:gd name="connsiteY0" fmla="*/ 12675 h 2144760"/>
              <a:gd name="connsiteX1" fmla="*/ 12675 w 1002580"/>
              <a:gd name="connsiteY1" fmla="*/ 1652337 h 2144760"/>
              <a:gd name="connsiteX2" fmla="*/ 498736 w 1002580"/>
              <a:gd name="connsiteY2" fmla="*/ 2139668 h 2144760"/>
              <a:gd name="connsiteX3" fmla="*/ 516503 w 1002580"/>
              <a:gd name="connsiteY3" fmla="*/ 2139668 h 2144760"/>
              <a:gd name="connsiteX4" fmla="*/ 1002564 w 1002580"/>
              <a:gd name="connsiteY4" fmla="*/ 1652337 h 2144760"/>
              <a:gd name="connsiteX5" fmla="*/ 1002564 w 1002580"/>
              <a:gd name="connsiteY5" fmla="*/ 12675 h 2144760"/>
              <a:gd name="connsiteX6" fmla="*/ 12675 w 1002580"/>
              <a:gd name="connsiteY6" fmla="*/ 12675 h 214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2580" h="2144760">
                <a:moveTo>
                  <a:pt x="12675" y="12675"/>
                </a:moveTo>
                <a:lnTo>
                  <a:pt x="12675" y="1652337"/>
                </a:lnTo>
                <a:cubicBezTo>
                  <a:pt x="12675" y="1652337"/>
                  <a:pt x="12675" y="2139668"/>
                  <a:pt x="498736" y="2139668"/>
                </a:cubicBezTo>
                <a:lnTo>
                  <a:pt x="516503" y="2139668"/>
                </a:lnTo>
                <a:cubicBezTo>
                  <a:pt x="516503" y="2139668"/>
                  <a:pt x="1002564" y="2139668"/>
                  <a:pt x="1002564" y="1652337"/>
                </a:cubicBezTo>
                <a:lnTo>
                  <a:pt x="1002564" y="12675"/>
                </a:lnTo>
                <a:lnTo>
                  <a:pt x="12675" y="12675"/>
                </a:lnTo>
                <a:close/>
              </a:path>
            </a:pathLst>
          </a:custGeom>
          <a:solidFill>
            <a:schemeClr val="accent3"/>
          </a:solidFill>
          <a:ln w="12684" cap="flat">
            <a:noFill/>
            <a:prstDash val="solid"/>
            <a:miter/>
          </a:ln>
        </p:spPr>
        <p:txBody>
          <a:bodyPr rtlCol="0" anchor="ctr"/>
          <a:lstStyle/>
          <a:p>
            <a:endParaRPr lang="ru-RU" dirty="0"/>
          </a:p>
        </p:txBody>
      </p:sp>
    </p:spTree>
    <p:extLst>
      <p:ext uri="{BB962C8B-B14F-4D97-AF65-F5344CB8AC3E}">
        <p14:creationId xmlns:p14="http://schemas.microsoft.com/office/powerpoint/2010/main" val="13793696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686C7-EEC4-2150-8026-B8017EF5D32B}"/>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44E7E382-95E2-D3D6-BB0B-C9CC2FD2ED2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2404FD2-5A60-F9B4-EFF6-013F47A5C0BF}"/>
              </a:ext>
            </a:extLst>
          </p:cNvPr>
          <p:cNvSpPr>
            <a:spLocks noGrp="1"/>
          </p:cNvSpPr>
          <p:nvPr>
            <p:ph type="dt" sz="half" idx="10"/>
          </p:nvPr>
        </p:nvSpPr>
        <p:spPr/>
        <p:txBody>
          <a:bodyPr/>
          <a:lstStyle/>
          <a:p>
            <a:fld id="{F97C6114-4FD8-4CD2-88B3-4E019E90659A}" type="datetimeFigureOut">
              <a:rPr lang="en-IN" smtClean="0"/>
              <a:t>10-12-2022</a:t>
            </a:fld>
            <a:endParaRPr lang="en-IN"/>
          </a:p>
        </p:txBody>
      </p:sp>
      <p:sp>
        <p:nvSpPr>
          <p:cNvPr id="5" name="Footer Placeholder 4">
            <a:extLst>
              <a:ext uri="{FF2B5EF4-FFF2-40B4-BE49-F238E27FC236}">
                <a16:creationId xmlns:a16="http://schemas.microsoft.com/office/drawing/2014/main" id="{6970B64B-28F8-ED2A-C94D-1151FA6D4BC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017257A-7150-C05E-6CF8-34A5044EB46E}"/>
              </a:ext>
            </a:extLst>
          </p:cNvPr>
          <p:cNvSpPr>
            <a:spLocks noGrp="1"/>
          </p:cNvSpPr>
          <p:nvPr>
            <p:ph type="sldNum" sz="quarter" idx="12"/>
          </p:nvPr>
        </p:nvSpPr>
        <p:spPr/>
        <p:txBody>
          <a:bodyPr/>
          <a:lstStyle/>
          <a:p>
            <a:fld id="{4737B917-BF9E-453A-A89B-4E1DC62DABA1}" type="slidenum">
              <a:rPr lang="en-IN" smtClean="0"/>
              <a:t>‹#›</a:t>
            </a:fld>
            <a:endParaRPr lang="en-IN"/>
          </a:p>
        </p:txBody>
      </p:sp>
    </p:spTree>
    <p:extLst>
      <p:ext uri="{BB962C8B-B14F-4D97-AF65-F5344CB8AC3E}">
        <p14:creationId xmlns:p14="http://schemas.microsoft.com/office/powerpoint/2010/main" val="11987237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E74D6-1B53-AF4F-FB32-9E6B228CD2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ECEB9DCF-C6EF-9839-620E-A2268185E8E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C5141C0-95D8-3EF7-3FAE-7CBAE4D48C92}"/>
              </a:ext>
            </a:extLst>
          </p:cNvPr>
          <p:cNvSpPr>
            <a:spLocks noGrp="1"/>
          </p:cNvSpPr>
          <p:nvPr>
            <p:ph type="dt" sz="half" idx="10"/>
          </p:nvPr>
        </p:nvSpPr>
        <p:spPr/>
        <p:txBody>
          <a:bodyPr/>
          <a:lstStyle/>
          <a:p>
            <a:fld id="{F97C6114-4FD8-4CD2-88B3-4E019E90659A}" type="datetimeFigureOut">
              <a:rPr lang="en-IN" smtClean="0"/>
              <a:t>10-12-2022</a:t>
            </a:fld>
            <a:endParaRPr lang="en-IN"/>
          </a:p>
        </p:txBody>
      </p:sp>
      <p:sp>
        <p:nvSpPr>
          <p:cNvPr id="5" name="Footer Placeholder 4">
            <a:extLst>
              <a:ext uri="{FF2B5EF4-FFF2-40B4-BE49-F238E27FC236}">
                <a16:creationId xmlns:a16="http://schemas.microsoft.com/office/drawing/2014/main" id="{526531BA-D8C4-3AC0-0B27-8729A8E7E9B7}"/>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6ECE0E3-A02C-118D-2F3B-81A4222E73AA}"/>
              </a:ext>
            </a:extLst>
          </p:cNvPr>
          <p:cNvSpPr>
            <a:spLocks noGrp="1"/>
          </p:cNvSpPr>
          <p:nvPr>
            <p:ph type="sldNum" sz="quarter" idx="12"/>
          </p:nvPr>
        </p:nvSpPr>
        <p:spPr/>
        <p:txBody>
          <a:bodyPr/>
          <a:lstStyle/>
          <a:p>
            <a:fld id="{4737B917-BF9E-453A-A89B-4E1DC62DABA1}" type="slidenum">
              <a:rPr lang="en-IN" smtClean="0"/>
              <a:t>‹#›</a:t>
            </a:fld>
            <a:endParaRPr lang="en-IN"/>
          </a:p>
        </p:txBody>
      </p:sp>
    </p:spTree>
    <p:extLst>
      <p:ext uri="{BB962C8B-B14F-4D97-AF65-F5344CB8AC3E}">
        <p14:creationId xmlns:p14="http://schemas.microsoft.com/office/powerpoint/2010/main" val="13959462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775C8C-4123-9D5D-D6FB-352C02A1348B}"/>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F69ABBE9-ED0C-DF26-58AC-E5386420D5E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92D90556-880D-2E9F-C1AD-CE53F1E95B4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173E1B0E-FBDD-CA47-27DF-7B9F5F3A2FF2}"/>
              </a:ext>
            </a:extLst>
          </p:cNvPr>
          <p:cNvSpPr>
            <a:spLocks noGrp="1"/>
          </p:cNvSpPr>
          <p:nvPr>
            <p:ph type="dt" sz="half" idx="10"/>
          </p:nvPr>
        </p:nvSpPr>
        <p:spPr/>
        <p:txBody>
          <a:bodyPr/>
          <a:lstStyle/>
          <a:p>
            <a:fld id="{F97C6114-4FD8-4CD2-88B3-4E019E90659A}" type="datetimeFigureOut">
              <a:rPr lang="en-IN" smtClean="0"/>
              <a:t>10-12-2022</a:t>
            </a:fld>
            <a:endParaRPr lang="en-IN"/>
          </a:p>
        </p:txBody>
      </p:sp>
      <p:sp>
        <p:nvSpPr>
          <p:cNvPr id="6" name="Footer Placeholder 5">
            <a:extLst>
              <a:ext uri="{FF2B5EF4-FFF2-40B4-BE49-F238E27FC236}">
                <a16:creationId xmlns:a16="http://schemas.microsoft.com/office/drawing/2014/main" id="{CC0EAB61-6BA0-1AD8-1F44-B08B4882F8A8}"/>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D0A8DA17-B3F3-200B-2CA7-7AFDB68D2256}"/>
              </a:ext>
            </a:extLst>
          </p:cNvPr>
          <p:cNvSpPr>
            <a:spLocks noGrp="1"/>
          </p:cNvSpPr>
          <p:nvPr>
            <p:ph type="sldNum" sz="quarter" idx="12"/>
          </p:nvPr>
        </p:nvSpPr>
        <p:spPr/>
        <p:txBody>
          <a:bodyPr/>
          <a:lstStyle/>
          <a:p>
            <a:fld id="{4737B917-BF9E-453A-A89B-4E1DC62DABA1}" type="slidenum">
              <a:rPr lang="en-IN" smtClean="0"/>
              <a:t>‹#›</a:t>
            </a:fld>
            <a:endParaRPr lang="en-IN"/>
          </a:p>
        </p:txBody>
      </p:sp>
    </p:spTree>
    <p:extLst>
      <p:ext uri="{BB962C8B-B14F-4D97-AF65-F5344CB8AC3E}">
        <p14:creationId xmlns:p14="http://schemas.microsoft.com/office/powerpoint/2010/main" val="25095182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9CD1C-128B-D43D-0844-42251A420817}"/>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6A59740-C7DE-371A-189B-537AF7956B6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D01A7B4-15F1-99C2-270F-202DF9E6890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608D919C-A203-E14C-CA21-B9B668471E3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211C287-736C-0AF8-ECF2-0766316049A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A7DB89B8-33F2-7C23-AF89-8BD6745408CC}"/>
              </a:ext>
            </a:extLst>
          </p:cNvPr>
          <p:cNvSpPr>
            <a:spLocks noGrp="1"/>
          </p:cNvSpPr>
          <p:nvPr>
            <p:ph type="dt" sz="half" idx="10"/>
          </p:nvPr>
        </p:nvSpPr>
        <p:spPr/>
        <p:txBody>
          <a:bodyPr/>
          <a:lstStyle/>
          <a:p>
            <a:fld id="{F97C6114-4FD8-4CD2-88B3-4E019E90659A}" type="datetimeFigureOut">
              <a:rPr lang="en-IN" smtClean="0"/>
              <a:t>10-12-2022</a:t>
            </a:fld>
            <a:endParaRPr lang="en-IN"/>
          </a:p>
        </p:txBody>
      </p:sp>
      <p:sp>
        <p:nvSpPr>
          <p:cNvPr id="8" name="Footer Placeholder 7">
            <a:extLst>
              <a:ext uri="{FF2B5EF4-FFF2-40B4-BE49-F238E27FC236}">
                <a16:creationId xmlns:a16="http://schemas.microsoft.com/office/drawing/2014/main" id="{B5712A8B-15F6-0EBD-F486-EC8223397DF4}"/>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FBB3DD32-B366-5936-18E7-601089595A4E}"/>
              </a:ext>
            </a:extLst>
          </p:cNvPr>
          <p:cNvSpPr>
            <a:spLocks noGrp="1"/>
          </p:cNvSpPr>
          <p:nvPr>
            <p:ph type="sldNum" sz="quarter" idx="12"/>
          </p:nvPr>
        </p:nvSpPr>
        <p:spPr/>
        <p:txBody>
          <a:bodyPr/>
          <a:lstStyle/>
          <a:p>
            <a:fld id="{4737B917-BF9E-453A-A89B-4E1DC62DABA1}" type="slidenum">
              <a:rPr lang="en-IN" smtClean="0"/>
              <a:t>‹#›</a:t>
            </a:fld>
            <a:endParaRPr lang="en-IN"/>
          </a:p>
        </p:txBody>
      </p:sp>
    </p:spTree>
    <p:extLst>
      <p:ext uri="{BB962C8B-B14F-4D97-AF65-F5344CB8AC3E}">
        <p14:creationId xmlns:p14="http://schemas.microsoft.com/office/powerpoint/2010/main" val="41030191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2C42F-CC0E-46E2-6506-B4A6BC7CD5BA}"/>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08E9F019-8774-548D-01D8-4389C9B1F0FE}"/>
              </a:ext>
            </a:extLst>
          </p:cNvPr>
          <p:cNvSpPr>
            <a:spLocks noGrp="1"/>
          </p:cNvSpPr>
          <p:nvPr>
            <p:ph type="dt" sz="half" idx="10"/>
          </p:nvPr>
        </p:nvSpPr>
        <p:spPr/>
        <p:txBody>
          <a:bodyPr/>
          <a:lstStyle/>
          <a:p>
            <a:fld id="{F97C6114-4FD8-4CD2-88B3-4E019E90659A}" type="datetimeFigureOut">
              <a:rPr lang="en-IN" smtClean="0"/>
              <a:t>10-12-2022</a:t>
            </a:fld>
            <a:endParaRPr lang="en-IN"/>
          </a:p>
        </p:txBody>
      </p:sp>
      <p:sp>
        <p:nvSpPr>
          <p:cNvPr id="4" name="Footer Placeholder 3">
            <a:extLst>
              <a:ext uri="{FF2B5EF4-FFF2-40B4-BE49-F238E27FC236}">
                <a16:creationId xmlns:a16="http://schemas.microsoft.com/office/drawing/2014/main" id="{B67440E9-F81E-F19E-599C-B584F11DEC4B}"/>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53CC2199-7A56-839E-7470-82F1397736F0}"/>
              </a:ext>
            </a:extLst>
          </p:cNvPr>
          <p:cNvSpPr>
            <a:spLocks noGrp="1"/>
          </p:cNvSpPr>
          <p:nvPr>
            <p:ph type="sldNum" sz="quarter" idx="12"/>
          </p:nvPr>
        </p:nvSpPr>
        <p:spPr/>
        <p:txBody>
          <a:bodyPr/>
          <a:lstStyle/>
          <a:p>
            <a:fld id="{4737B917-BF9E-453A-A89B-4E1DC62DABA1}" type="slidenum">
              <a:rPr lang="en-IN" smtClean="0"/>
              <a:t>‹#›</a:t>
            </a:fld>
            <a:endParaRPr lang="en-IN"/>
          </a:p>
        </p:txBody>
      </p:sp>
    </p:spTree>
    <p:extLst>
      <p:ext uri="{BB962C8B-B14F-4D97-AF65-F5344CB8AC3E}">
        <p14:creationId xmlns:p14="http://schemas.microsoft.com/office/powerpoint/2010/main" val="2098103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7DB0BDE-4D97-F039-5BED-71A0E6B688F5}"/>
              </a:ext>
            </a:extLst>
          </p:cNvPr>
          <p:cNvSpPr>
            <a:spLocks noGrp="1"/>
          </p:cNvSpPr>
          <p:nvPr>
            <p:ph type="dt" sz="half" idx="10"/>
          </p:nvPr>
        </p:nvSpPr>
        <p:spPr/>
        <p:txBody>
          <a:bodyPr/>
          <a:lstStyle/>
          <a:p>
            <a:fld id="{F97C6114-4FD8-4CD2-88B3-4E019E90659A}" type="datetimeFigureOut">
              <a:rPr lang="en-IN" smtClean="0"/>
              <a:t>10-12-2022</a:t>
            </a:fld>
            <a:endParaRPr lang="en-IN"/>
          </a:p>
        </p:txBody>
      </p:sp>
      <p:sp>
        <p:nvSpPr>
          <p:cNvPr id="3" name="Footer Placeholder 2">
            <a:extLst>
              <a:ext uri="{FF2B5EF4-FFF2-40B4-BE49-F238E27FC236}">
                <a16:creationId xmlns:a16="http://schemas.microsoft.com/office/drawing/2014/main" id="{C30445EC-36DB-3F00-A28D-7B745534EFF6}"/>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AD6D24A0-77B2-2C16-BC6C-2B0FD388E83A}"/>
              </a:ext>
            </a:extLst>
          </p:cNvPr>
          <p:cNvSpPr>
            <a:spLocks noGrp="1"/>
          </p:cNvSpPr>
          <p:nvPr>
            <p:ph type="sldNum" sz="quarter" idx="12"/>
          </p:nvPr>
        </p:nvSpPr>
        <p:spPr/>
        <p:txBody>
          <a:bodyPr/>
          <a:lstStyle/>
          <a:p>
            <a:fld id="{4737B917-BF9E-453A-A89B-4E1DC62DABA1}" type="slidenum">
              <a:rPr lang="en-IN" smtClean="0"/>
              <a:t>‹#›</a:t>
            </a:fld>
            <a:endParaRPr lang="en-IN"/>
          </a:p>
        </p:txBody>
      </p:sp>
    </p:spTree>
    <p:extLst>
      <p:ext uri="{BB962C8B-B14F-4D97-AF65-F5344CB8AC3E}">
        <p14:creationId xmlns:p14="http://schemas.microsoft.com/office/powerpoint/2010/main" val="3803206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D038F-187C-3388-0FF3-40BE43506D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CF8237A0-06A5-837B-5253-8B24297601B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7192A91F-AD74-90FD-7759-0D488E015B6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692746-5D87-88A5-D9EE-E03ECDD5FC18}"/>
              </a:ext>
            </a:extLst>
          </p:cNvPr>
          <p:cNvSpPr>
            <a:spLocks noGrp="1"/>
          </p:cNvSpPr>
          <p:nvPr>
            <p:ph type="dt" sz="half" idx="10"/>
          </p:nvPr>
        </p:nvSpPr>
        <p:spPr/>
        <p:txBody>
          <a:bodyPr/>
          <a:lstStyle/>
          <a:p>
            <a:fld id="{F97C6114-4FD8-4CD2-88B3-4E019E90659A}" type="datetimeFigureOut">
              <a:rPr lang="en-IN" smtClean="0"/>
              <a:t>10-12-2022</a:t>
            </a:fld>
            <a:endParaRPr lang="en-IN"/>
          </a:p>
        </p:txBody>
      </p:sp>
      <p:sp>
        <p:nvSpPr>
          <p:cNvPr id="6" name="Footer Placeholder 5">
            <a:extLst>
              <a:ext uri="{FF2B5EF4-FFF2-40B4-BE49-F238E27FC236}">
                <a16:creationId xmlns:a16="http://schemas.microsoft.com/office/drawing/2014/main" id="{64B11083-CAED-DE98-6320-7E3AA74C77A0}"/>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0E273672-7D5D-CB5F-53A7-15318A4A0102}"/>
              </a:ext>
            </a:extLst>
          </p:cNvPr>
          <p:cNvSpPr>
            <a:spLocks noGrp="1"/>
          </p:cNvSpPr>
          <p:nvPr>
            <p:ph type="sldNum" sz="quarter" idx="12"/>
          </p:nvPr>
        </p:nvSpPr>
        <p:spPr/>
        <p:txBody>
          <a:bodyPr/>
          <a:lstStyle/>
          <a:p>
            <a:fld id="{4737B917-BF9E-453A-A89B-4E1DC62DABA1}" type="slidenum">
              <a:rPr lang="en-IN" smtClean="0"/>
              <a:t>‹#›</a:t>
            </a:fld>
            <a:endParaRPr lang="en-IN"/>
          </a:p>
        </p:txBody>
      </p:sp>
    </p:spTree>
    <p:extLst>
      <p:ext uri="{BB962C8B-B14F-4D97-AF65-F5344CB8AC3E}">
        <p14:creationId xmlns:p14="http://schemas.microsoft.com/office/powerpoint/2010/main" val="42615261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A53EA9-6FB6-C6F4-E6F8-0DC2A85B3C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67EC36DC-7332-C6F2-B968-5A9DDD30BE5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AE9AD699-4BEB-D786-76A9-5EED938198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A4FA87D-D006-69DD-9CCD-EB9B4A13CD61}"/>
              </a:ext>
            </a:extLst>
          </p:cNvPr>
          <p:cNvSpPr>
            <a:spLocks noGrp="1"/>
          </p:cNvSpPr>
          <p:nvPr>
            <p:ph type="dt" sz="half" idx="10"/>
          </p:nvPr>
        </p:nvSpPr>
        <p:spPr/>
        <p:txBody>
          <a:bodyPr/>
          <a:lstStyle/>
          <a:p>
            <a:fld id="{F97C6114-4FD8-4CD2-88B3-4E019E90659A}" type="datetimeFigureOut">
              <a:rPr lang="en-IN" smtClean="0"/>
              <a:t>10-12-2022</a:t>
            </a:fld>
            <a:endParaRPr lang="en-IN"/>
          </a:p>
        </p:txBody>
      </p:sp>
      <p:sp>
        <p:nvSpPr>
          <p:cNvPr id="6" name="Footer Placeholder 5">
            <a:extLst>
              <a:ext uri="{FF2B5EF4-FFF2-40B4-BE49-F238E27FC236}">
                <a16:creationId xmlns:a16="http://schemas.microsoft.com/office/drawing/2014/main" id="{297CF2CD-E237-1137-3D14-A4AEFD2D4B4C}"/>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A827A5BC-3EDA-9EA9-CA4A-88C64094E7E2}"/>
              </a:ext>
            </a:extLst>
          </p:cNvPr>
          <p:cNvSpPr>
            <a:spLocks noGrp="1"/>
          </p:cNvSpPr>
          <p:nvPr>
            <p:ph type="sldNum" sz="quarter" idx="12"/>
          </p:nvPr>
        </p:nvSpPr>
        <p:spPr/>
        <p:txBody>
          <a:bodyPr/>
          <a:lstStyle/>
          <a:p>
            <a:fld id="{4737B917-BF9E-453A-A89B-4E1DC62DABA1}" type="slidenum">
              <a:rPr lang="en-IN" smtClean="0"/>
              <a:t>‹#›</a:t>
            </a:fld>
            <a:endParaRPr lang="en-IN"/>
          </a:p>
        </p:txBody>
      </p:sp>
    </p:spTree>
    <p:extLst>
      <p:ext uri="{BB962C8B-B14F-4D97-AF65-F5344CB8AC3E}">
        <p14:creationId xmlns:p14="http://schemas.microsoft.com/office/powerpoint/2010/main" val="26439877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DD4B09A-6A9D-AE8C-272B-C51F34860FD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CEB5A36-78D9-F5F4-C482-36F1132961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DD81EF02-A2EB-9BDB-B73F-263372E165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97C6114-4FD8-4CD2-88B3-4E019E90659A}" type="datetimeFigureOut">
              <a:rPr lang="en-IN" smtClean="0"/>
              <a:t>10-12-2022</a:t>
            </a:fld>
            <a:endParaRPr lang="en-IN"/>
          </a:p>
        </p:txBody>
      </p:sp>
      <p:sp>
        <p:nvSpPr>
          <p:cNvPr id="5" name="Footer Placeholder 4">
            <a:extLst>
              <a:ext uri="{FF2B5EF4-FFF2-40B4-BE49-F238E27FC236}">
                <a16:creationId xmlns:a16="http://schemas.microsoft.com/office/drawing/2014/main" id="{B8371197-253B-840D-84F3-37EC4F94048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BA30415A-7F45-A551-EBF5-0FB87668B95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37B917-BF9E-453A-A89B-4E1DC62DABA1}" type="slidenum">
              <a:rPr lang="en-IN" smtClean="0"/>
              <a:t>‹#›</a:t>
            </a:fld>
            <a:endParaRPr lang="en-IN"/>
          </a:p>
        </p:txBody>
      </p:sp>
    </p:spTree>
    <p:extLst>
      <p:ext uri="{BB962C8B-B14F-4D97-AF65-F5344CB8AC3E}">
        <p14:creationId xmlns:p14="http://schemas.microsoft.com/office/powerpoint/2010/main" val="27777314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 id="2147483663" r:id="rId13"/>
    <p:sldLayoutId id="214748366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2.sv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4.jp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openxmlformats.org/officeDocument/2006/relationships/image" Target="../media/image14.jpg"/><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PNG"/><Relationship Id="rId1" Type="http://schemas.openxmlformats.org/officeDocument/2006/relationships/slideLayout" Target="../slideLayouts/slideLayout7.xml"/><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7.xml"/><Relationship Id="rId5" Type="http://schemas.openxmlformats.org/officeDocument/2006/relationships/image" Target="../media/image35.jpg"/><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28.PNG"/><Relationship Id="rId1" Type="http://schemas.openxmlformats.org/officeDocument/2006/relationships/slideLayout" Target="../slideLayouts/slideLayout7.xml"/><Relationship Id="rId4" Type="http://schemas.openxmlformats.org/officeDocument/2006/relationships/image" Target="../media/image37.jpeg"/></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8.PNG"/><Relationship Id="rId1" Type="http://schemas.openxmlformats.org/officeDocument/2006/relationships/slideLayout" Target="../slideLayouts/slideLayout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mailto:vss@paruluniversity.ac.in" TargetMode="External"/><Relationship Id="rId1" Type="http://schemas.openxmlformats.org/officeDocument/2006/relationships/slideLayout" Target="../slideLayouts/slideLayout7.xml"/><Relationship Id="rId4" Type="http://schemas.openxmlformats.org/officeDocument/2006/relationships/image" Target="../media/image43.sv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5.svg"/></Relationships>
</file>

<file path=ppt/slides/_rels/slide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7BA81AB-2D72-4FAC-8E04-3717BF1A243B}"/>
              </a:ext>
            </a:extLst>
          </p:cNvPr>
          <p:cNvSpPr txBox="1"/>
          <p:nvPr/>
        </p:nvSpPr>
        <p:spPr>
          <a:xfrm>
            <a:off x="437051" y="989962"/>
            <a:ext cx="4674980" cy="3477875"/>
          </a:xfrm>
          <a:prstGeom prst="rect">
            <a:avLst/>
          </a:prstGeom>
          <a:noFill/>
        </p:spPr>
        <p:txBody>
          <a:bodyPr wrap="square" rtlCol="0">
            <a:spAutoFit/>
          </a:bodyPr>
          <a:lstStyle/>
          <a:p>
            <a:r>
              <a:rPr lang="en-US" sz="4400" dirty="0">
                <a:solidFill>
                  <a:srgbClr val="6601CB"/>
                </a:solidFill>
                <a:cs typeface="Segoe UI Semibold" panose="020B0702040204020203" pitchFamily="34" charset="0"/>
              </a:rPr>
              <a:t>Government Policies &amp; Startup Support System For </a:t>
            </a:r>
            <a:r>
              <a:rPr lang="en-IN" sz="4400" b="1" dirty="0">
                <a:solidFill>
                  <a:schemeClr val="accent1">
                    <a:lumMod val="50000"/>
                  </a:schemeClr>
                </a:solidFill>
                <a:cs typeface="Segoe UI Semibold" panose="020B0702040204020203" pitchFamily="34" charset="0"/>
              </a:rPr>
              <a:t>Entrepreneurship Development</a:t>
            </a:r>
            <a:endParaRPr lang="en-US" sz="4400" b="1" dirty="0">
              <a:solidFill>
                <a:schemeClr val="accent1">
                  <a:lumMod val="50000"/>
                </a:schemeClr>
              </a:solidFill>
              <a:cs typeface="Segoe UI Semibold" panose="020B0702040204020203" pitchFamily="34" charset="0"/>
            </a:endParaRPr>
          </a:p>
        </p:txBody>
      </p:sp>
      <p:cxnSp>
        <p:nvCxnSpPr>
          <p:cNvPr id="3" name="Straight Connector 2">
            <a:extLst>
              <a:ext uri="{FF2B5EF4-FFF2-40B4-BE49-F238E27FC236}">
                <a16:creationId xmlns:a16="http://schemas.microsoft.com/office/drawing/2014/main" id="{F30C1482-9342-4A0E-99CA-3D8184D12DB3}"/>
              </a:ext>
            </a:extLst>
          </p:cNvPr>
          <p:cNvCxnSpPr>
            <a:cxnSpLocks/>
          </p:cNvCxnSpPr>
          <p:nvPr/>
        </p:nvCxnSpPr>
        <p:spPr>
          <a:xfrm flipV="1">
            <a:off x="575677" y="4521173"/>
            <a:ext cx="3575574" cy="33205"/>
          </a:xfrm>
          <a:prstGeom prst="line">
            <a:avLst/>
          </a:prstGeom>
          <a:ln>
            <a:solidFill>
              <a:srgbClr val="404040"/>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9297E9E-E7F4-4B51-A9F1-555854814565}"/>
              </a:ext>
            </a:extLst>
          </p:cNvPr>
          <p:cNvSpPr txBox="1"/>
          <p:nvPr/>
        </p:nvSpPr>
        <p:spPr>
          <a:xfrm>
            <a:off x="561717" y="4736590"/>
            <a:ext cx="3807679" cy="369332"/>
          </a:xfrm>
          <a:prstGeom prst="rect">
            <a:avLst/>
          </a:prstGeom>
          <a:noFill/>
        </p:spPr>
        <p:txBody>
          <a:bodyPr wrap="square" lIns="0" tIns="0" rIns="0" bIns="0" rtlCol="0" anchor="t">
            <a:spAutoFit/>
          </a:bodyPr>
          <a:lstStyle/>
          <a:p>
            <a:r>
              <a:rPr lang="en-US" sz="2400" dirty="0">
                <a:solidFill>
                  <a:srgbClr val="404040"/>
                </a:solidFill>
                <a:latin typeface="+mj-lt"/>
              </a:rPr>
              <a:t>For Startup Ventures &amp; SMEs</a:t>
            </a:r>
          </a:p>
        </p:txBody>
      </p:sp>
      <p:sp>
        <p:nvSpPr>
          <p:cNvPr id="5" name="Rectangle: Rounded Corners 4">
            <a:extLst>
              <a:ext uri="{FF2B5EF4-FFF2-40B4-BE49-F238E27FC236}">
                <a16:creationId xmlns:a16="http://schemas.microsoft.com/office/drawing/2014/main" id="{967F6EB3-2630-48A4-8AAA-C8451A6BBADA}"/>
              </a:ext>
            </a:extLst>
          </p:cNvPr>
          <p:cNvSpPr/>
          <p:nvPr/>
        </p:nvSpPr>
        <p:spPr>
          <a:xfrm>
            <a:off x="561717" y="5997548"/>
            <a:ext cx="1734386" cy="520700"/>
          </a:xfrm>
          <a:prstGeom prst="roundRect">
            <a:avLst>
              <a:gd name="adj" fmla="val 50000"/>
            </a:avLst>
          </a:prstGeom>
          <a:solidFill>
            <a:srgbClr val="0070C0"/>
          </a:solidFill>
          <a:ln>
            <a:noFill/>
          </a:ln>
          <a:effectLst>
            <a:outerShdw blurRad="139700" sx="102000" sy="102000" algn="ctr" rotWithShape="0">
              <a:srgbClr val="5CDFFE">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Nikhil Suthar</a:t>
            </a:r>
          </a:p>
        </p:txBody>
      </p:sp>
      <p:sp>
        <p:nvSpPr>
          <p:cNvPr id="6" name="Freeform 5">
            <a:extLst>
              <a:ext uri="{FF2B5EF4-FFF2-40B4-BE49-F238E27FC236}">
                <a16:creationId xmlns:a16="http://schemas.microsoft.com/office/drawing/2014/main" id="{786C8AD5-6FD2-49F7-8A7B-3FB21B5D69E1}"/>
              </a:ext>
            </a:extLst>
          </p:cNvPr>
          <p:cNvSpPr>
            <a:spLocks/>
          </p:cNvSpPr>
          <p:nvPr/>
        </p:nvSpPr>
        <p:spPr bwMode="auto">
          <a:xfrm>
            <a:off x="5810530" y="293736"/>
            <a:ext cx="6037578" cy="5542425"/>
          </a:xfrm>
          <a:custGeom>
            <a:avLst/>
            <a:gdLst>
              <a:gd name="T0" fmla="*/ 679 w 862"/>
              <a:gd name="T1" fmla="*/ 633 h 792"/>
              <a:gd name="T2" fmla="*/ 226 w 862"/>
              <a:gd name="T3" fmla="*/ 725 h 792"/>
              <a:gd name="T4" fmla="*/ 92 w 862"/>
              <a:gd name="T5" fmla="*/ 177 h 792"/>
              <a:gd name="T6" fmla="*/ 702 w 862"/>
              <a:gd name="T7" fmla="*/ 115 h 792"/>
              <a:gd name="T8" fmla="*/ 679 w 862"/>
              <a:gd name="T9" fmla="*/ 633 h 792"/>
            </a:gdLst>
            <a:ahLst/>
            <a:cxnLst>
              <a:cxn ang="0">
                <a:pos x="T0" y="T1"/>
              </a:cxn>
              <a:cxn ang="0">
                <a:pos x="T2" y="T3"/>
              </a:cxn>
              <a:cxn ang="0">
                <a:pos x="T4" y="T5"/>
              </a:cxn>
              <a:cxn ang="0">
                <a:pos x="T6" y="T7"/>
              </a:cxn>
              <a:cxn ang="0">
                <a:pos x="T8" y="T9"/>
              </a:cxn>
            </a:cxnLst>
            <a:rect l="0" t="0" r="r" b="b"/>
            <a:pathLst>
              <a:path w="862" h="792">
                <a:moveTo>
                  <a:pt x="679" y="633"/>
                </a:moveTo>
                <a:cubicBezTo>
                  <a:pt x="611" y="727"/>
                  <a:pt x="413" y="792"/>
                  <a:pt x="226" y="725"/>
                </a:cubicBezTo>
                <a:cubicBezTo>
                  <a:pt x="38" y="659"/>
                  <a:pt x="0" y="290"/>
                  <a:pt x="92" y="177"/>
                </a:cubicBezTo>
                <a:cubicBezTo>
                  <a:pt x="213" y="28"/>
                  <a:pt x="483" y="0"/>
                  <a:pt x="702" y="115"/>
                </a:cubicBezTo>
                <a:cubicBezTo>
                  <a:pt x="860" y="197"/>
                  <a:pt x="862" y="377"/>
                  <a:pt x="679" y="633"/>
                </a:cubicBezTo>
                <a:close/>
              </a:path>
            </a:pathLst>
          </a:custGeom>
          <a:solidFill>
            <a:srgbClr val="01CB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endParaRPr>
          </a:p>
        </p:txBody>
      </p:sp>
      <p:sp>
        <p:nvSpPr>
          <p:cNvPr id="7" name="Freeform 6">
            <a:extLst>
              <a:ext uri="{FF2B5EF4-FFF2-40B4-BE49-F238E27FC236}">
                <a16:creationId xmlns:a16="http://schemas.microsoft.com/office/drawing/2014/main" id="{CEFDC132-BD13-4293-926D-4385DF612605}"/>
              </a:ext>
            </a:extLst>
          </p:cNvPr>
          <p:cNvSpPr>
            <a:spLocks/>
          </p:cNvSpPr>
          <p:nvPr/>
        </p:nvSpPr>
        <p:spPr bwMode="auto">
          <a:xfrm>
            <a:off x="5361590" y="859862"/>
            <a:ext cx="5400480" cy="5053873"/>
          </a:xfrm>
          <a:custGeom>
            <a:avLst/>
            <a:gdLst>
              <a:gd name="T0" fmla="*/ 771 w 771"/>
              <a:gd name="T1" fmla="*/ 435 h 722"/>
              <a:gd name="T2" fmla="*/ 407 w 771"/>
              <a:gd name="T3" fmla="*/ 722 h 722"/>
              <a:gd name="T4" fmla="*/ 0 w 771"/>
              <a:gd name="T5" fmla="*/ 435 h 722"/>
              <a:gd name="T6" fmla="*/ 335 w 771"/>
              <a:gd name="T7" fmla="*/ 0 h 722"/>
              <a:gd name="T8" fmla="*/ 771 w 771"/>
              <a:gd name="T9" fmla="*/ 435 h 722"/>
            </a:gdLst>
            <a:ahLst/>
            <a:cxnLst>
              <a:cxn ang="0">
                <a:pos x="T0" y="T1"/>
              </a:cxn>
              <a:cxn ang="0">
                <a:pos x="T2" y="T3"/>
              </a:cxn>
              <a:cxn ang="0">
                <a:pos x="T4" y="T5"/>
              </a:cxn>
              <a:cxn ang="0">
                <a:pos x="T6" y="T7"/>
              </a:cxn>
              <a:cxn ang="0">
                <a:pos x="T8" y="T9"/>
              </a:cxn>
            </a:cxnLst>
            <a:rect l="0" t="0" r="r" b="b"/>
            <a:pathLst>
              <a:path w="771" h="722">
                <a:moveTo>
                  <a:pt x="771" y="435"/>
                </a:moveTo>
                <a:cubicBezTo>
                  <a:pt x="771" y="623"/>
                  <a:pt x="608" y="722"/>
                  <a:pt x="407" y="722"/>
                </a:cubicBezTo>
                <a:cubicBezTo>
                  <a:pt x="207" y="722"/>
                  <a:pt x="0" y="623"/>
                  <a:pt x="0" y="435"/>
                </a:cubicBezTo>
                <a:cubicBezTo>
                  <a:pt x="0" y="248"/>
                  <a:pt x="134" y="0"/>
                  <a:pt x="335" y="0"/>
                </a:cubicBezTo>
                <a:cubicBezTo>
                  <a:pt x="536" y="0"/>
                  <a:pt x="771" y="248"/>
                  <a:pt x="771" y="435"/>
                </a:cubicBezTo>
                <a:close/>
              </a:path>
            </a:pathLst>
          </a:custGeom>
          <a:solidFill>
            <a:srgbClr val="9934FE"/>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10">
            <a:extLst>
              <a:ext uri="{FF2B5EF4-FFF2-40B4-BE49-F238E27FC236}">
                <a16:creationId xmlns:a16="http://schemas.microsoft.com/office/drawing/2014/main" id="{1F74BE96-8402-4C8E-8574-A04CAF314E0A}"/>
              </a:ext>
            </a:extLst>
          </p:cNvPr>
          <p:cNvSpPr>
            <a:spLocks/>
          </p:cNvSpPr>
          <p:nvPr/>
        </p:nvSpPr>
        <p:spPr bwMode="auto">
          <a:xfrm>
            <a:off x="5779097" y="1971648"/>
            <a:ext cx="4046538" cy="2849563"/>
          </a:xfrm>
          <a:custGeom>
            <a:avLst/>
            <a:gdLst>
              <a:gd name="T0" fmla="*/ 246 w 4823"/>
              <a:gd name="T1" fmla="*/ 3402 h 3402"/>
              <a:gd name="T2" fmla="*/ 4578 w 4823"/>
              <a:gd name="T3" fmla="*/ 3402 h 3402"/>
              <a:gd name="T4" fmla="*/ 4823 w 4823"/>
              <a:gd name="T5" fmla="*/ 3157 h 3402"/>
              <a:gd name="T6" fmla="*/ 4823 w 4823"/>
              <a:gd name="T7" fmla="*/ 245 h 3402"/>
              <a:gd name="T8" fmla="*/ 4578 w 4823"/>
              <a:gd name="T9" fmla="*/ 0 h 3402"/>
              <a:gd name="T10" fmla="*/ 246 w 4823"/>
              <a:gd name="T11" fmla="*/ 0 h 3402"/>
              <a:gd name="T12" fmla="*/ 0 w 4823"/>
              <a:gd name="T13" fmla="*/ 245 h 3402"/>
              <a:gd name="T14" fmla="*/ 0 w 4823"/>
              <a:gd name="T15" fmla="*/ 3157 h 3402"/>
              <a:gd name="T16" fmla="*/ 246 w 4823"/>
              <a:gd name="T17" fmla="*/ 3402 h 3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23" h="3402">
                <a:moveTo>
                  <a:pt x="246" y="3402"/>
                </a:moveTo>
                <a:cubicBezTo>
                  <a:pt x="4578" y="3402"/>
                  <a:pt x="4578" y="3402"/>
                  <a:pt x="4578" y="3402"/>
                </a:cubicBezTo>
                <a:cubicBezTo>
                  <a:pt x="4714" y="3402"/>
                  <a:pt x="4823" y="3293"/>
                  <a:pt x="4823" y="3157"/>
                </a:cubicBezTo>
                <a:cubicBezTo>
                  <a:pt x="4823" y="245"/>
                  <a:pt x="4823" y="245"/>
                  <a:pt x="4823" y="245"/>
                </a:cubicBezTo>
                <a:cubicBezTo>
                  <a:pt x="4823" y="110"/>
                  <a:pt x="4714" y="0"/>
                  <a:pt x="4578" y="0"/>
                </a:cubicBezTo>
                <a:cubicBezTo>
                  <a:pt x="246" y="0"/>
                  <a:pt x="246" y="0"/>
                  <a:pt x="246" y="0"/>
                </a:cubicBezTo>
                <a:cubicBezTo>
                  <a:pt x="110" y="0"/>
                  <a:pt x="0" y="110"/>
                  <a:pt x="0" y="245"/>
                </a:cubicBezTo>
                <a:cubicBezTo>
                  <a:pt x="0" y="3157"/>
                  <a:pt x="0" y="3157"/>
                  <a:pt x="0" y="3157"/>
                </a:cubicBezTo>
                <a:cubicBezTo>
                  <a:pt x="0" y="3293"/>
                  <a:pt x="110" y="3402"/>
                  <a:pt x="246" y="3402"/>
                </a:cubicBezTo>
                <a:close/>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11">
            <a:extLst>
              <a:ext uri="{FF2B5EF4-FFF2-40B4-BE49-F238E27FC236}">
                <a16:creationId xmlns:a16="http://schemas.microsoft.com/office/drawing/2014/main" id="{9DFF4CA0-1B28-401D-A940-5055A4ADBE9B}"/>
              </a:ext>
            </a:extLst>
          </p:cNvPr>
          <p:cNvSpPr>
            <a:spLocks noChangeArrowheads="1"/>
          </p:cNvSpPr>
          <p:nvPr/>
        </p:nvSpPr>
        <p:spPr bwMode="auto">
          <a:xfrm>
            <a:off x="5937847" y="1668435"/>
            <a:ext cx="3729038" cy="27066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12">
            <a:extLst>
              <a:ext uri="{FF2B5EF4-FFF2-40B4-BE49-F238E27FC236}">
                <a16:creationId xmlns:a16="http://schemas.microsoft.com/office/drawing/2014/main" id="{36982AB0-5764-4CA8-B504-6DA994B4FC2A}"/>
              </a:ext>
            </a:extLst>
          </p:cNvPr>
          <p:cNvSpPr>
            <a:spLocks noChangeArrowheads="1"/>
          </p:cNvSpPr>
          <p:nvPr/>
        </p:nvSpPr>
        <p:spPr bwMode="auto">
          <a:xfrm>
            <a:off x="5937847" y="1668435"/>
            <a:ext cx="3729038" cy="513088"/>
          </a:xfrm>
          <a:prstGeom prst="rect">
            <a:avLst/>
          </a:prstGeom>
          <a:solidFill>
            <a:srgbClr val="4040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Oval 13">
            <a:extLst>
              <a:ext uri="{FF2B5EF4-FFF2-40B4-BE49-F238E27FC236}">
                <a16:creationId xmlns:a16="http://schemas.microsoft.com/office/drawing/2014/main" id="{97FA0683-D3D3-40CF-897C-6F4F0EAFFB10}"/>
              </a:ext>
            </a:extLst>
          </p:cNvPr>
          <p:cNvSpPr>
            <a:spLocks noChangeArrowheads="1"/>
          </p:cNvSpPr>
          <p:nvPr/>
        </p:nvSpPr>
        <p:spPr bwMode="auto">
          <a:xfrm>
            <a:off x="9212859" y="4448148"/>
            <a:ext cx="306388" cy="261938"/>
          </a:xfrm>
          <a:prstGeom prst="ellipse">
            <a:avLst/>
          </a:pr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4">
            <a:extLst>
              <a:ext uri="{FF2B5EF4-FFF2-40B4-BE49-F238E27FC236}">
                <a16:creationId xmlns:a16="http://schemas.microsoft.com/office/drawing/2014/main" id="{35DEA715-13B8-422F-8CF8-9A01A954D140}"/>
              </a:ext>
            </a:extLst>
          </p:cNvPr>
          <p:cNvSpPr>
            <a:spLocks/>
          </p:cNvSpPr>
          <p:nvPr/>
        </p:nvSpPr>
        <p:spPr bwMode="auto">
          <a:xfrm>
            <a:off x="6095009" y="1863067"/>
            <a:ext cx="530225" cy="123825"/>
          </a:xfrm>
          <a:custGeom>
            <a:avLst/>
            <a:gdLst>
              <a:gd name="T0" fmla="*/ 581 w 634"/>
              <a:gd name="T1" fmla="*/ 148 h 148"/>
              <a:gd name="T2" fmla="*/ 53 w 634"/>
              <a:gd name="T3" fmla="*/ 148 h 148"/>
              <a:gd name="T4" fmla="*/ 0 w 634"/>
              <a:gd name="T5" fmla="*/ 95 h 148"/>
              <a:gd name="T6" fmla="*/ 0 w 634"/>
              <a:gd name="T7" fmla="*/ 53 h 148"/>
              <a:gd name="T8" fmla="*/ 53 w 634"/>
              <a:gd name="T9" fmla="*/ 0 h 148"/>
              <a:gd name="T10" fmla="*/ 581 w 634"/>
              <a:gd name="T11" fmla="*/ 0 h 148"/>
              <a:gd name="T12" fmla="*/ 634 w 634"/>
              <a:gd name="T13" fmla="*/ 53 h 148"/>
              <a:gd name="T14" fmla="*/ 634 w 634"/>
              <a:gd name="T15" fmla="*/ 95 h 148"/>
              <a:gd name="T16" fmla="*/ 581 w 634"/>
              <a:gd name="T17"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4" h="148">
                <a:moveTo>
                  <a:pt x="581" y="148"/>
                </a:moveTo>
                <a:cubicBezTo>
                  <a:pt x="53" y="148"/>
                  <a:pt x="53" y="148"/>
                  <a:pt x="53" y="148"/>
                </a:cubicBezTo>
                <a:cubicBezTo>
                  <a:pt x="24" y="148"/>
                  <a:pt x="0" y="124"/>
                  <a:pt x="0" y="95"/>
                </a:cubicBezTo>
                <a:cubicBezTo>
                  <a:pt x="0" y="53"/>
                  <a:pt x="0" y="53"/>
                  <a:pt x="0" y="53"/>
                </a:cubicBezTo>
                <a:cubicBezTo>
                  <a:pt x="0" y="24"/>
                  <a:pt x="24" y="0"/>
                  <a:pt x="53" y="0"/>
                </a:cubicBezTo>
                <a:cubicBezTo>
                  <a:pt x="581" y="0"/>
                  <a:pt x="581" y="0"/>
                  <a:pt x="581" y="0"/>
                </a:cubicBezTo>
                <a:cubicBezTo>
                  <a:pt x="610" y="0"/>
                  <a:pt x="634" y="24"/>
                  <a:pt x="634" y="53"/>
                </a:cubicBezTo>
                <a:cubicBezTo>
                  <a:pt x="634" y="95"/>
                  <a:pt x="634" y="95"/>
                  <a:pt x="634" y="95"/>
                </a:cubicBezTo>
                <a:cubicBezTo>
                  <a:pt x="634" y="124"/>
                  <a:pt x="610" y="148"/>
                  <a:pt x="581" y="148"/>
                </a:cubicBezTo>
                <a:close/>
              </a:path>
            </a:pathLst>
          </a:custGeom>
          <a:solidFill>
            <a:srgbClr val="01CBFC"/>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Rectangle 15">
            <a:extLst>
              <a:ext uri="{FF2B5EF4-FFF2-40B4-BE49-F238E27FC236}">
                <a16:creationId xmlns:a16="http://schemas.microsoft.com/office/drawing/2014/main" id="{491C4E0B-AFE6-464B-9774-6A164F228590}"/>
              </a:ext>
            </a:extLst>
          </p:cNvPr>
          <p:cNvSpPr>
            <a:spLocks noChangeArrowheads="1"/>
          </p:cNvSpPr>
          <p:nvPr/>
        </p:nvSpPr>
        <p:spPr bwMode="auto">
          <a:xfrm>
            <a:off x="6210897" y="3133698"/>
            <a:ext cx="2847975" cy="66675"/>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6">
            <a:extLst>
              <a:ext uri="{FF2B5EF4-FFF2-40B4-BE49-F238E27FC236}">
                <a16:creationId xmlns:a16="http://schemas.microsoft.com/office/drawing/2014/main" id="{547463B6-32F2-4A56-AE4D-C31480DF0A05}"/>
              </a:ext>
            </a:extLst>
          </p:cNvPr>
          <p:cNvSpPr>
            <a:spLocks noChangeArrowheads="1"/>
          </p:cNvSpPr>
          <p:nvPr/>
        </p:nvSpPr>
        <p:spPr bwMode="auto">
          <a:xfrm>
            <a:off x="6210897" y="3254348"/>
            <a:ext cx="1447800" cy="66675"/>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7">
            <a:extLst>
              <a:ext uri="{FF2B5EF4-FFF2-40B4-BE49-F238E27FC236}">
                <a16:creationId xmlns:a16="http://schemas.microsoft.com/office/drawing/2014/main" id="{FE317378-AA85-4E5A-9B9E-33DC28518305}"/>
              </a:ext>
            </a:extLst>
          </p:cNvPr>
          <p:cNvSpPr>
            <a:spLocks noChangeArrowheads="1"/>
          </p:cNvSpPr>
          <p:nvPr/>
        </p:nvSpPr>
        <p:spPr bwMode="auto">
          <a:xfrm>
            <a:off x="6210896" y="3516285"/>
            <a:ext cx="2641599" cy="6826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8">
            <a:extLst>
              <a:ext uri="{FF2B5EF4-FFF2-40B4-BE49-F238E27FC236}">
                <a16:creationId xmlns:a16="http://schemas.microsoft.com/office/drawing/2014/main" id="{C8AB78A3-330F-4B9E-B983-F024B83D180D}"/>
              </a:ext>
            </a:extLst>
          </p:cNvPr>
          <p:cNvSpPr>
            <a:spLocks noChangeArrowheads="1"/>
          </p:cNvSpPr>
          <p:nvPr/>
        </p:nvSpPr>
        <p:spPr bwMode="auto">
          <a:xfrm>
            <a:off x="6210897" y="3636935"/>
            <a:ext cx="1649413" cy="66675"/>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9">
            <a:extLst>
              <a:ext uri="{FF2B5EF4-FFF2-40B4-BE49-F238E27FC236}">
                <a16:creationId xmlns:a16="http://schemas.microsoft.com/office/drawing/2014/main" id="{2435F62E-4701-428B-B42A-3717C65997F8}"/>
              </a:ext>
            </a:extLst>
          </p:cNvPr>
          <p:cNvSpPr>
            <a:spLocks noChangeArrowheads="1"/>
          </p:cNvSpPr>
          <p:nvPr/>
        </p:nvSpPr>
        <p:spPr bwMode="auto">
          <a:xfrm>
            <a:off x="6210897" y="3925860"/>
            <a:ext cx="1546225" cy="66675"/>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20">
            <a:extLst>
              <a:ext uri="{FF2B5EF4-FFF2-40B4-BE49-F238E27FC236}">
                <a16:creationId xmlns:a16="http://schemas.microsoft.com/office/drawing/2014/main" id="{4FB16B4A-113B-4756-8347-755840A680FB}"/>
              </a:ext>
            </a:extLst>
          </p:cNvPr>
          <p:cNvSpPr>
            <a:spLocks noChangeArrowheads="1"/>
          </p:cNvSpPr>
          <p:nvPr/>
        </p:nvSpPr>
        <p:spPr bwMode="auto">
          <a:xfrm>
            <a:off x="6210897" y="4046510"/>
            <a:ext cx="1887538" cy="66675"/>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21">
            <a:extLst>
              <a:ext uri="{FF2B5EF4-FFF2-40B4-BE49-F238E27FC236}">
                <a16:creationId xmlns:a16="http://schemas.microsoft.com/office/drawing/2014/main" id="{1FA1D0A6-E654-4B5E-A1FA-8A2DB69A31DE}"/>
              </a:ext>
            </a:extLst>
          </p:cNvPr>
          <p:cNvSpPr>
            <a:spLocks noChangeArrowheads="1"/>
          </p:cNvSpPr>
          <p:nvPr/>
        </p:nvSpPr>
        <p:spPr bwMode="auto">
          <a:xfrm>
            <a:off x="6115647" y="3133698"/>
            <a:ext cx="49213" cy="187325"/>
          </a:xfrm>
          <a:prstGeom prst="rect">
            <a:avLst/>
          </a:prstGeom>
          <a:solidFill>
            <a:srgbClr val="01CBFC"/>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Rectangle 22">
            <a:extLst>
              <a:ext uri="{FF2B5EF4-FFF2-40B4-BE49-F238E27FC236}">
                <a16:creationId xmlns:a16="http://schemas.microsoft.com/office/drawing/2014/main" id="{20478633-C4F6-4521-9A3E-B6E94C48415E}"/>
              </a:ext>
            </a:extLst>
          </p:cNvPr>
          <p:cNvSpPr>
            <a:spLocks noChangeArrowheads="1"/>
          </p:cNvSpPr>
          <p:nvPr/>
        </p:nvSpPr>
        <p:spPr bwMode="auto">
          <a:xfrm>
            <a:off x="6115647" y="3516285"/>
            <a:ext cx="49213" cy="187325"/>
          </a:xfrm>
          <a:prstGeom prst="rect">
            <a:avLst/>
          </a:prstGeom>
          <a:solidFill>
            <a:srgbClr val="01CBFC"/>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Rectangle 23">
            <a:extLst>
              <a:ext uri="{FF2B5EF4-FFF2-40B4-BE49-F238E27FC236}">
                <a16:creationId xmlns:a16="http://schemas.microsoft.com/office/drawing/2014/main" id="{8CB11588-1537-4EB3-A230-5E4A5D5297FF}"/>
              </a:ext>
            </a:extLst>
          </p:cNvPr>
          <p:cNvSpPr>
            <a:spLocks noChangeArrowheads="1"/>
          </p:cNvSpPr>
          <p:nvPr/>
        </p:nvSpPr>
        <p:spPr bwMode="auto">
          <a:xfrm>
            <a:off x="6115647" y="3925860"/>
            <a:ext cx="49213" cy="187325"/>
          </a:xfrm>
          <a:prstGeom prst="rect">
            <a:avLst/>
          </a:prstGeom>
          <a:solidFill>
            <a:srgbClr val="01CBFC"/>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33">
            <a:extLst>
              <a:ext uri="{FF2B5EF4-FFF2-40B4-BE49-F238E27FC236}">
                <a16:creationId xmlns:a16="http://schemas.microsoft.com/office/drawing/2014/main" id="{D342DF83-4A96-4D3F-9F6E-A364FC0A5035}"/>
              </a:ext>
            </a:extLst>
          </p:cNvPr>
          <p:cNvSpPr>
            <a:spLocks/>
          </p:cNvSpPr>
          <p:nvPr/>
        </p:nvSpPr>
        <p:spPr bwMode="auto">
          <a:xfrm>
            <a:off x="7415809" y="4819623"/>
            <a:ext cx="133350" cy="206375"/>
          </a:xfrm>
          <a:custGeom>
            <a:avLst/>
            <a:gdLst>
              <a:gd name="T0" fmla="*/ 110 w 158"/>
              <a:gd name="T1" fmla="*/ 13 h 246"/>
              <a:gd name="T2" fmla="*/ 123 w 158"/>
              <a:gd name="T3" fmla="*/ 48 h 246"/>
              <a:gd name="T4" fmla="*/ 139 w 158"/>
              <a:gd name="T5" fmla="*/ 89 h 246"/>
              <a:gd name="T6" fmla="*/ 158 w 158"/>
              <a:gd name="T7" fmla="*/ 157 h 246"/>
              <a:gd name="T8" fmla="*/ 149 w 158"/>
              <a:gd name="T9" fmla="*/ 203 h 246"/>
              <a:gd name="T10" fmla="*/ 147 w 158"/>
              <a:gd name="T11" fmla="*/ 233 h 246"/>
              <a:gd name="T12" fmla="*/ 128 w 158"/>
              <a:gd name="T13" fmla="*/ 219 h 246"/>
              <a:gd name="T14" fmla="*/ 122 w 158"/>
              <a:gd name="T15" fmla="*/ 231 h 246"/>
              <a:gd name="T16" fmla="*/ 99 w 158"/>
              <a:gd name="T17" fmla="*/ 232 h 246"/>
              <a:gd name="T18" fmla="*/ 87 w 158"/>
              <a:gd name="T19" fmla="*/ 243 h 246"/>
              <a:gd name="T20" fmla="*/ 65 w 158"/>
              <a:gd name="T21" fmla="*/ 240 h 246"/>
              <a:gd name="T22" fmla="*/ 48 w 158"/>
              <a:gd name="T23" fmla="*/ 246 h 246"/>
              <a:gd name="T24" fmla="*/ 30 w 158"/>
              <a:gd name="T25" fmla="*/ 234 h 246"/>
              <a:gd name="T26" fmla="*/ 8 w 158"/>
              <a:gd name="T27" fmla="*/ 230 h 246"/>
              <a:gd name="T28" fmla="*/ 2 w 158"/>
              <a:gd name="T29" fmla="*/ 207 h 246"/>
              <a:gd name="T30" fmla="*/ 23 w 158"/>
              <a:gd name="T31" fmla="*/ 90 h 246"/>
              <a:gd name="T32" fmla="*/ 18 w 158"/>
              <a:gd name="T33" fmla="*/ 0 h 246"/>
              <a:gd name="T34" fmla="*/ 110 w 158"/>
              <a:gd name="T35" fmla="*/ 1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8" h="246">
                <a:moveTo>
                  <a:pt x="110" y="13"/>
                </a:moveTo>
                <a:cubicBezTo>
                  <a:pt x="110" y="13"/>
                  <a:pt x="121" y="32"/>
                  <a:pt x="123" y="48"/>
                </a:cubicBezTo>
                <a:cubicBezTo>
                  <a:pt x="124" y="60"/>
                  <a:pt x="134" y="79"/>
                  <a:pt x="139" y="89"/>
                </a:cubicBezTo>
                <a:cubicBezTo>
                  <a:pt x="143" y="99"/>
                  <a:pt x="158" y="145"/>
                  <a:pt x="158" y="157"/>
                </a:cubicBezTo>
                <a:cubicBezTo>
                  <a:pt x="158" y="162"/>
                  <a:pt x="147" y="193"/>
                  <a:pt x="149" y="203"/>
                </a:cubicBezTo>
                <a:cubicBezTo>
                  <a:pt x="150" y="212"/>
                  <a:pt x="156" y="232"/>
                  <a:pt x="147" y="233"/>
                </a:cubicBezTo>
                <a:cubicBezTo>
                  <a:pt x="138" y="235"/>
                  <a:pt x="128" y="219"/>
                  <a:pt x="128" y="219"/>
                </a:cubicBezTo>
                <a:cubicBezTo>
                  <a:pt x="128" y="219"/>
                  <a:pt x="129" y="228"/>
                  <a:pt x="122" y="231"/>
                </a:cubicBezTo>
                <a:cubicBezTo>
                  <a:pt x="107" y="238"/>
                  <a:pt x="99" y="232"/>
                  <a:pt x="99" y="232"/>
                </a:cubicBezTo>
                <a:cubicBezTo>
                  <a:pt x="99" y="232"/>
                  <a:pt x="94" y="242"/>
                  <a:pt x="87" y="243"/>
                </a:cubicBezTo>
                <a:cubicBezTo>
                  <a:pt x="72" y="246"/>
                  <a:pt x="65" y="240"/>
                  <a:pt x="65" y="240"/>
                </a:cubicBezTo>
                <a:cubicBezTo>
                  <a:pt x="65" y="240"/>
                  <a:pt x="59" y="246"/>
                  <a:pt x="48" y="246"/>
                </a:cubicBezTo>
                <a:cubicBezTo>
                  <a:pt x="35" y="245"/>
                  <a:pt x="30" y="234"/>
                  <a:pt x="30" y="234"/>
                </a:cubicBezTo>
                <a:cubicBezTo>
                  <a:pt x="30" y="234"/>
                  <a:pt x="13" y="237"/>
                  <a:pt x="8" y="230"/>
                </a:cubicBezTo>
                <a:cubicBezTo>
                  <a:pt x="3" y="222"/>
                  <a:pt x="4" y="214"/>
                  <a:pt x="2" y="207"/>
                </a:cubicBezTo>
                <a:cubicBezTo>
                  <a:pt x="0" y="199"/>
                  <a:pt x="2" y="136"/>
                  <a:pt x="23" y="90"/>
                </a:cubicBezTo>
                <a:cubicBezTo>
                  <a:pt x="45" y="44"/>
                  <a:pt x="18" y="0"/>
                  <a:pt x="18" y="0"/>
                </a:cubicBezTo>
                <a:lnTo>
                  <a:pt x="110" y="13"/>
                </a:ln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4">
            <a:extLst>
              <a:ext uri="{FF2B5EF4-FFF2-40B4-BE49-F238E27FC236}">
                <a16:creationId xmlns:a16="http://schemas.microsoft.com/office/drawing/2014/main" id="{1B2C4912-A349-449E-AA0E-93371D180C71}"/>
              </a:ext>
            </a:extLst>
          </p:cNvPr>
          <p:cNvSpPr>
            <a:spLocks/>
          </p:cNvSpPr>
          <p:nvPr/>
        </p:nvSpPr>
        <p:spPr bwMode="auto">
          <a:xfrm>
            <a:off x="7407872" y="4925985"/>
            <a:ext cx="119063" cy="107950"/>
          </a:xfrm>
          <a:custGeom>
            <a:avLst/>
            <a:gdLst>
              <a:gd name="T0" fmla="*/ 140 w 141"/>
              <a:gd name="T1" fmla="*/ 87 h 130"/>
              <a:gd name="T2" fmla="*/ 126 w 141"/>
              <a:gd name="T3" fmla="*/ 17 h 130"/>
              <a:gd name="T4" fmla="*/ 109 w 141"/>
              <a:gd name="T5" fmla="*/ 26 h 130"/>
              <a:gd name="T6" fmla="*/ 95 w 141"/>
              <a:gd name="T7" fmla="*/ 3 h 130"/>
              <a:gd name="T8" fmla="*/ 78 w 141"/>
              <a:gd name="T9" fmla="*/ 24 h 130"/>
              <a:gd name="T10" fmla="*/ 58 w 141"/>
              <a:gd name="T11" fmla="*/ 12 h 130"/>
              <a:gd name="T12" fmla="*/ 45 w 141"/>
              <a:gd name="T13" fmla="*/ 35 h 130"/>
              <a:gd name="T14" fmla="*/ 18 w 141"/>
              <a:gd name="T15" fmla="*/ 34 h 130"/>
              <a:gd name="T16" fmla="*/ 17 w 141"/>
              <a:gd name="T17" fmla="*/ 104 h 130"/>
              <a:gd name="T18" fmla="*/ 39 w 141"/>
              <a:gd name="T19" fmla="*/ 108 h 130"/>
              <a:gd name="T20" fmla="*/ 74 w 141"/>
              <a:gd name="T21" fmla="*/ 114 h 130"/>
              <a:gd name="T22" fmla="*/ 108 w 141"/>
              <a:gd name="T23" fmla="*/ 106 h 130"/>
              <a:gd name="T24" fmla="*/ 140 w 141"/>
              <a:gd name="T25" fmla="*/ 8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30">
                <a:moveTo>
                  <a:pt x="140" y="87"/>
                </a:moveTo>
                <a:cubicBezTo>
                  <a:pt x="140" y="87"/>
                  <a:pt x="141" y="29"/>
                  <a:pt x="126" y="17"/>
                </a:cubicBezTo>
                <a:cubicBezTo>
                  <a:pt x="111" y="5"/>
                  <a:pt x="109" y="26"/>
                  <a:pt x="109" y="26"/>
                </a:cubicBezTo>
                <a:cubicBezTo>
                  <a:pt x="109" y="26"/>
                  <a:pt x="111" y="5"/>
                  <a:pt x="95" y="3"/>
                </a:cubicBezTo>
                <a:cubicBezTo>
                  <a:pt x="79" y="0"/>
                  <a:pt x="78" y="24"/>
                  <a:pt x="78" y="24"/>
                </a:cubicBezTo>
                <a:cubicBezTo>
                  <a:pt x="78" y="24"/>
                  <a:pt x="75" y="8"/>
                  <a:pt x="58" y="12"/>
                </a:cubicBezTo>
                <a:cubicBezTo>
                  <a:pt x="41" y="15"/>
                  <a:pt x="45" y="35"/>
                  <a:pt x="45" y="35"/>
                </a:cubicBezTo>
                <a:cubicBezTo>
                  <a:pt x="45" y="35"/>
                  <a:pt x="28" y="15"/>
                  <a:pt x="18" y="34"/>
                </a:cubicBezTo>
                <a:cubicBezTo>
                  <a:pt x="0" y="66"/>
                  <a:pt x="17" y="104"/>
                  <a:pt x="17" y="104"/>
                </a:cubicBezTo>
                <a:cubicBezTo>
                  <a:pt x="17" y="104"/>
                  <a:pt x="22" y="112"/>
                  <a:pt x="39" y="108"/>
                </a:cubicBezTo>
                <a:cubicBezTo>
                  <a:pt x="39" y="108"/>
                  <a:pt x="50" y="130"/>
                  <a:pt x="74" y="114"/>
                </a:cubicBezTo>
                <a:cubicBezTo>
                  <a:pt x="74" y="114"/>
                  <a:pt x="99" y="128"/>
                  <a:pt x="108" y="106"/>
                </a:cubicBezTo>
                <a:cubicBezTo>
                  <a:pt x="108" y="106"/>
                  <a:pt x="136" y="119"/>
                  <a:pt x="140" y="87"/>
                </a:cubicBezTo>
                <a:close/>
              </a:path>
            </a:pathLst>
          </a:custGeom>
          <a:solidFill>
            <a:srgbClr val="DB9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5">
            <a:extLst>
              <a:ext uri="{FF2B5EF4-FFF2-40B4-BE49-F238E27FC236}">
                <a16:creationId xmlns:a16="http://schemas.microsoft.com/office/drawing/2014/main" id="{060A03CA-419A-4D59-8B9C-0CF276353D8C}"/>
              </a:ext>
            </a:extLst>
          </p:cNvPr>
          <p:cNvSpPr>
            <a:spLocks/>
          </p:cNvSpPr>
          <p:nvPr/>
        </p:nvSpPr>
        <p:spPr bwMode="auto">
          <a:xfrm>
            <a:off x="7418984" y="4024285"/>
            <a:ext cx="274638" cy="865188"/>
          </a:xfrm>
          <a:custGeom>
            <a:avLst/>
            <a:gdLst>
              <a:gd name="T0" fmla="*/ 299 w 327"/>
              <a:gd name="T1" fmla="*/ 141 h 1033"/>
              <a:gd name="T2" fmla="*/ 169 w 327"/>
              <a:gd name="T3" fmla="*/ 587 h 1033"/>
              <a:gd name="T4" fmla="*/ 129 w 327"/>
              <a:gd name="T5" fmla="*/ 999 h 1033"/>
              <a:gd name="T6" fmla="*/ 0 w 327"/>
              <a:gd name="T7" fmla="*/ 1033 h 1033"/>
              <a:gd name="T8" fmla="*/ 17 w 327"/>
              <a:gd name="T9" fmla="*/ 559 h 1033"/>
              <a:gd name="T10" fmla="*/ 193 w 327"/>
              <a:gd name="T11" fmla="*/ 13 h 1033"/>
              <a:gd name="T12" fmla="*/ 275 w 327"/>
              <a:gd name="T13" fmla="*/ 39 h 1033"/>
              <a:gd name="T14" fmla="*/ 299 w 327"/>
              <a:gd name="T15" fmla="*/ 141 h 10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7" h="1033">
                <a:moveTo>
                  <a:pt x="299" y="141"/>
                </a:moveTo>
                <a:cubicBezTo>
                  <a:pt x="299" y="141"/>
                  <a:pt x="202" y="467"/>
                  <a:pt x="169" y="587"/>
                </a:cubicBezTo>
                <a:cubicBezTo>
                  <a:pt x="158" y="625"/>
                  <a:pt x="133" y="984"/>
                  <a:pt x="129" y="999"/>
                </a:cubicBezTo>
                <a:cubicBezTo>
                  <a:pt x="124" y="1013"/>
                  <a:pt x="0" y="1033"/>
                  <a:pt x="0" y="1033"/>
                </a:cubicBezTo>
                <a:cubicBezTo>
                  <a:pt x="0" y="1033"/>
                  <a:pt x="15" y="583"/>
                  <a:pt x="17" y="559"/>
                </a:cubicBezTo>
                <a:cubicBezTo>
                  <a:pt x="18" y="534"/>
                  <a:pt x="153" y="31"/>
                  <a:pt x="193" y="13"/>
                </a:cubicBezTo>
                <a:cubicBezTo>
                  <a:pt x="222" y="0"/>
                  <a:pt x="238" y="11"/>
                  <a:pt x="275" y="39"/>
                </a:cubicBezTo>
                <a:cubicBezTo>
                  <a:pt x="327" y="77"/>
                  <a:pt x="299" y="141"/>
                  <a:pt x="299" y="141"/>
                </a:cubicBezTo>
                <a:close/>
              </a:path>
            </a:pathLst>
          </a:custGeom>
          <a:solidFill>
            <a:srgbClr val="6601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6">
            <a:extLst>
              <a:ext uri="{FF2B5EF4-FFF2-40B4-BE49-F238E27FC236}">
                <a16:creationId xmlns:a16="http://schemas.microsoft.com/office/drawing/2014/main" id="{512E7552-F04B-47CE-BFE4-927D2D890689}"/>
              </a:ext>
            </a:extLst>
          </p:cNvPr>
          <p:cNvSpPr>
            <a:spLocks/>
          </p:cNvSpPr>
          <p:nvPr/>
        </p:nvSpPr>
        <p:spPr bwMode="auto">
          <a:xfrm>
            <a:off x="8469909" y="3638523"/>
            <a:ext cx="196850" cy="136525"/>
          </a:xfrm>
          <a:custGeom>
            <a:avLst/>
            <a:gdLst>
              <a:gd name="T0" fmla="*/ 6 w 124"/>
              <a:gd name="T1" fmla="*/ 86 h 86"/>
              <a:gd name="T2" fmla="*/ 0 w 124"/>
              <a:gd name="T3" fmla="*/ 77 h 86"/>
              <a:gd name="T4" fmla="*/ 118 w 124"/>
              <a:gd name="T5" fmla="*/ 0 h 86"/>
              <a:gd name="T6" fmla="*/ 124 w 124"/>
              <a:gd name="T7" fmla="*/ 8 h 86"/>
              <a:gd name="T8" fmla="*/ 6 w 124"/>
              <a:gd name="T9" fmla="*/ 86 h 86"/>
            </a:gdLst>
            <a:ahLst/>
            <a:cxnLst>
              <a:cxn ang="0">
                <a:pos x="T0" y="T1"/>
              </a:cxn>
              <a:cxn ang="0">
                <a:pos x="T2" y="T3"/>
              </a:cxn>
              <a:cxn ang="0">
                <a:pos x="T4" y="T5"/>
              </a:cxn>
              <a:cxn ang="0">
                <a:pos x="T6" y="T7"/>
              </a:cxn>
              <a:cxn ang="0">
                <a:pos x="T8" y="T9"/>
              </a:cxn>
            </a:cxnLst>
            <a:rect l="0" t="0" r="r" b="b"/>
            <a:pathLst>
              <a:path w="124" h="86">
                <a:moveTo>
                  <a:pt x="6" y="86"/>
                </a:moveTo>
                <a:lnTo>
                  <a:pt x="0" y="77"/>
                </a:lnTo>
                <a:lnTo>
                  <a:pt x="118" y="0"/>
                </a:lnTo>
                <a:lnTo>
                  <a:pt x="124" y="8"/>
                </a:lnTo>
                <a:lnTo>
                  <a:pt x="6" y="86"/>
                </a:lnTo>
                <a:close/>
              </a:path>
            </a:pathLst>
          </a:custGeom>
          <a:solidFill>
            <a:srgbClr val="3C4145"/>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37">
            <a:extLst>
              <a:ext uri="{FF2B5EF4-FFF2-40B4-BE49-F238E27FC236}">
                <a16:creationId xmlns:a16="http://schemas.microsoft.com/office/drawing/2014/main" id="{830F2657-300D-4E55-8612-DCD495311514}"/>
              </a:ext>
            </a:extLst>
          </p:cNvPr>
          <p:cNvSpPr>
            <a:spLocks/>
          </p:cNvSpPr>
          <p:nvPr/>
        </p:nvSpPr>
        <p:spPr bwMode="auto">
          <a:xfrm>
            <a:off x="8547697" y="3649635"/>
            <a:ext cx="138113" cy="152400"/>
          </a:xfrm>
          <a:custGeom>
            <a:avLst/>
            <a:gdLst>
              <a:gd name="T0" fmla="*/ 164 w 164"/>
              <a:gd name="T1" fmla="*/ 70 h 182"/>
              <a:gd name="T2" fmla="*/ 159 w 164"/>
              <a:gd name="T3" fmla="*/ 87 h 182"/>
              <a:gd name="T4" fmla="*/ 147 w 164"/>
              <a:gd name="T5" fmla="*/ 103 h 182"/>
              <a:gd name="T6" fmla="*/ 143 w 164"/>
              <a:gd name="T7" fmla="*/ 108 h 182"/>
              <a:gd name="T8" fmla="*/ 125 w 164"/>
              <a:gd name="T9" fmla="*/ 137 h 182"/>
              <a:gd name="T10" fmla="*/ 72 w 164"/>
              <a:gd name="T11" fmla="*/ 182 h 182"/>
              <a:gd name="T12" fmla="*/ 37 w 164"/>
              <a:gd name="T13" fmla="*/ 152 h 182"/>
              <a:gd name="T14" fmla="*/ 0 w 164"/>
              <a:gd name="T15" fmla="*/ 135 h 182"/>
              <a:gd name="T16" fmla="*/ 29 w 164"/>
              <a:gd name="T17" fmla="*/ 34 h 182"/>
              <a:gd name="T18" fmla="*/ 32 w 164"/>
              <a:gd name="T19" fmla="*/ 31 h 182"/>
              <a:gd name="T20" fmla="*/ 55 w 164"/>
              <a:gd name="T21" fmla="*/ 15 h 182"/>
              <a:gd name="T22" fmla="*/ 83 w 164"/>
              <a:gd name="T23" fmla="*/ 2 h 182"/>
              <a:gd name="T24" fmla="*/ 100 w 164"/>
              <a:gd name="T25" fmla="*/ 16 h 182"/>
              <a:gd name="T26" fmla="*/ 125 w 164"/>
              <a:gd name="T27" fmla="*/ 32 h 182"/>
              <a:gd name="T28" fmla="*/ 147 w 164"/>
              <a:gd name="T29" fmla="*/ 52 h 182"/>
              <a:gd name="T30" fmla="*/ 164 w 164"/>
              <a:gd name="T31" fmla="*/ 7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4" h="182">
                <a:moveTo>
                  <a:pt x="164" y="70"/>
                </a:moveTo>
                <a:cubicBezTo>
                  <a:pt x="164" y="70"/>
                  <a:pt x="162" y="82"/>
                  <a:pt x="159" y="87"/>
                </a:cubicBezTo>
                <a:cubicBezTo>
                  <a:pt x="159" y="87"/>
                  <a:pt x="151" y="96"/>
                  <a:pt x="147" y="103"/>
                </a:cubicBezTo>
                <a:cubicBezTo>
                  <a:pt x="145" y="105"/>
                  <a:pt x="144" y="107"/>
                  <a:pt x="143" y="108"/>
                </a:cubicBezTo>
                <a:cubicBezTo>
                  <a:pt x="140" y="113"/>
                  <a:pt x="135" y="126"/>
                  <a:pt x="125" y="137"/>
                </a:cubicBezTo>
                <a:cubicBezTo>
                  <a:pt x="114" y="147"/>
                  <a:pt x="72" y="182"/>
                  <a:pt x="72" y="182"/>
                </a:cubicBezTo>
                <a:cubicBezTo>
                  <a:pt x="37" y="152"/>
                  <a:pt x="37" y="152"/>
                  <a:pt x="37" y="152"/>
                </a:cubicBezTo>
                <a:cubicBezTo>
                  <a:pt x="0" y="135"/>
                  <a:pt x="0" y="135"/>
                  <a:pt x="0" y="135"/>
                </a:cubicBezTo>
                <a:cubicBezTo>
                  <a:pt x="0" y="135"/>
                  <a:pt x="21" y="45"/>
                  <a:pt x="29" y="34"/>
                </a:cubicBezTo>
                <a:cubicBezTo>
                  <a:pt x="30" y="33"/>
                  <a:pt x="31" y="32"/>
                  <a:pt x="32" y="31"/>
                </a:cubicBezTo>
                <a:cubicBezTo>
                  <a:pt x="40" y="22"/>
                  <a:pt x="50" y="19"/>
                  <a:pt x="55" y="15"/>
                </a:cubicBezTo>
                <a:cubicBezTo>
                  <a:pt x="57" y="14"/>
                  <a:pt x="76" y="0"/>
                  <a:pt x="83" y="2"/>
                </a:cubicBezTo>
                <a:cubicBezTo>
                  <a:pt x="92" y="4"/>
                  <a:pt x="98" y="10"/>
                  <a:pt x="100" y="16"/>
                </a:cubicBezTo>
                <a:cubicBezTo>
                  <a:pt x="100" y="16"/>
                  <a:pt x="118" y="21"/>
                  <a:pt x="125" y="32"/>
                </a:cubicBezTo>
                <a:cubicBezTo>
                  <a:pt x="125" y="32"/>
                  <a:pt x="142" y="37"/>
                  <a:pt x="147" y="52"/>
                </a:cubicBezTo>
                <a:cubicBezTo>
                  <a:pt x="147" y="52"/>
                  <a:pt x="164" y="59"/>
                  <a:pt x="164" y="70"/>
                </a:cubicBezTo>
                <a:close/>
              </a:path>
            </a:pathLst>
          </a:custGeom>
          <a:solidFill>
            <a:srgbClr val="EFAA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8">
            <a:extLst>
              <a:ext uri="{FF2B5EF4-FFF2-40B4-BE49-F238E27FC236}">
                <a16:creationId xmlns:a16="http://schemas.microsoft.com/office/drawing/2014/main" id="{93D28AA1-C303-426A-94E0-817EF61F8931}"/>
              </a:ext>
            </a:extLst>
          </p:cNvPr>
          <p:cNvSpPr>
            <a:spLocks/>
          </p:cNvSpPr>
          <p:nvPr/>
        </p:nvSpPr>
        <p:spPr bwMode="auto">
          <a:xfrm>
            <a:off x="7506297" y="5997548"/>
            <a:ext cx="98425" cy="74613"/>
          </a:xfrm>
          <a:custGeom>
            <a:avLst/>
            <a:gdLst>
              <a:gd name="T0" fmla="*/ 117 w 117"/>
              <a:gd name="T1" fmla="*/ 9 h 89"/>
              <a:gd name="T2" fmla="*/ 107 w 117"/>
              <a:gd name="T3" fmla="*/ 80 h 89"/>
              <a:gd name="T4" fmla="*/ 8 w 117"/>
              <a:gd name="T5" fmla="*/ 74 h 89"/>
              <a:gd name="T6" fmla="*/ 0 w 117"/>
              <a:gd name="T7" fmla="*/ 1 h 89"/>
              <a:gd name="T8" fmla="*/ 117 w 117"/>
              <a:gd name="T9" fmla="*/ 9 h 89"/>
            </a:gdLst>
            <a:ahLst/>
            <a:cxnLst>
              <a:cxn ang="0">
                <a:pos x="T0" y="T1"/>
              </a:cxn>
              <a:cxn ang="0">
                <a:pos x="T2" y="T3"/>
              </a:cxn>
              <a:cxn ang="0">
                <a:pos x="T4" y="T5"/>
              </a:cxn>
              <a:cxn ang="0">
                <a:pos x="T6" y="T7"/>
              </a:cxn>
              <a:cxn ang="0">
                <a:pos x="T8" y="T9"/>
              </a:cxn>
            </a:cxnLst>
            <a:rect l="0" t="0" r="r" b="b"/>
            <a:pathLst>
              <a:path w="117" h="89">
                <a:moveTo>
                  <a:pt x="117" y="9"/>
                </a:moveTo>
                <a:cubicBezTo>
                  <a:pt x="117" y="9"/>
                  <a:pt x="108" y="70"/>
                  <a:pt x="107" y="80"/>
                </a:cubicBezTo>
                <a:cubicBezTo>
                  <a:pt x="106" y="89"/>
                  <a:pt x="8" y="74"/>
                  <a:pt x="8" y="74"/>
                </a:cubicBezTo>
                <a:cubicBezTo>
                  <a:pt x="0" y="1"/>
                  <a:pt x="0" y="1"/>
                  <a:pt x="0" y="1"/>
                </a:cubicBezTo>
                <a:cubicBezTo>
                  <a:pt x="0" y="1"/>
                  <a:pt x="105" y="0"/>
                  <a:pt x="117" y="9"/>
                </a:cubicBezTo>
                <a:close/>
              </a:path>
            </a:pathLst>
          </a:custGeom>
          <a:solidFill>
            <a:srgbClr val="4247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9">
            <a:extLst>
              <a:ext uri="{FF2B5EF4-FFF2-40B4-BE49-F238E27FC236}">
                <a16:creationId xmlns:a16="http://schemas.microsoft.com/office/drawing/2014/main" id="{EF3DE0B6-582B-472F-B2BD-7C1D9D922F2F}"/>
              </a:ext>
            </a:extLst>
          </p:cNvPr>
          <p:cNvSpPr>
            <a:spLocks/>
          </p:cNvSpPr>
          <p:nvPr/>
        </p:nvSpPr>
        <p:spPr bwMode="auto">
          <a:xfrm>
            <a:off x="7484072" y="6054698"/>
            <a:ext cx="282575" cy="139700"/>
          </a:xfrm>
          <a:custGeom>
            <a:avLst/>
            <a:gdLst>
              <a:gd name="T0" fmla="*/ 134 w 337"/>
              <a:gd name="T1" fmla="*/ 4 h 168"/>
              <a:gd name="T2" fmla="*/ 195 w 337"/>
              <a:gd name="T3" fmla="*/ 57 h 168"/>
              <a:gd name="T4" fmla="*/ 290 w 337"/>
              <a:gd name="T5" fmla="*/ 97 h 168"/>
              <a:gd name="T6" fmla="*/ 212 w 337"/>
              <a:gd name="T7" fmla="*/ 160 h 168"/>
              <a:gd name="T8" fmla="*/ 14 w 337"/>
              <a:gd name="T9" fmla="*/ 147 h 168"/>
              <a:gd name="T10" fmla="*/ 33 w 337"/>
              <a:gd name="T11" fmla="*/ 0 h 168"/>
              <a:gd name="T12" fmla="*/ 134 w 337"/>
              <a:gd name="T13" fmla="*/ 4 h 168"/>
            </a:gdLst>
            <a:ahLst/>
            <a:cxnLst>
              <a:cxn ang="0">
                <a:pos x="T0" y="T1"/>
              </a:cxn>
              <a:cxn ang="0">
                <a:pos x="T2" y="T3"/>
              </a:cxn>
              <a:cxn ang="0">
                <a:pos x="T4" y="T5"/>
              </a:cxn>
              <a:cxn ang="0">
                <a:pos x="T6" y="T7"/>
              </a:cxn>
              <a:cxn ang="0">
                <a:pos x="T8" y="T9"/>
              </a:cxn>
              <a:cxn ang="0">
                <a:pos x="T10" y="T11"/>
              </a:cxn>
              <a:cxn ang="0">
                <a:pos x="T12" y="T13"/>
              </a:cxn>
            </a:cxnLst>
            <a:rect l="0" t="0" r="r" b="b"/>
            <a:pathLst>
              <a:path w="337" h="168">
                <a:moveTo>
                  <a:pt x="134" y="4"/>
                </a:moveTo>
                <a:cubicBezTo>
                  <a:pt x="134" y="4"/>
                  <a:pt x="165" y="41"/>
                  <a:pt x="195" y="57"/>
                </a:cubicBezTo>
                <a:cubicBezTo>
                  <a:pt x="225" y="74"/>
                  <a:pt x="272" y="80"/>
                  <a:pt x="290" y="97"/>
                </a:cubicBezTo>
                <a:cubicBezTo>
                  <a:pt x="303" y="109"/>
                  <a:pt x="337" y="161"/>
                  <a:pt x="212" y="160"/>
                </a:cubicBezTo>
                <a:cubicBezTo>
                  <a:pt x="87" y="159"/>
                  <a:pt x="27" y="168"/>
                  <a:pt x="14" y="147"/>
                </a:cubicBezTo>
                <a:cubicBezTo>
                  <a:pt x="0" y="127"/>
                  <a:pt x="33" y="0"/>
                  <a:pt x="33" y="0"/>
                </a:cubicBezTo>
                <a:cubicBezTo>
                  <a:pt x="33" y="0"/>
                  <a:pt x="63" y="10"/>
                  <a:pt x="134" y="4"/>
                </a:cubicBezTo>
                <a:close/>
              </a:path>
            </a:pathLst>
          </a:custGeom>
          <a:solidFill>
            <a:srgbClr val="3C41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40">
            <a:extLst>
              <a:ext uri="{FF2B5EF4-FFF2-40B4-BE49-F238E27FC236}">
                <a16:creationId xmlns:a16="http://schemas.microsoft.com/office/drawing/2014/main" id="{5F0A70DA-AD19-49A8-8F36-B7D4AE89A090}"/>
              </a:ext>
            </a:extLst>
          </p:cNvPr>
          <p:cNvSpPr>
            <a:spLocks/>
          </p:cNvSpPr>
          <p:nvPr/>
        </p:nvSpPr>
        <p:spPr bwMode="auto">
          <a:xfrm>
            <a:off x="8095259" y="5997548"/>
            <a:ext cx="96838" cy="74613"/>
          </a:xfrm>
          <a:custGeom>
            <a:avLst/>
            <a:gdLst>
              <a:gd name="T0" fmla="*/ 117 w 117"/>
              <a:gd name="T1" fmla="*/ 9 h 89"/>
              <a:gd name="T2" fmla="*/ 107 w 117"/>
              <a:gd name="T3" fmla="*/ 80 h 89"/>
              <a:gd name="T4" fmla="*/ 8 w 117"/>
              <a:gd name="T5" fmla="*/ 74 h 89"/>
              <a:gd name="T6" fmla="*/ 0 w 117"/>
              <a:gd name="T7" fmla="*/ 1 h 89"/>
              <a:gd name="T8" fmla="*/ 117 w 117"/>
              <a:gd name="T9" fmla="*/ 9 h 89"/>
            </a:gdLst>
            <a:ahLst/>
            <a:cxnLst>
              <a:cxn ang="0">
                <a:pos x="T0" y="T1"/>
              </a:cxn>
              <a:cxn ang="0">
                <a:pos x="T2" y="T3"/>
              </a:cxn>
              <a:cxn ang="0">
                <a:pos x="T4" y="T5"/>
              </a:cxn>
              <a:cxn ang="0">
                <a:pos x="T6" y="T7"/>
              </a:cxn>
              <a:cxn ang="0">
                <a:pos x="T8" y="T9"/>
              </a:cxn>
            </a:cxnLst>
            <a:rect l="0" t="0" r="r" b="b"/>
            <a:pathLst>
              <a:path w="117" h="89">
                <a:moveTo>
                  <a:pt x="117" y="9"/>
                </a:moveTo>
                <a:cubicBezTo>
                  <a:pt x="117" y="9"/>
                  <a:pt x="108" y="70"/>
                  <a:pt x="107" y="80"/>
                </a:cubicBezTo>
                <a:cubicBezTo>
                  <a:pt x="106" y="89"/>
                  <a:pt x="8" y="74"/>
                  <a:pt x="8" y="74"/>
                </a:cubicBezTo>
                <a:cubicBezTo>
                  <a:pt x="0" y="1"/>
                  <a:pt x="0" y="1"/>
                  <a:pt x="0" y="1"/>
                </a:cubicBezTo>
                <a:cubicBezTo>
                  <a:pt x="0" y="1"/>
                  <a:pt x="105" y="0"/>
                  <a:pt x="117" y="9"/>
                </a:cubicBezTo>
                <a:close/>
              </a:path>
            </a:pathLst>
          </a:custGeom>
          <a:solidFill>
            <a:srgbClr val="4247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1">
            <a:extLst>
              <a:ext uri="{FF2B5EF4-FFF2-40B4-BE49-F238E27FC236}">
                <a16:creationId xmlns:a16="http://schemas.microsoft.com/office/drawing/2014/main" id="{09AEB96B-7C5A-4B97-98B8-C1912333DA3B}"/>
              </a:ext>
            </a:extLst>
          </p:cNvPr>
          <p:cNvSpPr>
            <a:spLocks/>
          </p:cNvSpPr>
          <p:nvPr/>
        </p:nvSpPr>
        <p:spPr bwMode="auto">
          <a:xfrm>
            <a:off x="8073034" y="6054698"/>
            <a:ext cx="323850" cy="139700"/>
          </a:xfrm>
          <a:custGeom>
            <a:avLst/>
            <a:gdLst>
              <a:gd name="T0" fmla="*/ 134 w 387"/>
              <a:gd name="T1" fmla="*/ 4 h 168"/>
              <a:gd name="T2" fmla="*/ 195 w 387"/>
              <a:gd name="T3" fmla="*/ 57 h 168"/>
              <a:gd name="T4" fmla="*/ 353 w 387"/>
              <a:gd name="T5" fmla="*/ 104 h 168"/>
              <a:gd name="T6" fmla="*/ 212 w 387"/>
              <a:gd name="T7" fmla="*/ 160 h 168"/>
              <a:gd name="T8" fmla="*/ 14 w 387"/>
              <a:gd name="T9" fmla="*/ 147 h 168"/>
              <a:gd name="T10" fmla="*/ 33 w 387"/>
              <a:gd name="T11" fmla="*/ 0 h 168"/>
              <a:gd name="T12" fmla="*/ 134 w 387"/>
              <a:gd name="T13" fmla="*/ 4 h 168"/>
            </a:gdLst>
            <a:ahLst/>
            <a:cxnLst>
              <a:cxn ang="0">
                <a:pos x="T0" y="T1"/>
              </a:cxn>
              <a:cxn ang="0">
                <a:pos x="T2" y="T3"/>
              </a:cxn>
              <a:cxn ang="0">
                <a:pos x="T4" y="T5"/>
              </a:cxn>
              <a:cxn ang="0">
                <a:pos x="T6" y="T7"/>
              </a:cxn>
              <a:cxn ang="0">
                <a:pos x="T8" y="T9"/>
              </a:cxn>
              <a:cxn ang="0">
                <a:pos x="T10" y="T11"/>
              </a:cxn>
              <a:cxn ang="0">
                <a:pos x="T12" y="T13"/>
              </a:cxn>
            </a:cxnLst>
            <a:rect l="0" t="0" r="r" b="b"/>
            <a:pathLst>
              <a:path w="387" h="168">
                <a:moveTo>
                  <a:pt x="134" y="4"/>
                </a:moveTo>
                <a:cubicBezTo>
                  <a:pt x="134" y="4"/>
                  <a:pt x="165" y="41"/>
                  <a:pt x="195" y="57"/>
                </a:cubicBezTo>
                <a:cubicBezTo>
                  <a:pt x="225" y="74"/>
                  <a:pt x="335" y="87"/>
                  <a:pt x="353" y="104"/>
                </a:cubicBezTo>
                <a:cubicBezTo>
                  <a:pt x="366" y="116"/>
                  <a:pt x="387" y="165"/>
                  <a:pt x="212" y="160"/>
                </a:cubicBezTo>
                <a:cubicBezTo>
                  <a:pt x="87" y="157"/>
                  <a:pt x="27" y="168"/>
                  <a:pt x="14" y="147"/>
                </a:cubicBezTo>
                <a:cubicBezTo>
                  <a:pt x="0" y="127"/>
                  <a:pt x="33" y="0"/>
                  <a:pt x="33" y="0"/>
                </a:cubicBezTo>
                <a:cubicBezTo>
                  <a:pt x="33" y="0"/>
                  <a:pt x="61" y="11"/>
                  <a:pt x="134" y="4"/>
                </a:cubicBezTo>
                <a:close/>
              </a:path>
            </a:pathLst>
          </a:custGeom>
          <a:solidFill>
            <a:srgbClr val="3C41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2">
            <a:extLst>
              <a:ext uri="{FF2B5EF4-FFF2-40B4-BE49-F238E27FC236}">
                <a16:creationId xmlns:a16="http://schemas.microsoft.com/office/drawing/2014/main" id="{7F9EDF57-6BC0-4F15-B1A2-9E1619C01B8B}"/>
              </a:ext>
            </a:extLst>
          </p:cNvPr>
          <p:cNvSpPr>
            <a:spLocks/>
          </p:cNvSpPr>
          <p:nvPr/>
        </p:nvSpPr>
        <p:spPr bwMode="auto">
          <a:xfrm>
            <a:off x="7492009" y="4673573"/>
            <a:ext cx="371475" cy="1376363"/>
          </a:xfrm>
          <a:custGeom>
            <a:avLst/>
            <a:gdLst>
              <a:gd name="T0" fmla="*/ 215 w 444"/>
              <a:gd name="T1" fmla="*/ 0 h 1642"/>
              <a:gd name="T2" fmla="*/ 130 w 444"/>
              <a:gd name="T3" fmla="*/ 279 h 1642"/>
              <a:gd name="T4" fmla="*/ 83 w 444"/>
              <a:gd name="T5" fmla="*/ 693 h 1642"/>
              <a:gd name="T6" fmla="*/ 2 w 444"/>
              <a:gd name="T7" fmla="*/ 1294 h 1642"/>
              <a:gd name="T8" fmla="*/ 12 w 444"/>
              <a:gd name="T9" fmla="*/ 1639 h 1642"/>
              <a:gd name="T10" fmla="*/ 138 w 444"/>
              <a:gd name="T11" fmla="*/ 1642 h 1642"/>
              <a:gd name="T12" fmla="*/ 272 w 444"/>
              <a:gd name="T13" fmla="*/ 940 h 1642"/>
              <a:gd name="T14" fmla="*/ 440 w 444"/>
              <a:gd name="T15" fmla="*/ 359 h 1642"/>
              <a:gd name="T16" fmla="*/ 215 w 444"/>
              <a:gd name="T17" fmla="*/ 0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4" h="1642">
                <a:moveTo>
                  <a:pt x="215" y="0"/>
                </a:moveTo>
                <a:cubicBezTo>
                  <a:pt x="215" y="0"/>
                  <a:pt x="123" y="146"/>
                  <a:pt x="130" y="279"/>
                </a:cubicBezTo>
                <a:cubicBezTo>
                  <a:pt x="137" y="411"/>
                  <a:pt x="97" y="555"/>
                  <a:pt x="83" y="693"/>
                </a:cubicBezTo>
                <a:cubicBezTo>
                  <a:pt x="67" y="847"/>
                  <a:pt x="4" y="1212"/>
                  <a:pt x="2" y="1294"/>
                </a:cubicBezTo>
                <a:cubicBezTo>
                  <a:pt x="0" y="1376"/>
                  <a:pt x="12" y="1639"/>
                  <a:pt x="12" y="1639"/>
                </a:cubicBezTo>
                <a:cubicBezTo>
                  <a:pt x="138" y="1642"/>
                  <a:pt x="138" y="1642"/>
                  <a:pt x="138" y="1642"/>
                </a:cubicBezTo>
                <a:cubicBezTo>
                  <a:pt x="138" y="1642"/>
                  <a:pt x="244" y="1005"/>
                  <a:pt x="272" y="940"/>
                </a:cubicBezTo>
                <a:cubicBezTo>
                  <a:pt x="299" y="875"/>
                  <a:pt x="435" y="411"/>
                  <a:pt x="440" y="359"/>
                </a:cubicBezTo>
                <a:cubicBezTo>
                  <a:pt x="444" y="307"/>
                  <a:pt x="215" y="0"/>
                  <a:pt x="215" y="0"/>
                </a:cubicBezTo>
                <a:close/>
              </a:path>
            </a:pathLst>
          </a:custGeom>
          <a:solidFill>
            <a:srgbClr val="262626"/>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43">
            <a:extLst>
              <a:ext uri="{FF2B5EF4-FFF2-40B4-BE49-F238E27FC236}">
                <a16:creationId xmlns:a16="http://schemas.microsoft.com/office/drawing/2014/main" id="{972C122F-0A13-49DB-8FF6-BE832BC792CB}"/>
              </a:ext>
            </a:extLst>
          </p:cNvPr>
          <p:cNvSpPr>
            <a:spLocks/>
          </p:cNvSpPr>
          <p:nvPr/>
        </p:nvSpPr>
        <p:spPr bwMode="auto">
          <a:xfrm>
            <a:off x="7633297" y="4622773"/>
            <a:ext cx="573088" cy="1427163"/>
          </a:xfrm>
          <a:custGeom>
            <a:avLst/>
            <a:gdLst>
              <a:gd name="T0" fmla="*/ 531 w 684"/>
              <a:gd name="T1" fmla="*/ 82 h 1704"/>
              <a:gd name="T2" fmla="*/ 609 w 684"/>
              <a:gd name="T3" fmla="*/ 525 h 1704"/>
              <a:gd name="T4" fmla="*/ 629 w 684"/>
              <a:gd name="T5" fmla="*/ 967 h 1704"/>
              <a:gd name="T6" fmla="*/ 684 w 684"/>
              <a:gd name="T7" fmla="*/ 1704 h 1704"/>
              <a:gd name="T8" fmla="*/ 523 w 684"/>
              <a:gd name="T9" fmla="*/ 1704 h 1704"/>
              <a:gd name="T10" fmla="*/ 399 w 684"/>
              <a:gd name="T11" fmla="*/ 1050 h 1704"/>
              <a:gd name="T12" fmla="*/ 241 w 684"/>
              <a:gd name="T13" fmla="*/ 454 h 1704"/>
              <a:gd name="T14" fmla="*/ 0 w 684"/>
              <a:gd name="T15" fmla="*/ 55 h 1704"/>
              <a:gd name="T16" fmla="*/ 531 w 684"/>
              <a:gd name="T17" fmla="*/ 82 h 1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4" h="1704">
                <a:moveTo>
                  <a:pt x="531" y="82"/>
                </a:moveTo>
                <a:cubicBezTo>
                  <a:pt x="531" y="82"/>
                  <a:pt x="600" y="444"/>
                  <a:pt x="609" y="525"/>
                </a:cubicBezTo>
                <a:cubicBezTo>
                  <a:pt x="618" y="606"/>
                  <a:pt x="624" y="917"/>
                  <a:pt x="629" y="967"/>
                </a:cubicBezTo>
                <a:cubicBezTo>
                  <a:pt x="634" y="1018"/>
                  <a:pt x="672" y="1628"/>
                  <a:pt x="684" y="1704"/>
                </a:cubicBezTo>
                <a:cubicBezTo>
                  <a:pt x="523" y="1704"/>
                  <a:pt x="523" y="1704"/>
                  <a:pt x="523" y="1704"/>
                </a:cubicBezTo>
                <a:cubicBezTo>
                  <a:pt x="523" y="1704"/>
                  <a:pt x="399" y="1260"/>
                  <a:pt x="399" y="1050"/>
                </a:cubicBezTo>
                <a:cubicBezTo>
                  <a:pt x="399" y="839"/>
                  <a:pt x="303" y="593"/>
                  <a:pt x="241" y="454"/>
                </a:cubicBezTo>
                <a:cubicBezTo>
                  <a:pt x="179" y="315"/>
                  <a:pt x="38" y="312"/>
                  <a:pt x="0" y="55"/>
                </a:cubicBezTo>
                <a:cubicBezTo>
                  <a:pt x="0" y="55"/>
                  <a:pt x="479" y="0"/>
                  <a:pt x="531" y="82"/>
                </a:cubicBezTo>
                <a:close/>
              </a:path>
            </a:pathLst>
          </a:custGeom>
          <a:solidFill>
            <a:srgbClr val="262626"/>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44">
            <a:extLst>
              <a:ext uri="{FF2B5EF4-FFF2-40B4-BE49-F238E27FC236}">
                <a16:creationId xmlns:a16="http://schemas.microsoft.com/office/drawing/2014/main" id="{F0BCB742-F4A0-42D5-8AB5-E167E976B1F8}"/>
              </a:ext>
            </a:extLst>
          </p:cNvPr>
          <p:cNvSpPr>
            <a:spLocks/>
          </p:cNvSpPr>
          <p:nvPr/>
        </p:nvSpPr>
        <p:spPr bwMode="auto">
          <a:xfrm>
            <a:off x="7734897" y="3605185"/>
            <a:ext cx="265113" cy="354013"/>
          </a:xfrm>
          <a:custGeom>
            <a:avLst/>
            <a:gdLst>
              <a:gd name="T0" fmla="*/ 79 w 316"/>
              <a:gd name="T1" fmla="*/ 46 h 423"/>
              <a:gd name="T2" fmla="*/ 259 w 316"/>
              <a:gd name="T3" fmla="*/ 94 h 423"/>
              <a:gd name="T4" fmla="*/ 248 w 316"/>
              <a:gd name="T5" fmla="*/ 400 h 423"/>
              <a:gd name="T6" fmla="*/ 61 w 316"/>
              <a:gd name="T7" fmla="*/ 352 h 423"/>
              <a:gd name="T8" fmla="*/ 1 w 316"/>
              <a:gd name="T9" fmla="*/ 151 h 423"/>
              <a:gd name="T10" fmla="*/ 79 w 316"/>
              <a:gd name="T11" fmla="*/ 46 h 423"/>
            </a:gdLst>
            <a:ahLst/>
            <a:cxnLst>
              <a:cxn ang="0">
                <a:pos x="T0" y="T1"/>
              </a:cxn>
              <a:cxn ang="0">
                <a:pos x="T2" y="T3"/>
              </a:cxn>
              <a:cxn ang="0">
                <a:pos x="T4" y="T5"/>
              </a:cxn>
              <a:cxn ang="0">
                <a:pos x="T6" y="T7"/>
              </a:cxn>
              <a:cxn ang="0">
                <a:pos x="T8" y="T9"/>
              </a:cxn>
              <a:cxn ang="0">
                <a:pos x="T10" y="T11"/>
              </a:cxn>
            </a:cxnLst>
            <a:rect l="0" t="0" r="r" b="b"/>
            <a:pathLst>
              <a:path w="316" h="423">
                <a:moveTo>
                  <a:pt x="79" y="46"/>
                </a:moveTo>
                <a:cubicBezTo>
                  <a:pt x="79" y="46"/>
                  <a:pt x="202" y="0"/>
                  <a:pt x="259" y="94"/>
                </a:cubicBezTo>
                <a:cubicBezTo>
                  <a:pt x="316" y="188"/>
                  <a:pt x="311" y="377"/>
                  <a:pt x="248" y="400"/>
                </a:cubicBezTo>
                <a:cubicBezTo>
                  <a:pt x="186" y="423"/>
                  <a:pt x="93" y="411"/>
                  <a:pt x="61" y="352"/>
                </a:cubicBezTo>
                <a:cubicBezTo>
                  <a:pt x="29" y="293"/>
                  <a:pt x="0" y="208"/>
                  <a:pt x="1" y="151"/>
                </a:cubicBezTo>
                <a:cubicBezTo>
                  <a:pt x="3" y="94"/>
                  <a:pt x="46" y="63"/>
                  <a:pt x="79" y="46"/>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45">
            <a:extLst>
              <a:ext uri="{FF2B5EF4-FFF2-40B4-BE49-F238E27FC236}">
                <a16:creationId xmlns:a16="http://schemas.microsoft.com/office/drawing/2014/main" id="{4AE00DF8-BE15-4D61-B6D3-97AFC14F765C}"/>
              </a:ext>
            </a:extLst>
          </p:cNvPr>
          <p:cNvSpPr>
            <a:spLocks/>
          </p:cNvSpPr>
          <p:nvPr/>
        </p:nvSpPr>
        <p:spPr bwMode="auto">
          <a:xfrm>
            <a:off x="7746009" y="3798860"/>
            <a:ext cx="195263" cy="201613"/>
          </a:xfrm>
          <a:custGeom>
            <a:avLst/>
            <a:gdLst>
              <a:gd name="T0" fmla="*/ 222 w 234"/>
              <a:gd name="T1" fmla="*/ 174 h 241"/>
              <a:gd name="T2" fmla="*/ 225 w 234"/>
              <a:gd name="T3" fmla="*/ 224 h 241"/>
              <a:gd name="T4" fmla="*/ 65 w 234"/>
              <a:gd name="T5" fmla="*/ 241 h 241"/>
              <a:gd name="T6" fmla="*/ 26 w 234"/>
              <a:gd name="T7" fmla="*/ 76 h 241"/>
              <a:gd name="T8" fmla="*/ 222 w 234"/>
              <a:gd name="T9" fmla="*/ 174 h 241"/>
            </a:gdLst>
            <a:ahLst/>
            <a:cxnLst>
              <a:cxn ang="0">
                <a:pos x="T0" y="T1"/>
              </a:cxn>
              <a:cxn ang="0">
                <a:pos x="T2" y="T3"/>
              </a:cxn>
              <a:cxn ang="0">
                <a:pos x="T4" y="T5"/>
              </a:cxn>
              <a:cxn ang="0">
                <a:pos x="T6" y="T7"/>
              </a:cxn>
              <a:cxn ang="0">
                <a:pos x="T8" y="T9"/>
              </a:cxn>
            </a:cxnLst>
            <a:rect l="0" t="0" r="r" b="b"/>
            <a:pathLst>
              <a:path w="234" h="241">
                <a:moveTo>
                  <a:pt x="222" y="174"/>
                </a:moveTo>
                <a:cubicBezTo>
                  <a:pt x="222" y="174"/>
                  <a:pt x="217" y="208"/>
                  <a:pt x="225" y="224"/>
                </a:cubicBezTo>
                <a:cubicBezTo>
                  <a:pt x="234" y="240"/>
                  <a:pt x="65" y="241"/>
                  <a:pt x="65" y="241"/>
                </a:cubicBezTo>
                <a:cubicBezTo>
                  <a:pt x="65" y="241"/>
                  <a:pt x="52" y="151"/>
                  <a:pt x="26" y="76"/>
                </a:cubicBezTo>
                <a:cubicBezTo>
                  <a:pt x="0" y="0"/>
                  <a:pt x="222" y="174"/>
                  <a:pt x="222" y="174"/>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46">
            <a:extLst>
              <a:ext uri="{FF2B5EF4-FFF2-40B4-BE49-F238E27FC236}">
                <a16:creationId xmlns:a16="http://schemas.microsoft.com/office/drawing/2014/main" id="{D2205D12-D3CF-4716-A8AC-9C4D2932EB29}"/>
              </a:ext>
            </a:extLst>
          </p:cNvPr>
          <p:cNvSpPr>
            <a:spLocks/>
          </p:cNvSpPr>
          <p:nvPr/>
        </p:nvSpPr>
        <p:spPr bwMode="auto">
          <a:xfrm>
            <a:off x="7723784" y="3587723"/>
            <a:ext cx="274638" cy="290513"/>
          </a:xfrm>
          <a:custGeom>
            <a:avLst/>
            <a:gdLst>
              <a:gd name="T0" fmla="*/ 52 w 328"/>
              <a:gd name="T1" fmla="*/ 328 h 347"/>
              <a:gd name="T2" fmla="*/ 111 w 328"/>
              <a:gd name="T3" fmla="*/ 340 h 347"/>
              <a:gd name="T4" fmla="*/ 236 w 328"/>
              <a:gd name="T5" fmla="*/ 262 h 347"/>
              <a:gd name="T6" fmla="*/ 256 w 328"/>
              <a:gd name="T7" fmla="*/ 243 h 347"/>
              <a:gd name="T8" fmla="*/ 268 w 328"/>
              <a:gd name="T9" fmla="*/ 262 h 347"/>
              <a:gd name="T10" fmla="*/ 290 w 328"/>
              <a:gd name="T11" fmla="*/ 263 h 347"/>
              <a:gd name="T12" fmla="*/ 299 w 328"/>
              <a:gd name="T13" fmla="*/ 183 h 347"/>
              <a:gd name="T14" fmla="*/ 117 w 328"/>
              <a:gd name="T15" fmla="*/ 54 h 347"/>
              <a:gd name="T16" fmla="*/ 4 w 328"/>
              <a:gd name="T17" fmla="*/ 152 h 347"/>
              <a:gd name="T18" fmla="*/ 52 w 328"/>
              <a:gd name="T19" fmla="*/ 32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 h="347">
                <a:moveTo>
                  <a:pt x="52" y="328"/>
                </a:moveTo>
                <a:cubicBezTo>
                  <a:pt x="52" y="328"/>
                  <a:pt x="63" y="347"/>
                  <a:pt x="111" y="340"/>
                </a:cubicBezTo>
                <a:cubicBezTo>
                  <a:pt x="158" y="332"/>
                  <a:pt x="216" y="269"/>
                  <a:pt x="236" y="262"/>
                </a:cubicBezTo>
                <a:cubicBezTo>
                  <a:pt x="256" y="255"/>
                  <a:pt x="256" y="243"/>
                  <a:pt x="256" y="243"/>
                </a:cubicBezTo>
                <a:cubicBezTo>
                  <a:pt x="268" y="262"/>
                  <a:pt x="268" y="262"/>
                  <a:pt x="268" y="262"/>
                </a:cubicBezTo>
                <a:cubicBezTo>
                  <a:pt x="290" y="263"/>
                  <a:pt x="290" y="263"/>
                  <a:pt x="290" y="263"/>
                </a:cubicBezTo>
                <a:cubicBezTo>
                  <a:pt x="290" y="263"/>
                  <a:pt x="270" y="206"/>
                  <a:pt x="299" y="183"/>
                </a:cubicBezTo>
                <a:cubicBezTo>
                  <a:pt x="328" y="160"/>
                  <a:pt x="269" y="0"/>
                  <a:pt x="117" y="54"/>
                </a:cubicBezTo>
                <a:cubicBezTo>
                  <a:pt x="117" y="54"/>
                  <a:pt x="0" y="86"/>
                  <a:pt x="4" y="152"/>
                </a:cubicBezTo>
                <a:cubicBezTo>
                  <a:pt x="8" y="219"/>
                  <a:pt x="25" y="295"/>
                  <a:pt x="52" y="328"/>
                </a:cubicBezTo>
                <a:close/>
              </a:path>
            </a:pathLst>
          </a:custGeom>
          <a:solidFill>
            <a:srgbClr val="9050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47">
            <a:extLst>
              <a:ext uri="{FF2B5EF4-FFF2-40B4-BE49-F238E27FC236}">
                <a16:creationId xmlns:a16="http://schemas.microsoft.com/office/drawing/2014/main" id="{646ADF3D-8398-4A74-81C6-3BE38C4D1530}"/>
              </a:ext>
            </a:extLst>
          </p:cNvPr>
          <p:cNvSpPr>
            <a:spLocks/>
          </p:cNvSpPr>
          <p:nvPr/>
        </p:nvSpPr>
        <p:spPr bwMode="auto">
          <a:xfrm>
            <a:off x="7784109" y="3941735"/>
            <a:ext cx="158750" cy="53975"/>
          </a:xfrm>
          <a:custGeom>
            <a:avLst/>
            <a:gdLst>
              <a:gd name="T0" fmla="*/ 189 w 189"/>
              <a:gd name="T1" fmla="*/ 51 h 64"/>
              <a:gd name="T2" fmla="*/ 175 w 189"/>
              <a:gd name="T3" fmla="*/ 17 h 64"/>
              <a:gd name="T4" fmla="*/ 0 w 189"/>
              <a:gd name="T5" fmla="*/ 7 h 64"/>
              <a:gd name="T6" fmla="*/ 0 w 189"/>
              <a:gd name="T7" fmla="*/ 43 h 64"/>
              <a:gd name="T8" fmla="*/ 189 w 189"/>
              <a:gd name="T9" fmla="*/ 51 h 64"/>
            </a:gdLst>
            <a:ahLst/>
            <a:cxnLst>
              <a:cxn ang="0">
                <a:pos x="T0" y="T1"/>
              </a:cxn>
              <a:cxn ang="0">
                <a:pos x="T2" y="T3"/>
              </a:cxn>
              <a:cxn ang="0">
                <a:pos x="T4" y="T5"/>
              </a:cxn>
              <a:cxn ang="0">
                <a:pos x="T6" y="T7"/>
              </a:cxn>
              <a:cxn ang="0">
                <a:pos x="T8" y="T9"/>
              </a:cxn>
            </a:cxnLst>
            <a:rect l="0" t="0" r="r" b="b"/>
            <a:pathLst>
              <a:path w="189" h="64">
                <a:moveTo>
                  <a:pt x="189" y="51"/>
                </a:moveTo>
                <a:cubicBezTo>
                  <a:pt x="189" y="51"/>
                  <a:pt x="189" y="20"/>
                  <a:pt x="175" y="17"/>
                </a:cubicBezTo>
                <a:cubicBezTo>
                  <a:pt x="160" y="14"/>
                  <a:pt x="18" y="0"/>
                  <a:pt x="0" y="7"/>
                </a:cubicBezTo>
                <a:cubicBezTo>
                  <a:pt x="0" y="43"/>
                  <a:pt x="0" y="43"/>
                  <a:pt x="0" y="43"/>
                </a:cubicBezTo>
                <a:cubicBezTo>
                  <a:pt x="0" y="43"/>
                  <a:pt x="34" y="64"/>
                  <a:pt x="189" y="51"/>
                </a:cubicBezTo>
                <a:close/>
              </a:path>
            </a:pathLst>
          </a:custGeom>
          <a:solidFill>
            <a:srgbClr val="E2D2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8">
            <a:extLst>
              <a:ext uri="{FF2B5EF4-FFF2-40B4-BE49-F238E27FC236}">
                <a16:creationId xmlns:a16="http://schemas.microsoft.com/office/drawing/2014/main" id="{F05AE677-EE32-43C9-8D09-7BF55DB01A5F}"/>
              </a:ext>
            </a:extLst>
          </p:cNvPr>
          <p:cNvSpPr>
            <a:spLocks/>
          </p:cNvSpPr>
          <p:nvPr/>
        </p:nvSpPr>
        <p:spPr bwMode="auto">
          <a:xfrm>
            <a:off x="7892059" y="3733773"/>
            <a:ext cx="49213" cy="96838"/>
          </a:xfrm>
          <a:custGeom>
            <a:avLst/>
            <a:gdLst>
              <a:gd name="T0" fmla="*/ 53 w 60"/>
              <a:gd name="T1" fmla="*/ 43 h 114"/>
              <a:gd name="T2" fmla="*/ 11 w 60"/>
              <a:gd name="T3" fmla="*/ 34 h 114"/>
              <a:gd name="T4" fmla="*/ 43 w 60"/>
              <a:gd name="T5" fmla="*/ 111 h 114"/>
              <a:gd name="T6" fmla="*/ 53 w 60"/>
              <a:gd name="T7" fmla="*/ 43 h 114"/>
            </a:gdLst>
            <a:ahLst/>
            <a:cxnLst>
              <a:cxn ang="0">
                <a:pos x="T0" y="T1"/>
              </a:cxn>
              <a:cxn ang="0">
                <a:pos x="T2" y="T3"/>
              </a:cxn>
              <a:cxn ang="0">
                <a:pos x="T4" y="T5"/>
              </a:cxn>
              <a:cxn ang="0">
                <a:pos x="T6" y="T7"/>
              </a:cxn>
            </a:cxnLst>
            <a:rect l="0" t="0" r="r" b="b"/>
            <a:pathLst>
              <a:path w="60" h="114">
                <a:moveTo>
                  <a:pt x="53" y="43"/>
                </a:moveTo>
                <a:cubicBezTo>
                  <a:pt x="50" y="32"/>
                  <a:pt x="22" y="0"/>
                  <a:pt x="11" y="34"/>
                </a:cubicBezTo>
                <a:cubicBezTo>
                  <a:pt x="0" y="69"/>
                  <a:pt x="27" y="114"/>
                  <a:pt x="43" y="111"/>
                </a:cubicBezTo>
                <a:cubicBezTo>
                  <a:pt x="58" y="107"/>
                  <a:pt x="60" y="72"/>
                  <a:pt x="53" y="43"/>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49">
            <a:extLst>
              <a:ext uri="{FF2B5EF4-FFF2-40B4-BE49-F238E27FC236}">
                <a16:creationId xmlns:a16="http://schemas.microsoft.com/office/drawing/2014/main" id="{11D75419-28CA-4018-BBD7-6F52D8883CCA}"/>
              </a:ext>
            </a:extLst>
          </p:cNvPr>
          <p:cNvSpPr>
            <a:spLocks/>
          </p:cNvSpPr>
          <p:nvPr/>
        </p:nvSpPr>
        <p:spPr bwMode="auto">
          <a:xfrm>
            <a:off x="7561859" y="3748060"/>
            <a:ext cx="1079500" cy="1260475"/>
          </a:xfrm>
          <a:custGeom>
            <a:avLst/>
            <a:gdLst>
              <a:gd name="T0" fmla="*/ 692 w 1288"/>
              <a:gd name="T1" fmla="*/ 330 h 1505"/>
              <a:gd name="T2" fmla="*/ 455 w 1288"/>
              <a:gd name="T3" fmla="*/ 282 h 1505"/>
              <a:gd name="T4" fmla="*/ 266 w 1288"/>
              <a:gd name="T5" fmla="*/ 274 h 1505"/>
              <a:gd name="T6" fmla="*/ 24 w 1288"/>
              <a:gd name="T7" fmla="*/ 343 h 1505"/>
              <a:gd name="T8" fmla="*/ 0 w 1288"/>
              <a:gd name="T9" fmla="*/ 538 h 1505"/>
              <a:gd name="T10" fmla="*/ 56 w 1288"/>
              <a:gd name="T11" fmla="*/ 658 h 1505"/>
              <a:gd name="T12" fmla="*/ 96 w 1288"/>
              <a:gd name="T13" fmla="*/ 1001 h 1505"/>
              <a:gd name="T14" fmla="*/ 28 w 1288"/>
              <a:gd name="T15" fmla="*/ 1454 h 1505"/>
              <a:gd name="T16" fmla="*/ 233 w 1288"/>
              <a:gd name="T17" fmla="*/ 1491 h 1505"/>
              <a:gd name="T18" fmla="*/ 687 w 1288"/>
              <a:gd name="T19" fmla="*/ 1471 h 1505"/>
              <a:gd name="T20" fmla="*/ 622 w 1288"/>
              <a:gd name="T21" fmla="*/ 874 h 1505"/>
              <a:gd name="T22" fmla="*/ 637 w 1288"/>
              <a:gd name="T23" fmla="*/ 596 h 1505"/>
              <a:gd name="T24" fmla="*/ 1000 w 1288"/>
              <a:gd name="T25" fmla="*/ 388 h 1505"/>
              <a:gd name="T26" fmla="*/ 1123 w 1288"/>
              <a:gd name="T27" fmla="*/ 265 h 1505"/>
              <a:gd name="T28" fmla="*/ 1279 w 1288"/>
              <a:gd name="T29" fmla="*/ 69 h 1505"/>
              <a:gd name="T30" fmla="*/ 1180 w 1288"/>
              <a:gd name="T31" fmla="*/ 2 h 1505"/>
              <a:gd name="T32" fmla="*/ 1022 w 1288"/>
              <a:gd name="T33" fmla="*/ 189 h 1505"/>
              <a:gd name="T34" fmla="*/ 925 w 1288"/>
              <a:gd name="T35" fmla="*/ 266 h 1505"/>
              <a:gd name="T36" fmla="*/ 692 w 1288"/>
              <a:gd name="T37" fmla="*/ 330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8" h="1505">
                <a:moveTo>
                  <a:pt x="692" y="330"/>
                </a:moveTo>
                <a:cubicBezTo>
                  <a:pt x="594" y="317"/>
                  <a:pt x="455" y="282"/>
                  <a:pt x="455" y="282"/>
                </a:cubicBezTo>
                <a:cubicBezTo>
                  <a:pt x="266" y="274"/>
                  <a:pt x="266" y="274"/>
                  <a:pt x="266" y="274"/>
                </a:cubicBezTo>
                <a:cubicBezTo>
                  <a:pt x="266" y="274"/>
                  <a:pt x="92" y="313"/>
                  <a:pt x="24" y="343"/>
                </a:cubicBezTo>
                <a:cubicBezTo>
                  <a:pt x="17" y="346"/>
                  <a:pt x="17" y="498"/>
                  <a:pt x="0" y="538"/>
                </a:cubicBezTo>
                <a:cubicBezTo>
                  <a:pt x="56" y="658"/>
                  <a:pt x="56" y="658"/>
                  <a:pt x="56" y="658"/>
                </a:cubicBezTo>
                <a:cubicBezTo>
                  <a:pt x="56" y="658"/>
                  <a:pt x="89" y="895"/>
                  <a:pt x="96" y="1001"/>
                </a:cubicBezTo>
                <a:cubicBezTo>
                  <a:pt x="99" y="1049"/>
                  <a:pt x="28" y="1454"/>
                  <a:pt x="28" y="1454"/>
                </a:cubicBezTo>
                <a:cubicBezTo>
                  <a:pt x="28" y="1454"/>
                  <a:pt x="104" y="1477"/>
                  <a:pt x="233" y="1491"/>
                </a:cubicBezTo>
                <a:cubicBezTo>
                  <a:pt x="362" y="1505"/>
                  <a:pt x="685" y="1486"/>
                  <a:pt x="687" y="1471"/>
                </a:cubicBezTo>
                <a:cubicBezTo>
                  <a:pt x="689" y="1455"/>
                  <a:pt x="625" y="902"/>
                  <a:pt x="622" y="874"/>
                </a:cubicBezTo>
                <a:cubicBezTo>
                  <a:pt x="618" y="830"/>
                  <a:pt x="637" y="596"/>
                  <a:pt x="637" y="596"/>
                </a:cubicBezTo>
                <a:cubicBezTo>
                  <a:pt x="667" y="573"/>
                  <a:pt x="929" y="451"/>
                  <a:pt x="1000" y="388"/>
                </a:cubicBezTo>
                <a:cubicBezTo>
                  <a:pt x="1019" y="371"/>
                  <a:pt x="1100" y="293"/>
                  <a:pt x="1123" y="265"/>
                </a:cubicBezTo>
                <a:cubicBezTo>
                  <a:pt x="1204" y="169"/>
                  <a:pt x="1271" y="87"/>
                  <a:pt x="1279" y="69"/>
                </a:cubicBezTo>
                <a:cubicBezTo>
                  <a:pt x="1288" y="59"/>
                  <a:pt x="1189" y="5"/>
                  <a:pt x="1180" y="2"/>
                </a:cubicBezTo>
                <a:cubicBezTo>
                  <a:pt x="1172" y="0"/>
                  <a:pt x="1064" y="143"/>
                  <a:pt x="1022" y="189"/>
                </a:cubicBezTo>
                <a:cubicBezTo>
                  <a:pt x="1003" y="209"/>
                  <a:pt x="925" y="266"/>
                  <a:pt x="925" y="266"/>
                </a:cubicBezTo>
                <a:cubicBezTo>
                  <a:pt x="925" y="266"/>
                  <a:pt x="753" y="333"/>
                  <a:pt x="692" y="330"/>
                </a:cubicBezTo>
                <a:close/>
              </a:path>
            </a:pathLst>
          </a:custGeom>
          <a:solidFill>
            <a:srgbClr val="6601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50">
            <a:extLst>
              <a:ext uri="{FF2B5EF4-FFF2-40B4-BE49-F238E27FC236}">
                <a16:creationId xmlns:a16="http://schemas.microsoft.com/office/drawing/2014/main" id="{3BE3B916-9916-421C-95BC-12D4F4BE2AF6}"/>
              </a:ext>
            </a:extLst>
          </p:cNvPr>
          <p:cNvSpPr>
            <a:spLocks/>
          </p:cNvSpPr>
          <p:nvPr/>
        </p:nvSpPr>
        <p:spPr bwMode="auto">
          <a:xfrm>
            <a:off x="7639647" y="3654398"/>
            <a:ext cx="131763" cy="207963"/>
          </a:xfrm>
          <a:custGeom>
            <a:avLst/>
            <a:gdLst>
              <a:gd name="T0" fmla="*/ 157 w 157"/>
              <a:gd name="T1" fmla="*/ 0 h 248"/>
              <a:gd name="T2" fmla="*/ 153 w 157"/>
              <a:gd name="T3" fmla="*/ 248 h 248"/>
              <a:gd name="T4" fmla="*/ 157 w 157"/>
              <a:gd name="T5" fmla="*/ 0 h 248"/>
            </a:gdLst>
            <a:ahLst/>
            <a:cxnLst>
              <a:cxn ang="0">
                <a:pos x="T0" y="T1"/>
              </a:cxn>
              <a:cxn ang="0">
                <a:pos x="T2" y="T3"/>
              </a:cxn>
              <a:cxn ang="0">
                <a:pos x="T4" y="T5"/>
              </a:cxn>
            </a:cxnLst>
            <a:rect l="0" t="0" r="r" b="b"/>
            <a:pathLst>
              <a:path w="157" h="248">
                <a:moveTo>
                  <a:pt x="157" y="0"/>
                </a:moveTo>
                <a:cubicBezTo>
                  <a:pt x="157" y="0"/>
                  <a:pt x="0" y="12"/>
                  <a:pt x="153" y="248"/>
                </a:cubicBezTo>
                <a:lnTo>
                  <a:pt x="157" y="0"/>
                </a:lnTo>
                <a:close/>
              </a:path>
            </a:pathLst>
          </a:custGeom>
          <a:solidFill>
            <a:srgbClr val="9050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51">
            <a:extLst>
              <a:ext uri="{FF2B5EF4-FFF2-40B4-BE49-F238E27FC236}">
                <a16:creationId xmlns:a16="http://schemas.microsoft.com/office/drawing/2014/main" id="{A18CFEA1-8C07-4114-8DD2-5C5FB6DA742E}"/>
              </a:ext>
            </a:extLst>
          </p:cNvPr>
          <p:cNvSpPr>
            <a:spLocks/>
          </p:cNvSpPr>
          <p:nvPr/>
        </p:nvSpPr>
        <p:spPr bwMode="auto">
          <a:xfrm>
            <a:off x="8657234" y="3635348"/>
            <a:ext cx="20638" cy="15875"/>
          </a:xfrm>
          <a:custGeom>
            <a:avLst/>
            <a:gdLst>
              <a:gd name="T0" fmla="*/ 6 w 13"/>
              <a:gd name="T1" fmla="*/ 10 h 10"/>
              <a:gd name="T2" fmla="*/ 13 w 13"/>
              <a:gd name="T3" fmla="*/ 0 h 10"/>
              <a:gd name="T4" fmla="*/ 0 w 13"/>
              <a:gd name="T5" fmla="*/ 2 h 10"/>
              <a:gd name="T6" fmla="*/ 6 w 13"/>
              <a:gd name="T7" fmla="*/ 10 h 10"/>
            </a:gdLst>
            <a:ahLst/>
            <a:cxnLst>
              <a:cxn ang="0">
                <a:pos x="T0" y="T1"/>
              </a:cxn>
              <a:cxn ang="0">
                <a:pos x="T2" y="T3"/>
              </a:cxn>
              <a:cxn ang="0">
                <a:pos x="T4" y="T5"/>
              </a:cxn>
              <a:cxn ang="0">
                <a:pos x="T6" y="T7"/>
              </a:cxn>
            </a:cxnLst>
            <a:rect l="0" t="0" r="r" b="b"/>
            <a:pathLst>
              <a:path w="13" h="10">
                <a:moveTo>
                  <a:pt x="6" y="10"/>
                </a:moveTo>
                <a:lnTo>
                  <a:pt x="13" y="0"/>
                </a:lnTo>
                <a:lnTo>
                  <a:pt x="0" y="2"/>
                </a:lnTo>
                <a:lnTo>
                  <a:pt x="6" y="10"/>
                </a:lnTo>
                <a:close/>
              </a:path>
            </a:pathLst>
          </a:custGeom>
          <a:solidFill>
            <a:srgbClr val="DFE1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52">
            <a:extLst>
              <a:ext uri="{FF2B5EF4-FFF2-40B4-BE49-F238E27FC236}">
                <a16:creationId xmlns:a16="http://schemas.microsoft.com/office/drawing/2014/main" id="{FB76DD19-D434-4540-BCA2-0E4B80E7C695}"/>
              </a:ext>
            </a:extLst>
          </p:cNvPr>
          <p:cNvSpPr>
            <a:spLocks/>
          </p:cNvSpPr>
          <p:nvPr/>
        </p:nvSpPr>
        <p:spPr bwMode="auto">
          <a:xfrm>
            <a:off x="6006109" y="4564035"/>
            <a:ext cx="241300" cy="60325"/>
          </a:xfrm>
          <a:custGeom>
            <a:avLst/>
            <a:gdLst>
              <a:gd name="T0" fmla="*/ 17 w 287"/>
              <a:gd name="T1" fmla="*/ 43 h 72"/>
              <a:gd name="T2" fmla="*/ 116 w 287"/>
              <a:gd name="T3" fmla="*/ 60 h 72"/>
              <a:gd name="T4" fmla="*/ 285 w 287"/>
              <a:gd name="T5" fmla="*/ 16 h 72"/>
              <a:gd name="T6" fmla="*/ 285 w 287"/>
              <a:gd name="T7" fmla="*/ 0 h 72"/>
              <a:gd name="T8" fmla="*/ 0 w 287"/>
              <a:gd name="T9" fmla="*/ 0 h 72"/>
              <a:gd name="T10" fmla="*/ 17 w 287"/>
              <a:gd name="T11" fmla="*/ 43 h 72"/>
            </a:gdLst>
            <a:ahLst/>
            <a:cxnLst>
              <a:cxn ang="0">
                <a:pos x="T0" y="T1"/>
              </a:cxn>
              <a:cxn ang="0">
                <a:pos x="T2" y="T3"/>
              </a:cxn>
              <a:cxn ang="0">
                <a:pos x="T4" y="T5"/>
              </a:cxn>
              <a:cxn ang="0">
                <a:pos x="T6" y="T7"/>
              </a:cxn>
              <a:cxn ang="0">
                <a:pos x="T8" y="T9"/>
              </a:cxn>
              <a:cxn ang="0">
                <a:pos x="T10" y="T11"/>
              </a:cxn>
            </a:cxnLst>
            <a:rect l="0" t="0" r="r" b="b"/>
            <a:pathLst>
              <a:path w="287" h="72">
                <a:moveTo>
                  <a:pt x="17" y="43"/>
                </a:moveTo>
                <a:cubicBezTo>
                  <a:pt x="17" y="43"/>
                  <a:pt x="94" y="48"/>
                  <a:pt x="116" y="60"/>
                </a:cubicBezTo>
                <a:cubicBezTo>
                  <a:pt x="137" y="72"/>
                  <a:pt x="282" y="26"/>
                  <a:pt x="285" y="16"/>
                </a:cubicBezTo>
                <a:cubicBezTo>
                  <a:pt x="287" y="5"/>
                  <a:pt x="285" y="0"/>
                  <a:pt x="285" y="0"/>
                </a:cubicBezTo>
                <a:cubicBezTo>
                  <a:pt x="0" y="0"/>
                  <a:pt x="0" y="0"/>
                  <a:pt x="0" y="0"/>
                </a:cubicBezTo>
                <a:lnTo>
                  <a:pt x="17" y="43"/>
                </a:lnTo>
                <a:close/>
              </a:path>
            </a:pathLst>
          </a:custGeom>
          <a:solidFill>
            <a:srgbClr val="DE96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53">
            <a:extLst>
              <a:ext uri="{FF2B5EF4-FFF2-40B4-BE49-F238E27FC236}">
                <a16:creationId xmlns:a16="http://schemas.microsoft.com/office/drawing/2014/main" id="{33878901-E53B-4D34-B114-3A40967EC1DB}"/>
              </a:ext>
            </a:extLst>
          </p:cNvPr>
          <p:cNvSpPr>
            <a:spLocks/>
          </p:cNvSpPr>
          <p:nvPr/>
        </p:nvSpPr>
        <p:spPr bwMode="auto">
          <a:xfrm>
            <a:off x="5569547" y="4305273"/>
            <a:ext cx="531813" cy="355600"/>
          </a:xfrm>
          <a:custGeom>
            <a:avLst/>
            <a:gdLst>
              <a:gd name="T0" fmla="*/ 194 w 634"/>
              <a:gd name="T1" fmla="*/ 14 h 425"/>
              <a:gd name="T2" fmla="*/ 194 w 634"/>
              <a:gd name="T3" fmla="*/ 232 h 425"/>
              <a:gd name="T4" fmla="*/ 634 w 634"/>
              <a:gd name="T5" fmla="*/ 320 h 425"/>
              <a:gd name="T6" fmla="*/ 634 w 634"/>
              <a:gd name="T7" fmla="*/ 359 h 425"/>
              <a:gd name="T8" fmla="*/ 59 w 634"/>
              <a:gd name="T9" fmla="*/ 323 h 425"/>
              <a:gd name="T10" fmla="*/ 23 w 634"/>
              <a:gd name="T11" fmla="*/ 0 h 425"/>
              <a:gd name="T12" fmla="*/ 194 w 634"/>
              <a:gd name="T13" fmla="*/ 14 h 425"/>
            </a:gdLst>
            <a:ahLst/>
            <a:cxnLst>
              <a:cxn ang="0">
                <a:pos x="T0" y="T1"/>
              </a:cxn>
              <a:cxn ang="0">
                <a:pos x="T2" y="T3"/>
              </a:cxn>
              <a:cxn ang="0">
                <a:pos x="T4" y="T5"/>
              </a:cxn>
              <a:cxn ang="0">
                <a:pos x="T6" y="T7"/>
              </a:cxn>
              <a:cxn ang="0">
                <a:pos x="T8" y="T9"/>
              </a:cxn>
              <a:cxn ang="0">
                <a:pos x="T10" y="T11"/>
              </a:cxn>
              <a:cxn ang="0">
                <a:pos x="T12" y="T13"/>
              </a:cxn>
            </a:cxnLst>
            <a:rect l="0" t="0" r="r" b="b"/>
            <a:pathLst>
              <a:path w="634" h="425">
                <a:moveTo>
                  <a:pt x="194" y="14"/>
                </a:moveTo>
                <a:cubicBezTo>
                  <a:pt x="194" y="14"/>
                  <a:pt x="170" y="207"/>
                  <a:pt x="194" y="232"/>
                </a:cubicBezTo>
                <a:cubicBezTo>
                  <a:pt x="288" y="328"/>
                  <a:pt x="634" y="320"/>
                  <a:pt x="634" y="320"/>
                </a:cubicBezTo>
                <a:cubicBezTo>
                  <a:pt x="634" y="359"/>
                  <a:pt x="634" y="359"/>
                  <a:pt x="634" y="359"/>
                </a:cubicBezTo>
                <a:cubicBezTo>
                  <a:pt x="634" y="359"/>
                  <a:pt x="108" y="425"/>
                  <a:pt x="59" y="323"/>
                </a:cubicBezTo>
                <a:cubicBezTo>
                  <a:pt x="0" y="200"/>
                  <a:pt x="23" y="0"/>
                  <a:pt x="23" y="0"/>
                </a:cubicBezTo>
                <a:lnTo>
                  <a:pt x="194" y="14"/>
                </a:lnTo>
                <a:close/>
              </a:path>
            </a:pathLst>
          </a:custGeom>
          <a:solidFill>
            <a:srgbClr val="DE96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54">
            <a:extLst>
              <a:ext uri="{FF2B5EF4-FFF2-40B4-BE49-F238E27FC236}">
                <a16:creationId xmlns:a16="http://schemas.microsoft.com/office/drawing/2014/main" id="{9AAF4579-9E79-46B4-8A26-BE008C8B6408}"/>
              </a:ext>
            </a:extLst>
          </p:cNvPr>
          <p:cNvSpPr>
            <a:spLocks/>
          </p:cNvSpPr>
          <p:nvPr/>
        </p:nvSpPr>
        <p:spPr bwMode="auto">
          <a:xfrm>
            <a:off x="5525097" y="5934048"/>
            <a:ext cx="87313" cy="79375"/>
          </a:xfrm>
          <a:custGeom>
            <a:avLst/>
            <a:gdLst>
              <a:gd name="T0" fmla="*/ 39 w 55"/>
              <a:gd name="T1" fmla="*/ 50 h 50"/>
              <a:gd name="T2" fmla="*/ 55 w 55"/>
              <a:gd name="T3" fmla="*/ 31 h 50"/>
              <a:gd name="T4" fmla="*/ 26 w 55"/>
              <a:gd name="T5" fmla="*/ 0 h 50"/>
              <a:gd name="T6" fmla="*/ 0 w 55"/>
              <a:gd name="T7" fmla="*/ 18 h 50"/>
              <a:gd name="T8" fmla="*/ 39 w 55"/>
              <a:gd name="T9" fmla="*/ 50 h 50"/>
            </a:gdLst>
            <a:ahLst/>
            <a:cxnLst>
              <a:cxn ang="0">
                <a:pos x="T0" y="T1"/>
              </a:cxn>
              <a:cxn ang="0">
                <a:pos x="T2" y="T3"/>
              </a:cxn>
              <a:cxn ang="0">
                <a:pos x="T4" y="T5"/>
              </a:cxn>
              <a:cxn ang="0">
                <a:pos x="T6" y="T7"/>
              </a:cxn>
              <a:cxn ang="0">
                <a:pos x="T8" y="T9"/>
              </a:cxn>
            </a:cxnLst>
            <a:rect l="0" t="0" r="r" b="b"/>
            <a:pathLst>
              <a:path w="55" h="50">
                <a:moveTo>
                  <a:pt x="39" y="50"/>
                </a:moveTo>
                <a:lnTo>
                  <a:pt x="55" y="31"/>
                </a:lnTo>
                <a:lnTo>
                  <a:pt x="26" y="0"/>
                </a:lnTo>
                <a:lnTo>
                  <a:pt x="0" y="18"/>
                </a:lnTo>
                <a:lnTo>
                  <a:pt x="39" y="50"/>
                </a:lnTo>
                <a:close/>
              </a:path>
            </a:pathLst>
          </a:custGeom>
          <a:solidFill>
            <a:srgbClr val="2F45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55">
            <a:extLst>
              <a:ext uri="{FF2B5EF4-FFF2-40B4-BE49-F238E27FC236}">
                <a16:creationId xmlns:a16="http://schemas.microsoft.com/office/drawing/2014/main" id="{2839E79E-44DF-4BAC-AFBE-B0072A300082}"/>
              </a:ext>
            </a:extLst>
          </p:cNvPr>
          <p:cNvSpPr>
            <a:spLocks/>
          </p:cNvSpPr>
          <p:nvPr/>
        </p:nvSpPr>
        <p:spPr bwMode="auto">
          <a:xfrm>
            <a:off x="5453659" y="5962623"/>
            <a:ext cx="293688" cy="269875"/>
          </a:xfrm>
          <a:custGeom>
            <a:avLst/>
            <a:gdLst>
              <a:gd name="T0" fmla="*/ 86 w 350"/>
              <a:gd name="T1" fmla="*/ 0 h 322"/>
              <a:gd name="T2" fmla="*/ 168 w 350"/>
              <a:gd name="T3" fmla="*/ 50 h 322"/>
              <a:gd name="T4" fmla="*/ 192 w 350"/>
              <a:gd name="T5" fmla="*/ 87 h 322"/>
              <a:gd name="T6" fmla="*/ 238 w 350"/>
              <a:gd name="T7" fmla="*/ 232 h 322"/>
              <a:gd name="T8" fmla="*/ 337 w 350"/>
              <a:gd name="T9" fmla="*/ 278 h 322"/>
              <a:gd name="T10" fmla="*/ 110 w 350"/>
              <a:gd name="T11" fmla="*/ 277 h 322"/>
              <a:gd name="T12" fmla="*/ 11 w 350"/>
              <a:gd name="T13" fmla="*/ 50 h 322"/>
              <a:gd name="T14" fmla="*/ 86 w 350"/>
              <a:gd name="T15" fmla="*/ 0 h 3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322">
                <a:moveTo>
                  <a:pt x="86" y="0"/>
                </a:moveTo>
                <a:cubicBezTo>
                  <a:pt x="86" y="0"/>
                  <a:pt x="150" y="48"/>
                  <a:pt x="168" y="50"/>
                </a:cubicBezTo>
                <a:cubicBezTo>
                  <a:pt x="186" y="52"/>
                  <a:pt x="195" y="60"/>
                  <a:pt x="192" y="87"/>
                </a:cubicBezTo>
                <a:cubicBezTo>
                  <a:pt x="190" y="115"/>
                  <a:pt x="219" y="230"/>
                  <a:pt x="238" y="232"/>
                </a:cubicBezTo>
                <a:cubicBezTo>
                  <a:pt x="258" y="233"/>
                  <a:pt x="325" y="234"/>
                  <a:pt x="337" y="278"/>
                </a:cubicBezTo>
                <a:cubicBezTo>
                  <a:pt x="350" y="322"/>
                  <a:pt x="124" y="313"/>
                  <a:pt x="110" y="277"/>
                </a:cubicBezTo>
                <a:cubicBezTo>
                  <a:pt x="96" y="240"/>
                  <a:pt x="0" y="64"/>
                  <a:pt x="11" y="50"/>
                </a:cubicBezTo>
                <a:cubicBezTo>
                  <a:pt x="22" y="36"/>
                  <a:pt x="53" y="4"/>
                  <a:pt x="86" y="0"/>
                </a:cubicBezTo>
                <a:close/>
              </a:path>
            </a:pathLst>
          </a:custGeom>
          <a:solidFill>
            <a:srgbClr val="6601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56">
            <a:extLst>
              <a:ext uri="{FF2B5EF4-FFF2-40B4-BE49-F238E27FC236}">
                <a16:creationId xmlns:a16="http://schemas.microsoft.com/office/drawing/2014/main" id="{06B18A7C-DDE1-460A-BEBF-F46C00E38569}"/>
              </a:ext>
            </a:extLst>
          </p:cNvPr>
          <p:cNvSpPr>
            <a:spLocks/>
          </p:cNvSpPr>
          <p:nvPr/>
        </p:nvSpPr>
        <p:spPr bwMode="auto">
          <a:xfrm>
            <a:off x="5552084" y="4748185"/>
            <a:ext cx="673100" cy="1236663"/>
          </a:xfrm>
          <a:custGeom>
            <a:avLst/>
            <a:gdLst>
              <a:gd name="T0" fmla="*/ 381 w 802"/>
              <a:gd name="T1" fmla="*/ 75 h 1478"/>
              <a:gd name="T2" fmla="*/ 631 w 802"/>
              <a:gd name="T3" fmla="*/ 959 h 1478"/>
              <a:gd name="T4" fmla="*/ 407 w 802"/>
              <a:gd name="T5" fmla="*/ 1152 h 1478"/>
              <a:gd name="T6" fmla="*/ 228 w 802"/>
              <a:gd name="T7" fmla="*/ 1317 h 1478"/>
              <a:gd name="T8" fmla="*/ 225 w 802"/>
              <a:gd name="T9" fmla="*/ 1320 h 1478"/>
              <a:gd name="T10" fmla="*/ 120 w 802"/>
              <a:gd name="T11" fmla="*/ 1430 h 1478"/>
              <a:gd name="T12" fmla="*/ 119 w 802"/>
              <a:gd name="T13" fmla="*/ 1431 h 1478"/>
              <a:gd name="T14" fmla="*/ 118 w 802"/>
              <a:gd name="T15" fmla="*/ 1433 h 1478"/>
              <a:gd name="T16" fmla="*/ 71 w 802"/>
              <a:gd name="T17" fmla="*/ 1478 h 1478"/>
              <a:gd name="T18" fmla="*/ 2 w 802"/>
              <a:gd name="T19" fmla="*/ 1417 h 1478"/>
              <a:gd name="T20" fmla="*/ 124 w 802"/>
              <a:gd name="T21" fmla="*/ 1227 h 1478"/>
              <a:gd name="T22" fmla="*/ 337 w 802"/>
              <a:gd name="T23" fmla="*/ 936 h 1478"/>
              <a:gd name="T24" fmla="*/ 442 w 802"/>
              <a:gd name="T25" fmla="*/ 795 h 1478"/>
              <a:gd name="T26" fmla="*/ 56 w 802"/>
              <a:gd name="T27" fmla="*/ 355 h 1478"/>
              <a:gd name="T28" fmla="*/ 134 w 802"/>
              <a:gd name="T29" fmla="*/ 59 h 1478"/>
              <a:gd name="T30" fmla="*/ 381 w 802"/>
              <a:gd name="T31" fmla="*/ 75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2" h="1478">
                <a:moveTo>
                  <a:pt x="381" y="75"/>
                </a:moveTo>
                <a:cubicBezTo>
                  <a:pt x="381" y="75"/>
                  <a:pt x="802" y="808"/>
                  <a:pt x="631" y="959"/>
                </a:cubicBezTo>
                <a:cubicBezTo>
                  <a:pt x="564" y="1019"/>
                  <a:pt x="500" y="1072"/>
                  <a:pt x="407" y="1152"/>
                </a:cubicBezTo>
                <a:cubicBezTo>
                  <a:pt x="358" y="1194"/>
                  <a:pt x="298" y="1243"/>
                  <a:pt x="228" y="1317"/>
                </a:cubicBezTo>
                <a:cubicBezTo>
                  <a:pt x="225" y="1320"/>
                  <a:pt x="225" y="1320"/>
                  <a:pt x="225" y="1320"/>
                </a:cubicBezTo>
                <a:cubicBezTo>
                  <a:pt x="174" y="1372"/>
                  <a:pt x="133" y="1416"/>
                  <a:pt x="120" y="1430"/>
                </a:cubicBezTo>
                <a:cubicBezTo>
                  <a:pt x="120" y="1431"/>
                  <a:pt x="119" y="1431"/>
                  <a:pt x="119" y="1431"/>
                </a:cubicBezTo>
                <a:cubicBezTo>
                  <a:pt x="118" y="1433"/>
                  <a:pt x="118" y="1433"/>
                  <a:pt x="118" y="1433"/>
                </a:cubicBezTo>
                <a:cubicBezTo>
                  <a:pt x="71" y="1478"/>
                  <a:pt x="71" y="1478"/>
                  <a:pt x="71" y="1478"/>
                </a:cubicBezTo>
                <a:cubicBezTo>
                  <a:pt x="2" y="1417"/>
                  <a:pt x="2" y="1417"/>
                  <a:pt x="2" y="1417"/>
                </a:cubicBezTo>
                <a:cubicBezTo>
                  <a:pt x="2" y="1417"/>
                  <a:pt x="80" y="1310"/>
                  <a:pt x="124" y="1227"/>
                </a:cubicBezTo>
                <a:cubicBezTo>
                  <a:pt x="185" y="1111"/>
                  <a:pt x="289" y="974"/>
                  <a:pt x="337" y="936"/>
                </a:cubicBezTo>
                <a:cubicBezTo>
                  <a:pt x="419" y="871"/>
                  <a:pt x="442" y="858"/>
                  <a:pt x="442" y="795"/>
                </a:cubicBezTo>
                <a:cubicBezTo>
                  <a:pt x="442" y="729"/>
                  <a:pt x="56" y="355"/>
                  <a:pt x="56" y="355"/>
                </a:cubicBezTo>
                <a:cubicBezTo>
                  <a:pt x="56" y="355"/>
                  <a:pt x="0" y="121"/>
                  <a:pt x="134" y="59"/>
                </a:cubicBezTo>
                <a:cubicBezTo>
                  <a:pt x="264" y="0"/>
                  <a:pt x="381" y="75"/>
                  <a:pt x="381" y="75"/>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57">
            <a:extLst>
              <a:ext uri="{FF2B5EF4-FFF2-40B4-BE49-F238E27FC236}">
                <a16:creationId xmlns:a16="http://schemas.microsoft.com/office/drawing/2014/main" id="{6F4E5DFB-9BD8-4D1F-B07D-1F6B7299E301}"/>
              </a:ext>
            </a:extLst>
          </p:cNvPr>
          <p:cNvSpPr>
            <a:spLocks/>
          </p:cNvSpPr>
          <p:nvPr/>
        </p:nvSpPr>
        <p:spPr bwMode="auto">
          <a:xfrm>
            <a:off x="5521922" y="6043585"/>
            <a:ext cx="88900" cy="120650"/>
          </a:xfrm>
          <a:custGeom>
            <a:avLst/>
            <a:gdLst>
              <a:gd name="T0" fmla="*/ 96 w 105"/>
              <a:gd name="T1" fmla="*/ 77 h 143"/>
              <a:gd name="T2" fmla="*/ 99 w 105"/>
              <a:gd name="T3" fmla="*/ 21 h 143"/>
              <a:gd name="T4" fmla="*/ 12 w 105"/>
              <a:gd name="T5" fmla="*/ 12 h 143"/>
              <a:gd name="T6" fmla="*/ 4 w 105"/>
              <a:gd name="T7" fmla="*/ 123 h 143"/>
              <a:gd name="T8" fmla="*/ 96 w 105"/>
              <a:gd name="T9" fmla="*/ 77 h 143"/>
            </a:gdLst>
            <a:ahLst/>
            <a:cxnLst>
              <a:cxn ang="0">
                <a:pos x="T0" y="T1"/>
              </a:cxn>
              <a:cxn ang="0">
                <a:pos x="T2" y="T3"/>
              </a:cxn>
              <a:cxn ang="0">
                <a:pos x="T4" y="T5"/>
              </a:cxn>
              <a:cxn ang="0">
                <a:pos x="T6" y="T7"/>
              </a:cxn>
              <a:cxn ang="0">
                <a:pos x="T8" y="T9"/>
              </a:cxn>
            </a:cxnLst>
            <a:rect l="0" t="0" r="r" b="b"/>
            <a:pathLst>
              <a:path w="105" h="143">
                <a:moveTo>
                  <a:pt x="96" y="77"/>
                </a:moveTo>
                <a:cubicBezTo>
                  <a:pt x="96" y="77"/>
                  <a:pt x="94" y="43"/>
                  <a:pt x="99" y="21"/>
                </a:cubicBezTo>
                <a:cubicBezTo>
                  <a:pt x="105" y="0"/>
                  <a:pt x="12" y="12"/>
                  <a:pt x="12" y="12"/>
                </a:cubicBezTo>
                <a:cubicBezTo>
                  <a:pt x="12" y="12"/>
                  <a:pt x="0" y="102"/>
                  <a:pt x="4" y="123"/>
                </a:cubicBezTo>
                <a:cubicBezTo>
                  <a:pt x="7" y="143"/>
                  <a:pt x="96" y="77"/>
                  <a:pt x="96" y="77"/>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58">
            <a:extLst>
              <a:ext uri="{FF2B5EF4-FFF2-40B4-BE49-F238E27FC236}">
                <a16:creationId xmlns:a16="http://schemas.microsoft.com/office/drawing/2014/main" id="{DBE3EF4E-0A04-4EE8-86C6-88AAE276DEAA}"/>
              </a:ext>
            </a:extLst>
          </p:cNvPr>
          <p:cNvSpPr>
            <a:spLocks/>
          </p:cNvSpPr>
          <p:nvPr/>
        </p:nvSpPr>
        <p:spPr bwMode="auto">
          <a:xfrm>
            <a:off x="5499697" y="4738660"/>
            <a:ext cx="374650" cy="1343025"/>
          </a:xfrm>
          <a:custGeom>
            <a:avLst/>
            <a:gdLst>
              <a:gd name="T0" fmla="*/ 140 w 445"/>
              <a:gd name="T1" fmla="*/ 1580 h 1603"/>
              <a:gd name="T2" fmla="*/ 14 w 445"/>
              <a:gd name="T3" fmla="*/ 1603 h 1603"/>
              <a:gd name="T4" fmla="*/ 7 w 445"/>
              <a:gd name="T5" fmla="*/ 1321 h 1603"/>
              <a:gd name="T6" fmla="*/ 42 w 445"/>
              <a:gd name="T7" fmla="*/ 981 h 1603"/>
              <a:gd name="T8" fmla="*/ 75 w 445"/>
              <a:gd name="T9" fmla="*/ 779 h 1603"/>
              <a:gd name="T10" fmla="*/ 43 w 445"/>
              <a:gd name="T11" fmla="*/ 368 h 1603"/>
              <a:gd name="T12" fmla="*/ 99 w 445"/>
              <a:gd name="T13" fmla="*/ 105 h 1603"/>
              <a:gd name="T14" fmla="*/ 445 w 445"/>
              <a:gd name="T15" fmla="*/ 105 h 1603"/>
              <a:gd name="T16" fmla="*/ 268 w 445"/>
              <a:gd name="T17" fmla="*/ 866 h 1603"/>
              <a:gd name="T18" fmla="*/ 207 w 445"/>
              <a:gd name="T19" fmla="*/ 1126 h 1603"/>
              <a:gd name="T20" fmla="*/ 140 w 445"/>
              <a:gd name="T21" fmla="*/ 1580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5" h="1603">
                <a:moveTo>
                  <a:pt x="140" y="1580"/>
                </a:moveTo>
                <a:cubicBezTo>
                  <a:pt x="14" y="1603"/>
                  <a:pt x="14" y="1603"/>
                  <a:pt x="14" y="1603"/>
                </a:cubicBezTo>
                <a:cubicBezTo>
                  <a:pt x="14" y="1603"/>
                  <a:pt x="5" y="1443"/>
                  <a:pt x="7" y="1321"/>
                </a:cubicBezTo>
                <a:cubicBezTo>
                  <a:pt x="9" y="1189"/>
                  <a:pt x="2" y="1086"/>
                  <a:pt x="42" y="981"/>
                </a:cubicBezTo>
                <a:cubicBezTo>
                  <a:pt x="80" y="883"/>
                  <a:pt x="71" y="846"/>
                  <a:pt x="75" y="779"/>
                </a:cubicBezTo>
                <a:cubicBezTo>
                  <a:pt x="78" y="712"/>
                  <a:pt x="43" y="368"/>
                  <a:pt x="43" y="368"/>
                </a:cubicBezTo>
                <a:cubicBezTo>
                  <a:pt x="43" y="368"/>
                  <a:pt x="0" y="214"/>
                  <a:pt x="99" y="105"/>
                </a:cubicBezTo>
                <a:cubicBezTo>
                  <a:pt x="195" y="0"/>
                  <a:pt x="445" y="105"/>
                  <a:pt x="445" y="105"/>
                </a:cubicBezTo>
                <a:cubicBezTo>
                  <a:pt x="445" y="105"/>
                  <a:pt x="393" y="575"/>
                  <a:pt x="268" y="866"/>
                </a:cubicBezTo>
                <a:cubicBezTo>
                  <a:pt x="233" y="948"/>
                  <a:pt x="252" y="998"/>
                  <a:pt x="207" y="1126"/>
                </a:cubicBezTo>
                <a:cubicBezTo>
                  <a:pt x="207" y="1126"/>
                  <a:pt x="138" y="1403"/>
                  <a:pt x="140" y="1580"/>
                </a:cubicBez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9">
            <a:extLst>
              <a:ext uri="{FF2B5EF4-FFF2-40B4-BE49-F238E27FC236}">
                <a16:creationId xmlns:a16="http://schemas.microsoft.com/office/drawing/2014/main" id="{DDB8489D-C9A5-4889-9752-D519D1FB7845}"/>
              </a:ext>
            </a:extLst>
          </p:cNvPr>
          <p:cNvSpPr>
            <a:spLocks/>
          </p:cNvSpPr>
          <p:nvPr/>
        </p:nvSpPr>
        <p:spPr bwMode="auto">
          <a:xfrm>
            <a:off x="5548909" y="3968723"/>
            <a:ext cx="177800" cy="195263"/>
          </a:xfrm>
          <a:custGeom>
            <a:avLst/>
            <a:gdLst>
              <a:gd name="T0" fmla="*/ 192 w 213"/>
              <a:gd name="T1" fmla="*/ 94 h 232"/>
              <a:gd name="T2" fmla="*/ 177 w 213"/>
              <a:gd name="T3" fmla="*/ 135 h 232"/>
              <a:gd name="T4" fmla="*/ 170 w 213"/>
              <a:gd name="T5" fmla="*/ 178 h 232"/>
              <a:gd name="T6" fmla="*/ 167 w 213"/>
              <a:gd name="T7" fmla="*/ 232 h 232"/>
              <a:gd name="T8" fmla="*/ 28 w 213"/>
              <a:gd name="T9" fmla="*/ 157 h 232"/>
              <a:gd name="T10" fmla="*/ 39 w 213"/>
              <a:gd name="T11" fmla="*/ 0 h 232"/>
              <a:gd name="T12" fmla="*/ 192 w 213"/>
              <a:gd name="T13" fmla="*/ 94 h 232"/>
            </a:gdLst>
            <a:ahLst/>
            <a:cxnLst>
              <a:cxn ang="0">
                <a:pos x="T0" y="T1"/>
              </a:cxn>
              <a:cxn ang="0">
                <a:pos x="T2" y="T3"/>
              </a:cxn>
              <a:cxn ang="0">
                <a:pos x="T4" y="T5"/>
              </a:cxn>
              <a:cxn ang="0">
                <a:pos x="T6" y="T7"/>
              </a:cxn>
              <a:cxn ang="0">
                <a:pos x="T8" y="T9"/>
              </a:cxn>
              <a:cxn ang="0">
                <a:pos x="T10" y="T11"/>
              </a:cxn>
              <a:cxn ang="0">
                <a:pos x="T12" y="T13"/>
              </a:cxn>
            </a:cxnLst>
            <a:rect l="0" t="0" r="r" b="b"/>
            <a:pathLst>
              <a:path w="213" h="232">
                <a:moveTo>
                  <a:pt x="192" y="94"/>
                </a:moveTo>
                <a:cubicBezTo>
                  <a:pt x="185" y="105"/>
                  <a:pt x="180" y="120"/>
                  <a:pt x="177" y="135"/>
                </a:cubicBezTo>
                <a:cubicBezTo>
                  <a:pt x="173" y="149"/>
                  <a:pt x="171" y="164"/>
                  <a:pt x="170" y="178"/>
                </a:cubicBezTo>
                <a:cubicBezTo>
                  <a:pt x="167" y="208"/>
                  <a:pt x="167" y="232"/>
                  <a:pt x="167" y="232"/>
                </a:cubicBezTo>
                <a:cubicBezTo>
                  <a:pt x="167" y="232"/>
                  <a:pt x="0" y="196"/>
                  <a:pt x="28" y="157"/>
                </a:cubicBezTo>
                <a:cubicBezTo>
                  <a:pt x="55" y="118"/>
                  <a:pt x="39" y="0"/>
                  <a:pt x="39" y="0"/>
                </a:cubicBezTo>
                <a:cubicBezTo>
                  <a:pt x="39" y="0"/>
                  <a:pt x="213" y="58"/>
                  <a:pt x="192" y="94"/>
                </a:cubicBezTo>
                <a:close/>
              </a:path>
            </a:pathLst>
          </a:custGeom>
          <a:solidFill>
            <a:srgbClr val="EEA9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60">
            <a:extLst>
              <a:ext uri="{FF2B5EF4-FFF2-40B4-BE49-F238E27FC236}">
                <a16:creationId xmlns:a16="http://schemas.microsoft.com/office/drawing/2014/main" id="{C2EAAE28-AC18-4F97-BC43-CF912C8EC2D2}"/>
              </a:ext>
            </a:extLst>
          </p:cNvPr>
          <p:cNvSpPr>
            <a:spLocks/>
          </p:cNvSpPr>
          <p:nvPr/>
        </p:nvSpPr>
        <p:spPr bwMode="auto">
          <a:xfrm>
            <a:off x="5475884" y="3746473"/>
            <a:ext cx="361950" cy="363538"/>
          </a:xfrm>
          <a:custGeom>
            <a:avLst/>
            <a:gdLst>
              <a:gd name="T0" fmla="*/ 372 w 432"/>
              <a:gd name="T1" fmla="*/ 38 h 434"/>
              <a:gd name="T2" fmla="*/ 396 w 432"/>
              <a:gd name="T3" fmla="*/ 182 h 434"/>
              <a:gd name="T4" fmla="*/ 419 w 432"/>
              <a:gd name="T5" fmla="*/ 282 h 434"/>
              <a:gd name="T6" fmla="*/ 379 w 432"/>
              <a:gd name="T7" fmla="*/ 313 h 434"/>
              <a:gd name="T8" fmla="*/ 330 w 432"/>
              <a:gd name="T9" fmla="*/ 404 h 434"/>
              <a:gd name="T10" fmla="*/ 123 w 432"/>
              <a:gd name="T11" fmla="*/ 292 h 434"/>
              <a:gd name="T12" fmla="*/ 182 w 432"/>
              <a:gd name="T13" fmla="*/ 10 h 434"/>
              <a:gd name="T14" fmla="*/ 372 w 432"/>
              <a:gd name="T15" fmla="*/ 38 h 4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434">
                <a:moveTo>
                  <a:pt x="372" y="38"/>
                </a:moveTo>
                <a:cubicBezTo>
                  <a:pt x="372" y="38"/>
                  <a:pt x="415" y="75"/>
                  <a:pt x="396" y="182"/>
                </a:cubicBezTo>
                <a:cubicBezTo>
                  <a:pt x="396" y="182"/>
                  <a:pt x="406" y="267"/>
                  <a:pt x="419" y="282"/>
                </a:cubicBezTo>
                <a:cubicBezTo>
                  <a:pt x="432" y="297"/>
                  <a:pt x="384" y="302"/>
                  <a:pt x="379" y="313"/>
                </a:cubicBezTo>
                <a:cubicBezTo>
                  <a:pt x="373" y="324"/>
                  <a:pt x="364" y="374"/>
                  <a:pt x="330" y="404"/>
                </a:cubicBezTo>
                <a:cubicBezTo>
                  <a:pt x="297" y="434"/>
                  <a:pt x="131" y="343"/>
                  <a:pt x="123" y="292"/>
                </a:cubicBezTo>
                <a:cubicBezTo>
                  <a:pt x="115" y="240"/>
                  <a:pt x="0" y="20"/>
                  <a:pt x="182" y="10"/>
                </a:cubicBezTo>
                <a:cubicBezTo>
                  <a:pt x="364" y="0"/>
                  <a:pt x="372" y="38"/>
                  <a:pt x="372" y="38"/>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61">
            <a:extLst>
              <a:ext uri="{FF2B5EF4-FFF2-40B4-BE49-F238E27FC236}">
                <a16:creationId xmlns:a16="http://schemas.microsoft.com/office/drawing/2014/main" id="{3720F63E-F693-4271-9120-4D5BC9442024}"/>
              </a:ext>
            </a:extLst>
          </p:cNvPr>
          <p:cNvSpPr>
            <a:spLocks/>
          </p:cNvSpPr>
          <p:nvPr/>
        </p:nvSpPr>
        <p:spPr bwMode="auto">
          <a:xfrm>
            <a:off x="5525097" y="4106835"/>
            <a:ext cx="393700" cy="777875"/>
          </a:xfrm>
          <a:custGeom>
            <a:avLst/>
            <a:gdLst>
              <a:gd name="T0" fmla="*/ 427 w 468"/>
              <a:gd name="T1" fmla="*/ 398 h 929"/>
              <a:gd name="T2" fmla="*/ 435 w 468"/>
              <a:gd name="T3" fmla="*/ 587 h 929"/>
              <a:gd name="T4" fmla="*/ 457 w 468"/>
              <a:gd name="T5" fmla="*/ 825 h 929"/>
              <a:gd name="T6" fmla="*/ 460 w 468"/>
              <a:gd name="T7" fmla="*/ 841 h 929"/>
              <a:gd name="T8" fmla="*/ 29 w 468"/>
              <a:gd name="T9" fmla="*/ 921 h 929"/>
              <a:gd name="T10" fmla="*/ 65 w 468"/>
              <a:gd name="T11" fmla="*/ 823 h 929"/>
              <a:gd name="T12" fmla="*/ 96 w 468"/>
              <a:gd name="T13" fmla="*/ 597 h 929"/>
              <a:gd name="T14" fmla="*/ 96 w 468"/>
              <a:gd name="T15" fmla="*/ 597 h 929"/>
              <a:gd name="T16" fmla="*/ 62 w 468"/>
              <a:gd name="T17" fmla="*/ 463 h 929"/>
              <a:gd name="T18" fmla="*/ 14 w 468"/>
              <a:gd name="T19" fmla="*/ 130 h 929"/>
              <a:gd name="T20" fmla="*/ 48 w 468"/>
              <a:gd name="T21" fmla="*/ 0 h 929"/>
              <a:gd name="T22" fmla="*/ 201 w 468"/>
              <a:gd name="T23" fmla="*/ 16 h 929"/>
              <a:gd name="T24" fmla="*/ 354 w 468"/>
              <a:gd name="T25" fmla="*/ 153 h 929"/>
              <a:gd name="T26" fmla="*/ 427 w 468"/>
              <a:gd name="T27" fmla="*/ 398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8" h="929">
                <a:moveTo>
                  <a:pt x="427" y="398"/>
                </a:moveTo>
                <a:cubicBezTo>
                  <a:pt x="423" y="408"/>
                  <a:pt x="436" y="573"/>
                  <a:pt x="435" y="587"/>
                </a:cubicBezTo>
                <a:cubicBezTo>
                  <a:pt x="429" y="665"/>
                  <a:pt x="449" y="783"/>
                  <a:pt x="457" y="825"/>
                </a:cubicBezTo>
                <a:cubicBezTo>
                  <a:pt x="459" y="836"/>
                  <a:pt x="460" y="841"/>
                  <a:pt x="460" y="841"/>
                </a:cubicBezTo>
                <a:cubicBezTo>
                  <a:pt x="279" y="929"/>
                  <a:pt x="29" y="921"/>
                  <a:pt x="29" y="921"/>
                </a:cubicBezTo>
                <a:cubicBezTo>
                  <a:pt x="30" y="914"/>
                  <a:pt x="65" y="830"/>
                  <a:pt x="65" y="823"/>
                </a:cubicBezTo>
                <a:cubicBezTo>
                  <a:pt x="80" y="717"/>
                  <a:pt x="102" y="669"/>
                  <a:pt x="96" y="597"/>
                </a:cubicBezTo>
                <a:cubicBezTo>
                  <a:pt x="96" y="597"/>
                  <a:pt x="96" y="597"/>
                  <a:pt x="96" y="597"/>
                </a:cubicBezTo>
                <a:cubicBezTo>
                  <a:pt x="93" y="557"/>
                  <a:pt x="83" y="515"/>
                  <a:pt x="62" y="463"/>
                </a:cubicBezTo>
                <a:cubicBezTo>
                  <a:pt x="0" y="313"/>
                  <a:pt x="4" y="212"/>
                  <a:pt x="14" y="130"/>
                </a:cubicBezTo>
                <a:cubicBezTo>
                  <a:pt x="24" y="47"/>
                  <a:pt x="48" y="0"/>
                  <a:pt x="48" y="0"/>
                </a:cubicBezTo>
                <a:cubicBezTo>
                  <a:pt x="201" y="16"/>
                  <a:pt x="201" y="16"/>
                  <a:pt x="201" y="16"/>
                </a:cubicBezTo>
                <a:cubicBezTo>
                  <a:pt x="233" y="52"/>
                  <a:pt x="262" y="71"/>
                  <a:pt x="354" y="153"/>
                </a:cubicBezTo>
                <a:cubicBezTo>
                  <a:pt x="451" y="240"/>
                  <a:pt x="468" y="266"/>
                  <a:pt x="427" y="398"/>
                </a:cubicBezTo>
                <a:close/>
              </a:path>
            </a:pathLst>
          </a:custGeom>
          <a:solidFill>
            <a:srgbClr val="01CB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62">
            <a:extLst>
              <a:ext uri="{FF2B5EF4-FFF2-40B4-BE49-F238E27FC236}">
                <a16:creationId xmlns:a16="http://schemas.microsoft.com/office/drawing/2014/main" id="{7E0B1D03-BEF8-4A98-ADC8-154531884DA6}"/>
              </a:ext>
            </a:extLst>
          </p:cNvPr>
          <p:cNvSpPr>
            <a:spLocks/>
          </p:cNvSpPr>
          <p:nvPr/>
        </p:nvSpPr>
        <p:spPr bwMode="auto">
          <a:xfrm>
            <a:off x="5504459" y="6097560"/>
            <a:ext cx="312738" cy="150813"/>
          </a:xfrm>
          <a:custGeom>
            <a:avLst/>
            <a:gdLst>
              <a:gd name="T0" fmla="*/ 20 w 373"/>
              <a:gd name="T1" fmla="*/ 35 h 180"/>
              <a:gd name="T2" fmla="*/ 111 w 373"/>
              <a:gd name="T3" fmla="*/ 8 h 180"/>
              <a:gd name="T4" fmla="*/ 126 w 373"/>
              <a:gd name="T5" fmla="*/ 5 h 180"/>
              <a:gd name="T6" fmla="*/ 155 w 373"/>
              <a:gd name="T7" fmla="*/ 34 h 180"/>
              <a:gd name="T8" fmla="*/ 280 w 373"/>
              <a:gd name="T9" fmla="*/ 81 h 180"/>
              <a:gd name="T10" fmla="*/ 364 w 373"/>
              <a:gd name="T11" fmla="*/ 130 h 180"/>
              <a:gd name="T12" fmla="*/ 265 w 373"/>
              <a:gd name="T13" fmla="*/ 172 h 180"/>
              <a:gd name="T14" fmla="*/ 23 w 373"/>
              <a:gd name="T15" fmla="*/ 168 h 180"/>
              <a:gd name="T16" fmla="*/ 20 w 373"/>
              <a:gd name="T17" fmla="*/ 3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3" h="180">
                <a:moveTo>
                  <a:pt x="20" y="35"/>
                </a:moveTo>
                <a:cubicBezTo>
                  <a:pt x="20" y="35"/>
                  <a:pt x="108" y="10"/>
                  <a:pt x="111" y="8"/>
                </a:cubicBezTo>
                <a:cubicBezTo>
                  <a:pt x="113" y="5"/>
                  <a:pt x="114" y="0"/>
                  <a:pt x="126" y="5"/>
                </a:cubicBezTo>
                <a:cubicBezTo>
                  <a:pt x="138" y="10"/>
                  <a:pt x="143" y="28"/>
                  <a:pt x="155" y="34"/>
                </a:cubicBezTo>
                <a:cubicBezTo>
                  <a:pt x="167" y="40"/>
                  <a:pt x="240" y="61"/>
                  <a:pt x="280" y="81"/>
                </a:cubicBezTo>
                <a:cubicBezTo>
                  <a:pt x="294" y="88"/>
                  <a:pt x="355" y="111"/>
                  <a:pt x="364" y="130"/>
                </a:cubicBezTo>
                <a:cubicBezTo>
                  <a:pt x="373" y="150"/>
                  <a:pt x="370" y="179"/>
                  <a:pt x="265" y="172"/>
                </a:cubicBezTo>
                <a:cubicBezTo>
                  <a:pt x="161" y="165"/>
                  <a:pt x="46" y="180"/>
                  <a:pt x="23" y="168"/>
                </a:cubicBezTo>
                <a:cubicBezTo>
                  <a:pt x="0" y="157"/>
                  <a:pt x="14" y="66"/>
                  <a:pt x="20" y="35"/>
                </a:cubicBezTo>
                <a:close/>
              </a:path>
            </a:pathLst>
          </a:custGeom>
          <a:solidFill>
            <a:srgbClr val="6601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63">
            <a:extLst>
              <a:ext uri="{FF2B5EF4-FFF2-40B4-BE49-F238E27FC236}">
                <a16:creationId xmlns:a16="http://schemas.microsoft.com/office/drawing/2014/main" id="{664DEF5D-E2B1-436E-BAC0-493CC93720CB}"/>
              </a:ext>
            </a:extLst>
          </p:cNvPr>
          <p:cNvSpPr>
            <a:spLocks/>
          </p:cNvSpPr>
          <p:nvPr/>
        </p:nvSpPr>
        <p:spPr bwMode="auto">
          <a:xfrm>
            <a:off x="5467947" y="3681385"/>
            <a:ext cx="360363" cy="334963"/>
          </a:xfrm>
          <a:custGeom>
            <a:avLst/>
            <a:gdLst>
              <a:gd name="T0" fmla="*/ 410 w 430"/>
              <a:gd name="T1" fmla="*/ 222 h 401"/>
              <a:gd name="T2" fmla="*/ 215 w 430"/>
              <a:gd name="T3" fmla="*/ 40 h 401"/>
              <a:gd name="T4" fmla="*/ 140 w 430"/>
              <a:gd name="T5" fmla="*/ 401 h 401"/>
              <a:gd name="T6" fmla="*/ 240 w 430"/>
              <a:gd name="T7" fmla="*/ 275 h 401"/>
              <a:gd name="T8" fmla="*/ 410 w 430"/>
              <a:gd name="T9" fmla="*/ 222 h 401"/>
            </a:gdLst>
            <a:ahLst/>
            <a:cxnLst>
              <a:cxn ang="0">
                <a:pos x="T0" y="T1"/>
              </a:cxn>
              <a:cxn ang="0">
                <a:pos x="T2" y="T3"/>
              </a:cxn>
              <a:cxn ang="0">
                <a:pos x="T4" y="T5"/>
              </a:cxn>
              <a:cxn ang="0">
                <a:pos x="T6" y="T7"/>
              </a:cxn>
              <a:cxn ang="0">
                <a:pos x="T8" y="T9"/>
              </a:cxn>
            </a:cxnLst>
            <a:rect l="0" t="0" r="r" b="b"/>
            <a:pathLst>
              <a:path w="430" h="401">
                <a:moveTo>
                  <a:pt x="410" y="222"/>
                </a:moveTo>
                <a:cubicBezTo>
                  <a:pt x="410" y="222"/>
                  <a:pt x="430" y="0"/>
                  <a:pt x="215" y="40"/>
                </a:cubicBezTo>
                <a:cubicBezTo>
                  <a:pt x="0" y="80"/>
                  <a:pt x="111" y="322"/>
                  <a:pt x="140" y="401"/>
                </a:cubicBezTo>
                <a:cubicBezTo>
                  <a:pt x="140" y="401"/>
                  <a:pt x="136" y="279"/>
                  <a:pt x="240" y="275"/>
                </a:cubicBezTo>
                <a:cubicBezTo>
                  <a:pt x="343" y="271"/>
                  <a:pt x="365" y="247"/>
                  <a:pt x="410" y="222"/>
                </a:cubicBezTo>
                <a:close/>
              </a:path>
            </a:pathLst>
          </a:custGeom>
          <a:solidFill>
            <a:srgbClr val="4642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64">
            <a:extLst>
              <a:ext uri="{FF2B5EF4-FFF2-40B4-BE49-F238E27FC236}">
                <a16:creationId xmlns:a16="http://schemas.microsoft.com/office/drawing/2014/main" id="{96BB274C-F0A9-4CCC-96DD-137DDD41F7A8}"/>
              </a:ext>
            </a:extLst>
          </p:cNvPr>
          <p:cNvSpPr>
            <a:spLocks/>
          </p:cNvSpPr>
          <p:nvPr/>
        </p:nvSpPr>
        <p:spPr bwMode="auto">
          <a:xfrm>
            <a:off x="5606059" y="3865535"/>
            <a:ext cx="65088" cy="96838"/>
          </a:xfrm>
          <a:custGeom>
            <a:avLst/>
            <a:gdLst>
              <a:gd name="T0" fmla="*/ 58 w 77"/>
              <a:gd name="T1" fmla="*/ 22 h 115"/>
              <a:gd name="T2" fmla="*/ 5 w 77"/>
              <a:gd name="T3" fmla="*/ 46 h 115"/>
              <a:gd name="T4" fmla="*/ 58 w 77"/>
              <a:gd name="T5" fmla="*/ 98 h 115"/>
              <a:gd name="T6" fmla="*/ 58 w 77"/>
              <a:gd name="T7" fmla="*/ 22 h 115"/>
            </a:gdLst>
            <a:ahLst/>
            <a:cxnLst>
              <a:cxn ang="0">
                <a:pos x="T0" y="T1"/>
              </a:cxn>
              <a:cxn ang="0">
                <a:pos x="T2" y="T3"/>
              </a:cxn>
              <a:cxn ang="0">
                <a:pos x="T4" y="T5"/>
              </a:cxn>
              <a:cxn ang="0">
                <a:pos x="T6" y="T7"/>
              </a:cxn>
            </a:cxnLst>
            <a:rect l="0" t="0" r="r" b="b"/>
            <a:pathLst>
              <a:path w="77" h="115">
                <a:moveTo>
                  <a:pt x="58" y="22"/>
                </a:moveTo>
                <a:cubicBezTo>
                  <a:pt x="45" y="0"/>
                  <a:pt x="0" y="12"/>
                  <a:pt x="5" y="46"/>
                </a:cubicBezTo>
                <a:cubicBezTo>
                  <a:pt x="11" y="81"/>
                  <a:pt x="46" y="115"/>
                  <a:pt x="58" y="98"/>
                </a:cubicBezTo>
                <a:cubicBezTo>
                  <a:pt x="70" y="82"/>
                  <a:pt x="77" y="56"/>
                  <a:pt x="58" y="22"/>
                </a:cubicBezTo>
                <a:close/>
              </a:path>
            </a:pathLst>
          </a:custGeom>
          <a:solidFill>
            <a:srgbClr val="EEA9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65">
            <a:extLst>
              <a:ext uri="{FF2B5EF4-FFF2-40B4-BE49-F238E27FC236}">
                <a16:creationId xmlns:a16="http://schemas.microsoft.com/office/drawing/2014/main" id="{B9A4EFC1-1C88-457D-A37D-ADFAA29519FE}"/>
              </a:ext>
            </a:extLst>
          </p:cNvPr>
          <p:cNvSpPr>
            <a:spLocks/>
          </p:cNvSpPr>
          <p:nvPr/>
        </p:nvSpPr>
        <p:spPr bwMode="auto">
          <a:xfrm>
            <a:off x="5517159" y="4233835"/>
            <a:ext cx="549275" cy="357188"/>
          </a:xfrm>
          <a:custGeom>
            <a:avLst/>
            <a:gdLst>
              <a:gd name="T0" fmla="*/ 169 w 655"/>
              <a:gd name="T1" fmla="*/ 19 h 425"/>
              <a:gd name="T2" fmla="*/ 175 w 655"/>
              <a:gd name="T3" fmla="*/ 234 h 425"/>
              <a:gd name="T4" fmla="*/ 637 w 655"/>
              <a:gd name="T5" fmla="*/ 332 h 425"/>
              <a:gd name="T6" fmla="*/ 655 w 655"/>
              <a:gd name="T7" fmla="*/ 387 h 425"/>
              <a:gd name="T8" fmla="*/ 58 w 655"/>
              <a:gd name="T9" fmla="*/ 323 h 425"/>
              <a:gd name="T10" fmla="*/ 22 w 655"/>
              <a:gd name="T11" fmla="*/ 0 h 425"/>
              <a:gd name="T12" fmla="*/ 169 w 655"/>
              <a:gd name="T13" fmla="*/ 19 h 425"/>
            </a:gdLst>
            <a:ahLst/>
            <a:cxnLst>
              <a:cxn ang="0">
                <a:pos x="T0" y="T1"/>
              </a:cxn>
              <a:cxn ang="0">
                <a:pos x="T2" y="T3"/>
              </a:cxn>
              <a:cxn ang="0">
                <a:pos x="T4" y="T5"/>
              </a:cxn>
              <a:cxn ang="0">
                <a:pos x="T6" y="T7"/>
              </a:cxn>
              <a:cxn ang="0">
                <a:pos x="T8" y="T9"/>
              </a:cxn>
              <a:cxn ang="0">
                <a:pos x="T10" y="T11"/>
              </a:cxn>
              <a:cxn ang="0">
                <a:pos x="T12" y="T13"/>
              </a:cxn>
            </a:cxnLst>
            <a:rect l="0" t="0" r="r" b="b"/>
            <a:pathLst>
              <a:path w="655" h="425">
                <a:moveTo>
                  <a:pt x="169" y="19"/>
                </a:moveTo>
                <a:cubicBezTo>
                  <a:pt x="169" y="19"/>
                  <a:pt x="151" y="209"/>
                  <a:pt x="175" y="234"/>
                </a:cubicBezTo>
                <a:cubicBezTo>
                  <a:pt x="269" y="330"/>
                  <a:pt x="637" y="332"/>
                  <a:pt x="637" y="332"/>
                </a:cubicBezTo>
                <a:cubicBezTo>
                  <a:pt x="655" y="387"/>
                  <a:pt x="655" y="387"/>
                  <a:pt x="655" y="387"/>
                </a:cubicBezTo>
                <a:cubicBezTo>
                  <a:pt x="655" y="387"/>
                  <a:pt x="107" y="425"/>
                  <a:pt x="58" y="323"/>
                </a:cubicBezTo>
                <a:cubicBezTo>
                  <a:pt x="0" y="200"/>
                  <a:pt x="22" y="0"/>
                  <a:pt x="22" y="0"/>
                </a:cubicBezTo>
                <a:lnTo>
                  <a:pt x="169" y="19"/>
                </a:lnTo>
                <a:close/>
              </a:path>
            </a:pathLst>
          </a:custGeom>
          <a:solidFill>
            <a:srgbClr val="EEA9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66">
            <a:extLst>
              <a:ext uri="{FF2B5EF4-FFF2-40B4-BE49-F238E27FC236}">
                <a16:creationId xmlns:a16="http://schemas.microsoft.com/office/drawing/2014/main" id="{B7EB913B-76E7-49F1-80F1-9AC2A1A8680B}"/>
              </a:ext>
            </a:extLst>
          </p:cNvPr>
          <p:cNvSpPr>
            <a:spLocks/>
          </p:cNvSpPr>
          <p:nvPr/>
        </p:nvSpPr>
        <p:spPr bwMode="auto">
          <a:xfrm>
            <a:off x="5421909" y="3694085"/>
            <a:ext cx="195263" cy="255588"/>
          </a:xfrm>
          <a:custGeom>
            <a:avLst/>
            <a:gdLst>
              <a:gd name="T0" fmla="*/ 201 w 233"/>
              <a:gd name="T1" fmla="*/ 80 h 306"/>
              <a:gd name="T2" fmla="*/ 59 w 233"/>
              <a:gd name="T3" fmla="*/ 90 h 306"/>
              <a:gd name="T4" fmla="*/ 181 w 233"/>
              <a:gd name="T5" fmla="*/ 231 h 306"/>
              <a:gd name="T6" fmla="*/ 201 w 233"/>
              <a:gd name="T7" fmla="*/ 80 h 306"/>
            </a:gdLst>
            <a:ahLst/>
            <a:cxnLst>
              <a:cxn ang="0">
                <a:pos x="T0" y="T1"/>
              </a:cxn>
              <a:cxn ang="0">
                <a:pos x="T2" y="T3"/>
              </a:cxn>
              <a:cxn ang="0">
                <a:pos x="T4" y="T5"/>
              </a:cxn>
              <a:cxn ang="0">
                <a:pos x="T6" y="T7"/>
              </a:cxn>
            </a:cxnLst>
            <a:rect l="0" t="0" r="r" b="b"/>
            <a:pathLst>
              <a:path w="233" h="306">
                <a:moveTo>
                  <a:pt x="201" y="80"/>
                </a:moveTo>
                <a:cubicBezTo>
                  <a:pt x="201" y="80"/>
                  <a:pt x="118" y="0"/>
                  <a:pt x="59" y="90"/>
                </a:cubicBezTo>
                <a:cubicBezTo>
                  <a:pt x="0" y="180"/>
                  <a:pt x="129" y="306"/>
                  <a:pt x="181" y="231"/>
                </a:cubicBezTo>
                <a:cubicBezTo>
                  <a:pt x="233" y="157"/>
                  <a:pt x="201" y="80"/>
                  <a:pt x="201" y="80"/>
                </a:cubicBezTo>
                <a:close/>
              </a:path>
            </a:pathLst>
          </a:custGeom>
          <a:solidFill>
            <a:srgbClr val="4642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67">
            <a:extLst>
              <a:ext uri="{FF2B5EF4-FFF2-40B4-BE49-F238E27FC236}">
                <a16:creationId xmlns:a16="http://schemas.microsoft.com/office/drawing/2014/main" id="{FF8024B1-0892-41FC-9622-675B731071FA}"/>
              </a:ext>
            </a:extLst>
          </p:cNvPr>
          <p:cNvSpPr>
            <a:spLocks/>
          </p:cNvSpPr>
          <p:nvPr/>
        </p:nvSpPr>
        <p:spPr bwMode="auto">
          <a:xfrm>
            <a:off x="5609234" y="4032223"/>
            <a:ext cx="87313" cy="85725"/>
          </a:xfrm>
          <a:custGeom>
            <a:avLst/>
            <a:gdLst>
              <a:gd name="T0" fmla="*/ 104 w 104"/>
              <a:gd name="T1" fmla="*/ 60 h 103"/>
              <a:gd name="T2" fmla="*/ 97 w 104"/>
              <a:gd name="T3" fmla="*/ 103 h 103"/>
              <a:gd name="T4" fmla="*/ 0 w 104"/>
              <a:gd name="T5" fmla="*/ 0 h 103"/>
              <a:gd name="T6" fmla="*/ 104 w 104"/>
              <a:gd name="T7" fmla="*/ 60 h 103"/>
              <a:gd name="T8" fmla="*/ 104 w 104"/>
              <a:gd name="T9" fmla="*/ 60 h 103"/>
            </a:gdLst>
            <a:ahLst/>
            <a:cxnLst>
              <a:cxn ang="0">
                <a:pos x="T0" y="T1"/>
              </a:cxn>
              <a:cxn ang="0">
                <a:pos x="T2" y="T3"/>
              </a:cxn>
              <a:cxn ang="0">
                <a:pos x="T4" y="T5"/>
              </a:cxn>
              <a:cxn ang="0">
                <a:pos x="T6" y="T7"/>
              </a:cxn>
              <a:cxn ang="0">
                <a:pos x="T8" y="T9"/>
              </a:cxn>
            </a:cxnLst>
            <a:rect l="0" t="0" r="r" b="b"/>
            <a:pathLst>
              <a:path w="104" h="103">
                <a:moveTo>
                  <a:pt x="104" y="60"/>
                </a:moveTo>
                <a:cubicBezTo>
                  <a:pt x="100" y="74"/>
                  <a:pt x="98" y="89"/>
                  <a:pt x="97" y="103"/>
                </a:cubicBezTo>
                <a:cubicBezTo>
                  <a:pt x="41" y="77"/>
                  <a:pt x="0" y="0"/>
                  <a:pt x="0" y="0"/>
                </a:cubicBezTo>
                <a:cubicBezTo>
                  <a:pt x="40" y="35"/>
                  <a:pt x="104" y="60"/>
                  <a:pt x="104" y="60"/>
                </a:cubicBezTo>
                <a:cubicBezTo>
                  <a:pt x="104" y="60"/>
                  <a:pt x="104" y="60"/>
                  <a:pt x="104" y="60"/>
                </a:cubicBezTo>
                <a:close/>
              </a:path>
            </a:pathLst>
          </a:custGeom>
          <a:solidFill>
            <a:srgbClr val="A778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68">
            <a:extLst>
              <a:ext uri="{FF2B5EF4-FFF2-40B4-BE49-F238E27FC236}">
                <a16:creationId xmlns:a16="http://schemas.microsoft.com/office/drawing/2014/main" id="{D0ADE906-2141-4E17-91E4-48C1963C383B}"/>
              </a:ext>
            </a:extLst>
          </p:cNvPr>
          <p:cNvSpPr>
            <a:spLocks noChangeArrowheads="1"/>
          </p:cNvSpPr>
          <p:nvPr/>
        </p:nvSpPr>
        <p:spPr bwMode="auto">
          <a:xfrm>
            <a:off x="5923559" y="4559273"/>
            <a:ext cx="438150" cy="23813"/>
          </a:xfrm>
          <a:prstGeom prst="rect">
            <a:avLst/>
          </a:prstGeom>
          <a:solidFill>
            <a:srgbClr val="6E67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9">
            <a:extLst>
              <a:ext uri="{FF2B5EF4-FFF2-40B4-BE49-F238E27FC236}">
                <a16:creationId xmlns:a16="http://schemas.microsoft.com/office/drawing/2014/main" id="{BCAF455F-2FF8-4710-A6B2-038EC328ED0D}"/>
              </a:ext>
            </a:extLst>
          </p:cNvPr>
          <p:cNvSpPr>
            <a:spLocks/>
          </p:cNvSpPr>
          <p:nvPr/>
        </p:nvSpPr>
        <p:spPr bwMode="auto">
          <a:xfrm>
            <a:off x="6339484" y="4181448"/>
            <a:ext cx="219075" cy="401638"/>
          </a:xfrm>
          <a:custGeom>
            <a:avLst/>
            <a:gdLst>
              <a:gd name="T0" fmla="*/ 138 w 138"/>
              <a:gd name="T1" fmla="*/ 7 h 253"/>
              <a:gd name="T2" fmla="*/ 14 w 138"/>
              <a:gd name="T3" fmla="*/ 253 h 253"/>
              <a:gd name="T4" fmla="*/ 0 w 138"/>
              <a:gd name="T5" fmla="*/ 246 h 253"/>
              <a:gd name="T6" fmla="*/ 124 w 138"/>
              <a:gd name="T7" fmla="*/ 0 h 253"/>
              <a:gd name="T8" fmla="*/ 138 w 138"/>
              <a:gd name="T9" fmla="*/ 7 h 253"/>
            </a:gdLst>
            <a:ahLst/>
            <a:cxnLst>
              <a:cxn ang="0">
                <a:pos x="T0" y="T1"/>
              </a:cxn>
              <a:cxn ang="0">
                <a:pos x="T2" y="T3"/>
              </a:cxn>
              <a:cxn ang="0">
                <a:pos x="T4" y="T5"/>
              </a:cxn>
              <a:cxn ang="0">
                <a:pos x="T6" y="T7"/>
              </a:cxn>
              <a:cxn ang="0">
                <a:pos x="T8" y="T9"/>
              </a:cxn>
            </a:cxnLst>
            <a:rect l="0" t="0" r="r" b="b"/>
            <a:pathLst>
              <a:path w="138" h="253">
                <a:moveTo>
                  <a:pt x="138" y="7"/>
                </a:moveTo>
                <a:lnTo>
                  <a:pt x="14" y="253"/>
                </a:lnTo>
                <a:lnTo>
                  <a:pt x="0" y="246"/>
                </a:lnTo>
                <a:lnTo>
                  <a:pt x="124" y="0"/>
                </a:lnTo>
                <a:lnTo>
                  <a:pt x="138" y="7"/>
                </a:lnTo>
                <a:close/>
              </a:path>
            </a:pathLst>
          </a:custGeom>
          <a:solidFill>
            <a:srgbClr val="6E67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70">
            <a:extLst>
              <a:ext uri="{FF2B5EF4-FFF2-40B4-BE49-F238E27FC236}">
                <a16:creationId xmlns:a16="http://schemas.microsoft.com/office/drawing/2014/main" id="{337701D1-2CBB-421B-87DD-406C3D845E6D}"/>
              </a:ext>
            </a:extLst>
          </p:cNvPr>
          <p:cNvSpPr>
            <a:spLocks/>
          </p:cNvSpPr>
          <p:nvPr/>
        </p:nvSpPr>
        <p:spPr bwMode="auto">
          <a:xfrm>
            <a:off x="5972772" y="4483073"/>
            <a:ext cx="241300" cy="76200"/>
          </a:xfrm>
          <a:custGeom>
            <a:avLst/>
            <a:gdLst>
              <a:gd name="T0" fmla="*/ 17 w 287"/>
              <a:gd name="T1" fmla="*/ 36 h 91"/>
              <a:gd name="T2" fmla="*/ 116 w 287"/>
              <a:gd name="T3" fmla="*/ 15 h 91"/>
              <a:gd name="T4" fmla="*/ 285 w 287"/>
              <a:gd name="T5" fmla="*/ 71 h 91"/>
              <a:gd name="T6" fmla="*/ 285 w 287"/>
              <a:gd name="T7" fmla="*/ 91 h 91"/>
              <a:gd name="T8" fmla="*/ 0 w 287"/>
              <a:gd name="T9" fmla="*/ 91 h 91"/>
              <a:gd name="T10" fmla="*/ 17 w 287"/>
              <a:gd name="T11" fmla="*/ 36 h 91"/>
            </a:gdLst>
            <a:ahLst/>
            <a:cxnLst>
              <a:cxn ang="0">
                <a:pos x="T0" y="T1"/>
              </a:cxn>
              <a:cxn ang="0">
                <a:pos x="T2" y="T3"/>
              </a:cxn>
              <a:cxn ang="0">
                <a:pos x="T4" y="T5"/>
              </a:cxn>
              <a:cxn ang="0">
                <a:pos x="T6" y="T7"/>
              </a:cxn>
              <a:cxn ang="0">
                <a:pos x="T8" y="T9"/>
              </a:cxn>
              <a:cxn ang="0">
                <a:pos x="T10" y="T11"/>
              </a:cxn>
            </a:cxnLst>
            <a:rect l="0" t="0" r="r" b="b"/>
            <a:pathLst>
              <a:path w="287" h="91">
                <a:moveTo>
                  <a:pt x="17" y="36"/>
                </a:moveTo>
                <a:cubicBezTo>
                  <a:pt x="17" y="36"/>
                  <a:pt x="94" y="30"/>
                  <a:pt x="116" y="15"/>
                </a:cubicBezTo>
                <a:cubicBezTo>
                  <a:pt x="137" y="0"/>
                  <a:pt x="282" y="58"/>
                  <a:pt x="285" y="71"/>
                </a:cubicBezTo>
                <a:cubicBezTo>
                  <a:pt x="287" y="85"/>
                  <a:pt x="285" y="91"/>
                  <a:pt x="285" y="91"/>
                </a:cubicBezTo>
                <a:cubicBezTo>
                  <a:pt x="0" y="91"/>
                  <a:pt x="0" y="91"/>
                  <a:pt x="0" y="91"/>
                </a:cubicBezTo>
                <a:lnTo>
                  <a:pt x="17" y="36"/>
                </a:lnTo>
                <a:close/>
              </a:path>
            </a:pathLst>
          </a:custGeom>
          <a:solidFill>
            <a:srgbClr val="EEA9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71">
            <a:extLst>
              <a:ext uri="{FF2B5EF4-FFF2-40B4-BE49-F238E27FC236}">
                <a16:creationId xmlns:a16="http://schemas.microsoft.com/office/drawing/2014/main" id="{8DB328CB-325A-47C2-91BC-E37333DDB24B}"/>
              </a:ext>
            </a:extLst>
          </p:cNvPr>
          <p:cNvSpPr>
            <a:spLocks/>
          </p:cNvSpPr>
          <p:nvPr/>
        </p:nvSpPr>
        <p:spPr bwMode="auto">
          <a:xfrm>
            <a:off x="5566372" y="4081435"/>
            <a:ext cx="131763" cy="46038"/>
          </a:xfrm>
          <a:custGeom>
            <a:avLst/>
            <a:gdLst>
              <a:gd name="T0" fmla="*/ 0 w 83"/>
              <a:gd name="T1" fmla="*/ 16 h 29"/>
              <a:gd name="T2" fmla="*/ 5 w 83"/>
              <a:gd name="T3" fmla="*/ 0 h 29"/>
              <a:gd name="T4" fmla="*/ 83 w 83"/>
              <a:gd name="T5" fmla="*/ 16 h 29"/>
              <a:gd name="T6" fmla="*/ 83 w 83"/>
              <a:gd name="T7" fmla="*/ 29 h 29"/>
              <a:gd name="T8" fmla="*/ 0 w 83"/>
              <a:gd name="T9" fmla="*/ 16 h 29"/>
            </a:gdLst>
            <a:ahLst/>
            <a:cxnLst>
              <a:cxn ang="0">
                <a:pos x="T0" y="T1"/>
              </a:cxn>
              <a:cxn ang="0">
                <a:pos x="T2" y="T3"/>
              </a:cxn>
              <a:cxn ang="0">
                <a:pos x="T4" y="T5"/>
              </a:cxn>
              <a:cxn ang="0">
                <a:pos x="T6" y="T7"/>
              </a:cxn>
              <a:cxn ang="0">
                <a:pos x="T8" y="T9"/>
              </a:cxn>
            </a:cxnLst>
            <a:rect l="0" t="0" r="r" b="b"/>
            <a:pathLst>
              <a:path w="83" h="29">
                <a:moveTo>
                  <a:pt x="0" y="16"/>
                </a:moveTo>
                <a:lnTo>
                  <a:pt x="5" y="0"/>
                </a:lnTo>
                <a:lnTo>
                  <a:pt x="83" y="16"/>
                </a:lnTo>
                <a:lnTo>
                  <a:pt x="83" y="29"/>
                </a:lnTo>
                <a:lnTo>
                  <a:pt x="0" y="16"/>
                </a:lnTo>
                <a:close/>
              </a:path>
            </a:pathLst>
          </a:custGeom>
          <a:solidFill>
            <a:srgbClr val="01CB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72">
            <a:extLst>
              <a:ext uri="{FF2B5EF4-FFF2-40B4-BE49-F238E27FC236}">
                <a16:creationId xmlns:a16="http://schemas.microsoft.com/office/drawing/2014/main" id="{43D5D959-0C9D-442E-ABFC-381D817E39B6}"/>
              </a:ext>
            </a:extLst>
          </p:cNvPr>
          <p:cNvSpPr>
            <a:spLocks/>
          </p:cNvSpPr>
          <p:nvPr/>
        </p:nvSpPr>
        <p:spPr bwMode="auto">
          <a:xfrm>
            <a:off x="5536209" y="4143348"/>
            <a:ext cx="134938" cy="107950"/>
          </a:xfrm>
          <a:custGeom>
            <a:avLst/>
            <a:gdLst>
              <a:gd name="T0" fmla="*/ 146 w 162"/>
              <a:gd name="T1" fmla="*/ 129 h 129"/>
              <a:gd name="T2" fmla="*/ 85 w 162"/>
              <a:gd name="T3" fmla="*/ 9 h 129"/>
              <a:gd name="T4" fmla="*/ 0 w 162"/>
              <a:gd name="T5" fmla="*/ 108 h 129"/>
              <a:gd name="T6" fmla="*/ 146 w 162"/>
              <a:gd name="T7" fmla="*/ 129 h 129"/>
            </a:gdLst>
            <a:ahLst/>
            <a:cxnLst>
              <a:cxn ang="0">
                <a:pos x="T0" y="T1"/>
              </a:cxn>
              <a:cxn ang="0">
                <a:pos x="T2" y="T3"/>
              </a:cxn>
              <a:cxn ang="0">
                <a:pos x="T4" y="T5"/>
              </a:cxn>
              <a:cxn ang="0">
                <a:pos x="T6" y="T7"/>
              </a:cxn>
            </a:cxnLst>
            <a:rect l="0" t="0" r="r" b="b"/>
            <a:pathLst>
              <a:path w="162" h="129">
                <a:moveTo>
                  <a:pt x="146" y="129"/>
                </a:moveTo>
                <a:cubicBezTo>
                  <a:pt x="146" y="129"/>
                  <a:pt x="162" y="19"/>
                  <a:pt x="85" y="9"/>
                </a:cubicBezTo>
                <a:cubicBezTo>
                  <a:pt x="9" y="0"/>
                  <a:pt x="0" y="108"/>
                  <a:pt x="0" y="108"/>
                </a:cubicBezTo>
                <a:lnTo>
                  <a:pt x="146" y="129"/>
                </a:lnTo>
                <a:close/>
              </a:path>
            </a:pathLst>
          </a:custGeom>
          <a:solidFill>
            <a:srgbClr val="EEA9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73">
            <a:extLst>
              <a:ext uri="{FF2B5EF4-FFF2-40B4-BE49-F238E27FC236}">
                <a16:creationId xmlns:a16="http://schemas.microsoft.com/office/drawing/2014/main" id="{D12DC5AF-A65D-4567-B8CC-3089146F3F5F}"/>
              </a:ext>
            </a:extLst>
          </p:cNvPr>
          <p:cNvSpPr>
            <a:spLocks/>
          </p:cNvSpPr>
          <p:nvPr/>
        </p:nvSpPr>
        <p:spPr bwMode="auto">
          <a:xfrm>
            <a:off x="9851034" y="5984848"/>
            <a:ext cx="98425" cy="74613"/>
          </a:xfrm>
          <a:custGeom>
            <a:avLst/>
            <a:gdLst>
              <a:gd name="T0" fmla="*/ 0 w 117"/>
              <a:gd name="T1" fmla="*/ 9 h 90"/>
              <a:gd name="T2" fmla="*/ 10 w 117"/>
              <a:gd name="T3" fmla="*/ 81 h 90"/>
              <a:gd name="T4" fmla="*/ 109 w 117"/>
              <a:gd name="T5" fmla="*/ 76 h 90"/>
              <a:gd name="T6" fmla="*/ 117 w 117"/>
              <a:gd name="T7" fmla="*/ 1 h 90"/>
              <a:gd name="T8" fmla="*/ 0 w 117"/>
              <a:gd name="T9" fmla="*/ 9 h 90"/>
            </a:gdLst>
            <a:ahLst/>
            <a:cxnLst>
              <a:cxn ang="0">
                <a:pos x="T0" y="T1"/>
              </a:cxn>
              <a:cxn ang="0">
                <a:pos x="T2" y="T3"/>
              </a:cxn>
              <a:cxn ang="0">
                <a:pos x="T4" y="T5"/>
              </a:cxn>
              <a:cxn ang="0">
                <a:pos x="T6" y="T7"/>
              </a:cxn>
              <a:cxn ang="0">
                <a:pos x="T8" y="T9"/>
              </a:cxn>
            </a:cxnLst>
            <a:rect l="0" t="0" r="r" b="b"/>
            <a:pathLst>
              <a:path w="117" h="90">
                <a:moveTo>
                  <a:pt x="0" y="9"/>
                </a:moveTo>
                <a:cubicBezTo>
                  <a:pt x="0" y="9"/>
                  <a:pt x="9" y="72"/>
                  <a:pt x="10" y="81"/>
                </a:cubicBezTo>
                <a:cubicBezTo>
                  <a:pt x="11" y="90"/>
                  <a:pt x="109" y="76"/>
                  <a:pt x="109" y="76"/>
                </a:cubicBezTo>
                <a:cubicBezTo>
                  <a:pt x="117" y="1"/>
                  <a:pt x="117" y="1"/>
                  <a:pt x="117" y="1"/>
                </a:cubicBezTo>
                <a:cubicBezTo>
                  <a:pt x="117" y="1"/>
                  <a:pt x="12" y="0"/>
                  <a:pt x="0" y="9"/>
                </a:cubicBezTo>
                <a:close/>
              </a:path>
            </a:pathLst>
          </a:custGeom>
          <a:solidFill>
            <a:srgbClr val="5C5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74">
            <a:extLst>
              <a:ext uri="{FF2B5EF4-FFF2-40B4-BE49-F238E27FC236}">
                <a16:creationId xmlns:a16="http://schemas.microsoft.com/office/drawing/2014/main" id="{5B6EFBD4-46C1-4AA7-80CC-F89DBF0BEDAD}"/>
              </a:ext>
            </a:extLst>
          </p:cNvPr>
          <p:cNvSpPr>
            <a:spLocks/>
          </p:cNvSpPr>
          <p:nvPr/>
        </p:nvSpPr>
        <p:spPr bwMode="auto">
          <a:xfrm>
            <a:off x="9689109" y="6041998"/>
            <a:ext cx="282575" cy="142875"/>
          </a:xfrm>
          <a:custGeom>
            <a:avLst/>
            <a:gdLst>
              <a:gd name="T0" fmla="*/ 203 w 337"/>
              <a:gd name="T1" fmla="*/ 4 h 169"/>
              <a:gd name="T2" fmla="*/ 142 w 337"/>
              <a:gd name="T3" fmla="*/ 58 h 169"/>
              <a:gd name="T4" fmla="*/ 47 w 337"/>
              <a:gd name="T5" fmla="*/ 98 h 169"/>
              <a:gd name="T6" fmla="*/ 125 w 337"/>
              <a:gd name="T7" fmla="*/ 162 h 169"/>
              <a:gd name="T8" fmla="*/ 323 w 337"/>
              <a:gd name="T9" fmla="*/ 149 h 169"/>
              <a:gd name="T10" fmla="*/ 304 w 337"/>
              <a:gd name="T11" fmla="*/ 0 h 169"/>
              <a:gd name="T12" fmla="*/ 203 w 337"/>
              <a:gd name="T13" fmla="*/ 4 h 169"/>
            </a:gdLst>
            <a:ahLst/>
            <a:cxnLst>
              <a:cxn ang="0">
                <a:pos x="T0" y="T1"/>
              </a:cxn>
              <a:cxn ang="0">
                <a:pos x="T2" y="T3"/>
              </a:cxn>
              <a:cxn ang="0">
                <a:pos x="T4" y="T5"/>
              </a:cxn>
              <a:cxn ang="0">
                <a:pos x="T6" y="T7"/>
              </a:cxn>
              <a:cxn ang="0">
                <a:pos x="T8" y="T9"/>
              </a:cxn>
              <a:cxn ang="0">
                <a:pos x="T10" y="T11"/>
              </a:cxn>
              <a:cxn ang="0">
                <a:pos x="T12" y="T13"/>
              </a:cxn>
            </a:cxnLst>
            <a:rect l="0" t="0" r="r" b="b"/>
            <a:pathLst>
              <a:path w="337" h="169">
                <a:moveTo>
                  <a:pt x="203" y="4"/>
                </a:moveTo>
                <a:cubicBezTo>
                  <a:pt x="203" y="4"/>
                  <a:pt x="172" y="42"/>
                  <a:pt x="142" y="58"/>
                </a:cubicBezTo>
                <a:cubicBezTo>
                  <a:pt x="112" y="74"/>
                  <a:pt x="65" y="81"/>
                  <a:pt x="47" y="98"/>
                </a:cubicBezTo>
                <a:cubicBezTo>
                  <a:pt x="34" y="110"/>
                  <a:pt x="0" y="163"/>
                  <a:pt x="125" y="162"/>
                </a:cubicBezTo>
                <a:cubicBezTo>
                  <a:pt x="250" y="161"/>
                  <a:pt x="310" y="169"/>
                  <a:pt x="323" y="149"/>
                </a:cubicBezTo>
                <a:cubicBezTo>
                  <a:pt x="337" y="129"/>
                  <a:pt x="304" y="0"/>
                  <a:pt x="304" y="0"/>
                </a:cubicBezTo>
                <a:cubicBezTo>
                  <a:pt x="304" y="0"/>
                  <a:pt x="274" y="11"/>
                  <a:pt x="203" y="4"/>
                </a:cubicBezTo>
                <a:close/>
              </a:path>
            </a:pathLst>
          </a:custGeom>
          <a:solidFill>
            <a:srgbClr val="3C41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75">
            <a:extLst>
              <a:ext uri="{FF2B5EF4-FFF2-40B4-BE49-F238E27FC236}">
                <a16:creationId xmlns:a16="http://schemas.microsoft.com/office/drawing/2014/main" id="{B4E9BA2D-FD47-462C-9F9B-5AEAAF5B5CAE}"/>
              </a:ext>
            </a:extLst>
          </p:cNvPr>
          <p:cNvSpPr>
            <a:spLocks/>
          </p:cNvSpPr>
          <p:nvPr/>
        </p:nvSpPr>
        <p:spPr bwMode="auto">
          <a:xfrm>
            <a:off x="9263659" y="5984848"/>
            <a:ext cx="96838" cy="74613"/>
          </a:xfrm>
          <a:custGeom>
            <a:avLst/>
            <a:gdLst>
              <a:gd name="T0" fmla="*/ 0 w 117"/>
              <a:gd name="T1" fmla="*/ 9 h 90"/>
              <a:gd name="T2" fmla="*/ 10 w 117"/>
              <a:gd name="T3" fmla="*/ 81 h 90"/>
              <a:gd name="T4" fmla="*/ 109 w 117"/>
              <a:gd name="T5" fmla="*/ 76 h 90"/>
              <a:gd name="T6" fmla="*/ 117 w 117"/>
              <a:gd name="T7" fmla="*/ 1 h 90"/>
              <a:gd name="T8" fmla="*/ 0 w 117"/>
              <a:gd name="T9" fmla="*/ 9 h 90"/>
            </a:gdLst>
            <a:ahLst/>
            <a:cxnLst>
              <a:cxn ang="0">
                <a:pos x="T0" y="T1"/>
              </a:cxn>
              <a:cxn ang="0">
                <a:pos x="T2" y="T3"/>
              </a:cxn>
              <a:cxn ang="0">
                <a:pos x="T4" y="T5"/>
              </a:cxn>
              <a:cxn ang="0">
                <a:pos x="T6" y="T7"/>
              </a:cxn>
              <a:cxn ang="0">
                <a:pos x="T8" y="T9"/>
              </a:cxn>
            </a:cxnLst>
            <a:rect l="0" t="0" r="r" b="b"/>
            <a:pathLst>
              <a:path w="117" h="90">
                <a:moveTo>
                  <a:pt x="0" y="9"/>
                </a:moveTo>
                <a:cubicBezTo>
                  <a:pt x="0" y="9"/>
                  <a:pt x="9" y="72"/>
                  <a:pt x="10" y="81"/>
                </a:cubicBezTo>
                <a:cubicBezTo>
                  <a:pt x="11" y="90"/>
                  <a:pt x="109" y="76"/>
                  <a:pt x="109" y="76"/>
                </a:cubicBezTo>
                <a:cubicBezTo>
                  <a:pt x="117" y="1"/>
                  <a:pt x="117" y="1"/>
                  <a:pt x="117" y="1"/>
                </a:cubicBezTo>
                <a:cubicBezTo>
                  <a:pt x="117" y="1"/>
                  <a:pt x="13" y="0"/>
                  <a:pt x="0" y="9"/>
                </a:cubicBezTo>
                <a:close/>
              </a:path>
            </a:pathLst>
          </a:custGeom>
          <a:solidFill>
            <a:srgbClr val="5C5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76">
            <a:extLst>
              <a:ext uri="{FF2B5EF4-FFF2-40B4-BE49-F238E27FC236}">
                <a16:creationId xmlns:a16="http://schemas.microsoft.com/office/drawing/2014/main" id="{A7ACB213-9E90-4DF9-B131-5117D4A9E9DB}"/>
              </a:ext>
            </a:extLst>
          </p:cNvPr>
          <p:cNvSpPr>
            <a:spLocks/>
          </p:cNvSpPr>
          <p:nvPr/>
        </p:nvSpPr>
        <p:spPr bwMode="auto">
          <a:xfrm>
            <a:off x="9058872" y="6041998"/>
            <a:ext cx="323850" cy="142875"/>
          </a:xfrm>
          <a:custGeom>
            <a:avLst/>
            <a:gdLst>
              <a:gd name="T0" fmla="*/ 253 w 387"/>
              <a:gd name="T1" fmla="*/ 4 h 169"/>
              <a:gd name="T2" fmla="*/ 192 w 387"/>
              <a:gd name="T3" fmla="*/ 58 h 169"/>
              <a:gd name="T4" fmla="*/ 34 w 387"/>
              <a:gd name="T5" fmla="*/ 105 h 169"/>
              <a:gd name="T6" fmla="*/ 175 w 387"/>
              <a:gd name="T7" fmla="*/ 162 h 169"/>
              <a:gd name="T8" fmla="*/ 373 w 387"/>
              <a:gd name="T9" fmla="*/ 149 h 169"/>
              <a:gd name="T10" fmla="*/ 354 w 387"/>
              <a:gd name="T11" fmla="*/ 0 h 169"/>
              <a:gd name="T12" fmla="*/ 253 w 387"/>
              <a:gd name="T13" fmla="*/ 4 h 169"/>
            </a:gdLst>
            <a:ahLst/>
            <a:cxnLst>
              <a:cxn ang="0">
                <a:pos x="T0" y="T1"/>
              </a:cxn>
              <a:cxn ang="0">
                <a:pos x="T2" y="T3"/>
              </a:cxn>
              <a:cxn ang="0">
                <a:pos x="T4" y="T5"/>
              </a:cxn>
              <a:cxn ang="0">
                <a:pos x="T6" y="T7"/>
              </a:cxn>
              <a:cxn ang="0">
                <a:pos x="T8" y="T9"/>
              </a:cxn>
              <a:cxn ang="0">
                <a:pos x="T10" y="T11"/>
              </a:cxn>
              <a:cxn ang="0">
                <a:pos x="T12" y="T13"/>
              </a:cxn>
            </a:cxnLst>
            <a:rect l="0" t="0" r="r" b="b"/>
            <a:pathLst>
              <a:path w="387" h="169">
                <a:moveTo>
                  <a:pt x="253" y="4"/>
                </a:moveTo>
                <a:cubicBezTo>
                  <a:pt x="253" y="4"/>
                  <a:pt x="222" y="42"/>
                  <a:pt x="192" y="58"/>
                </a:cubicBezTo>
                <a:cubicBezTo>
                  <a:pt x="162" y="74"/>
                  <a:pt x="52" y="88"/>
                  <a:pt x="34" y="105"/>
                </a:cubicBezTo>
                <a:cubicBezTo>
                  <a:pt x="21" y="117"/>
                  <a:pt x="0" y="166"/>
                  <a:pt x="175" y="162"/>
                </a:cubicBezTo>
                <a:cubicBezTo>
                  <a:pt x="300" y="159"/>
                  <a:pt x="360" y="169"/>
                  <a:pt x="373" y="149"/>
                </a:cubicBezTo>
                <a:cubicBezTo>
                  <a:pt x="387" y="129"/>
                  <a:pt x="354" y="0"/>
                  <a:pt x="354" y="0"/>
                </a:cubicBezTo>
                <a:cubicBezTo>
                  <a:pt x="354" y="0"/>
                  <a:pt x="326" y="11"/>
                  <a:pt x="253" y="4"/>
                </a:cubicBezTo>
                <a:close/>
              </a:path>
            </a:pathLst>
          </a:custGeom>
          <a:solidFill>
            <a:srgbClr val="3C41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7">
            <a:extLst>
              <a:ext uri="{FF2B5EF4-FFF2-40B4-BE49-F238E27FC236}">
                <a16:creationId xmlns:a16="http://schemas.microsoft.com/office/drawing/2014/main" id="{D6061401-BBBA-45FF-8DC0-784CEAD1555E}"/>
              </a:ext>
            </a:extLst>
          </p:cNvPr>
          <p:cNvSpPr>
            <a:spLocks/>
          </p:cNvSpPr>
          <p:nvPr/>
        </p:nvSpPr>
        <p:spPr bwMode="auto">
          <a:xfrm>
            <a:off x="9592272" y="4643410"/>
            <a:ext cx="371475" cy="1393825"/>
          </a:xfrm>
          <a:custGeom>
            <a:avLst/>
            <a:gdLst>
              <a:gd name="T0" fmla="*/ 275 w 444"/>
              <a:gd name="T1" fmla="*/ 0 h 1665"/>
              <a:gd name="T2" fmla="*/ 321 w 444"/>
              <a:gd name="T3" fmla="*/ 288 h 1665"/>
              <a:gd name="T4" fmla="*/ 361 w 444"/>
              <a:gd name="T5" fmla="*/ 707 h 1665"/>
              <a:gd name="T6" fmla="*/ 442 w 444"/>
              <a:gd name="T7" fmla="*/ 1314 h 1665"/>
              <a:gd name="T8" fmla="*/ 432 w 444"/>
              <a:gd name="T9" fmla="*/ 1662 h 1665"/>
              <a:gd name="T10" fmla="*/ 306 w 444"/>
              <a:gd name="T11" fmla="*/ 1665 h 1665"/>
              <a:gd name="T12" fmla="*/ 173 w 444"/>
              <a:gd name="T13" fmla="*/ 956 h 1665"/>
              <a:gd name="T14" fmla="*/ 4 w 444"/>
              <a:gd name="T15" fmla="*/ 370 h 1665"/>
              <a:gd name="T16" fmla="*/ 275 w 444"/>
              <a:gd name="T17" fmla="*/ 0 h 1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4" h="1665">
                <a:moveTo>
                  <a:pt x="275" y="0"/>
                </a:moveTo>
                <a:cubicBezTo>
                  <a:pt x="275" y="0"/>
                  <a:pt x="327" y="155"/>
                  <a:pt x="321" y="288"/>
                </a:cubicBezTo>
                <a:cubicBezTo>
                  <a:pt x="314" y="422"/>
                  <a:pt x="348" y="568"/>
                  <a:pt x="361" y="707"/>
                </a:cubicBezTo>
                <a:cubicBezTo>
                  <a:pt x="377" y="863"/>
                  <a:pt x="440" y="1231"/>
                  <a:pt x="442" y="1314"/>
                </a:cubicBezTo>
                <a:cubicBezTo>
                  <a:pt x="444" y="1397"/>
                  <a:pt x="432" y="1662"/>
                  <a:pt x="432" y="1662"/>
                </a:cubicBezTo>
                <a:cubicBezTo>
                  <a:pt x="306" y="1665"/>
                  <a:pt x="306" y="1665"/>
                  <a:pt x="306" y="1665"/>
                </a:cubicBezTo>
                <a:cubicBezTo>
                  <a:pt x="306" y="1665"/>
                  <a:pt x="200" y="1022"/>
                  <a:pt x="173" y="956"/>
                </a:cubicBezTo>
                <a:cubicBezTo>
                  <a:pt x="145" y="891"/>
                  <a:pt x="9" y="423"/>
                  <a:pt x="4" y="370"/>
                </a:cubicBezTo>
                <a:cubicBezTo>
                  <a:pt x="0" y="318"/>
                  <a:pt x="275" y="0"/>
                  <a:pt x="275" y="0"/>
                </a:cubicBezTo>
                <a:close/>
              </a:path>
            </a:pathLst>
          </a:custGeom>
          <a:solidFill>
            <a:srgbClr val="333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78">
            <a:extLst>
              <a:ext uri="{FF2B5EF4-FFF2-40B4-BE49-F238E27FC236}">
                <a16:creationId xmlns:a16="http://schemas.microsoft.com/office/drawing/2014/main" id="{57E83EEC-CC03-4892-85B7-959234F61941}"/>
              </a:ext>
            </a:extLst>
          </p:cNvPr>
          <p:cNvSpPr>
            <a:spLocks/>
          </p:cNvSpPr>
          <p:nvPr/>
        </p:nvSpPr>
        <p:spPr bwMode="auto">
          <a:xfrm>
            <a:off x="9249372" y="4597373"/>
            <a:ext cx="573088" cy="1439863"/>
          </a:xfrm>
          <a:custGeom>
            <a:avLst/>
            <a:gdLst>
              <a:gd name="T0" fmla="*/ 153 w 684"/>
              <a:gd name="T1" fmla="*/ 83 h 1720"/>
              <a:gd name="T2" fmla="*/ 75 w 684"/>
              <a:gd name="T3" fmla="*/ 530 h 1720"/>
              <a:gd name="T4" fmla="*/ 55 w 684"/>
              <a:gd name="T5" fmla="*/ 976 h 1720"/>
              <a:gd name="T6" fmla="*/ 0 w 684"/>
              <a:gd name="T7" fmla="*/ 1720 h 1720"/>
              <a:gd name="T8" fmla="*/ 162 w 684"/>
              <a:gd name="T9" fmla="*/ 1720 h 1720"/>
              <a:gd name="T10" fmla="*/ 286 w 684"/>
              <a:gd name="T11" fmla="*/ 1060 h 1720"/>
              <a:gd name="T12" fmla="*/ 443 w 684"/>
              <a:gd name="T13" fmla="*/ 458 h 1720"/>
              <a:gd name="T14" fmla="*/ 684 w 684"/>
              <a:gd name="T15" fmla="*/ 55 h 1720"/>
              <a:gd name="T16" fmla="*/ 153 w 684"/>
              <a:gd name="T17" fmla="*/ 83 h 1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4" h="1720">
                <a:moveTo>
                  <a:pt x="153" y="83"/>
                </a:moveTo>
                <a:cubicBezTo>
                  <a:pt x="153" y="83"/>
                  <a:pt x="84" y="448"/>
                  <a:pt x="75" y="530"/>
                </a:cubicBezTo>
                <a:cubicBezTo>
                  <a:pt x="66" y="612"/>
                  <a:pt x="60" y="925"/>
                  <a:pt x="55" y="976"/>
                </a:cubicBezTo>
                <a:cubicBezTo>
                  <a:pt x="51" y="1028"/>
                  <a:pt x="25" y="1644"/>
                  <a:pt x="0" y="1720"/>
                </a:cubicBezTo>
                <a:cubicBezTo>
                  <a:pt x="162" y="1720"/>
                  <a:pt x="162" y="1720"/>
                  <a:pt x="162" y="1720"/>
                </a:cubicBezTo>
                <a:cubicBezTo>
                  <a:pt x="162" y="1720"/>
                  <a:pt x="286" y="1272"/>
                  <a:pt x="286" y="1060"/>
                </a:cubicBezTo>
                <a:cubicBezTo>
                  <a:pt x="286" y="847"/>
                  <a:pt x="381" y="598"/>
                  <a:pt x="443" y="458"/>
                </a:cubicBezTo>
                <a:cubicBezTo>
                  <a:pt x="505" y="318"/>
                  <a:pt x="646" y="315"/>
                  <a:pt x="684" y="55"/>
                </a:cubicBezTo>
                <a:cubicBezTo>
                  <a:pt x="684" y="55"/>
                  <a:pt x="205" y="0"/>
                  <a:pt x="153" y="83"/>
                </a:cubicBezTo>
                <a:close/>
              </a:path>
            </a:pathLst>
          </a:custGeom>
          <a:solidFill>
            <a:srgbClr val="3C41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79">
            <a:extLst>
              <a:ext uri="{FF2B5EF4-FFF2-40B4-BE49-F238E27FC236}">
                <a16:creationId xmlns:a16="http://schemas.microsoft.com/office/drawing/2014/main" id="{4FFBF5B8-F54B-4F6C-9A0F-22F2A29EA4F1}"/>
              </a:ext>
            </a:extLst>
          </p:cNvPr>
          <p:cNvSpPr>
            <a:spLocks/>
          </p:cNvSpPr>
          <p:nvPr/>
        </p:nvSpPr>
        <p:spPr bwMode="auto">
          <a:xfrm>
            <a:off x="9447809" y="3579785"/>
            <a:ext cx="273050" cy="365125"/>
          </a:xfrm>
          <a:custGeom>
            <a:avLst/>
            <a:gdLst>
              <a:gd name="T0" fmla="*/ 245 w 326"/>
              <a:gd name="T1" fmla="*/ 48 h 436"/>
              <a:gd name="T2" fmla="*/ 59 w 326"/>
              <a:gd name="T3" fmla="*/ 97 h 436"/>
              <a:gd name="T4" fmla="*/ 70 w 326"/>
              <a:gd name="T5" fmla="*/ 412 h 436"/>
              <a:gd name="T6" fmla="*/ 263 w 326"/>
              <a:gd name="T7" fmla="*/ 362 h 436"/>
              <a:gd name="T8" fmla="*/ 324 w 326"/>
              <a:gd name="T9" fmla="*/ 156 h 436"/>
              <a:gd name="T10" fmla="*/ 245 w 326"/>
              <a:gd name="T11" fmla="*/ 48 h 436"/>
            </a:gdLst>
            <a:ahLst/>
            <a:cxnLst>
              <a:cxn ang="0">
                <a:pos x="T0" y="T1"/>
              </a:cxn>
              <a:cxn ang="0">
                <a:pos x="T2" y="T3"/>
              </a:cxn>
              <a:cxn ang="0">
                <a:pos x="T4" y="T5"/>
              </a:cxn>
              <a:cxn ang="0">
                <a:pos x="T6" y="T7"/>
              </a:cxn>
              <a:cxn ang="0">
                <a:pos x="T8" y="T9"/>
              </a:cxn>
              <a:cxn ang="0">
                <a:pos x="T10" y="T11"/>
              </a:cxn>
            </a:cxnLst>
            <a:rect l="0" t="0" r="r" b="b"/>
            <a:pathLst>
              <a:path w="326" h="436">
                <a:moveTo>
                  <a:pt x="245" y="48"/>
                </a:moveTo>
                <a:cubicBezTo>
                  <a:pt x="245" y="48"/>
                  <a:pt x="117" y="0"/>
                  <a:pt x="59" y="97"/>
                </a:cubicBezTo>
                <a:cubicBezTo>
                  <a:pt x="0" y="194"/>
                  <a:pt x="6" y="388"/>
                  <a:pt x="70" y="412"/>
                </a:cubicBezTo>
                <a:cubicBezTo>
                  <a:pt x="134" y="436"/>
                  <a:pt x="230" y="423"/>
                  <a:pt x="263" y="362"/>
                </a:cubicBezTo>
                <a:cubicBezTo>
                  <a:pt x="296" y="302"/>
                  <a:pt x="326" y="214"/>
                  <a:pt x="324" y="156"/>
                </a:cubicBezTo>
                <a:cubicBezTo>
                  <a:pt x="323" y="97"/>
                  <a:pt x="278" y="65"/>
                  <a:pt x="245" y="48"/>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80">
            <a:extLst>
              <a:ext uri="{FF2B5EF4-FFF2-40B4-BE49-F238E27FC236}">
                <a16:creationId xmlns:a16="http://schemas.microsoft.com/office/drawing/2014/main" id="{B2B2024F-353D-448C-81DA-826554D40263}"/>
              </a:ext>
            </a:extLst>
          </p:cNvPr>
          <p:cNvSpPr>
            <a:spLocks/>
          </p:cNvSpPr>
          <p:nvPr/>
        </p:nvSpPr>
        <p:spPr bwMode="auto">
          <a:xfrm>
            <a:off x="9514484" y="3773460"/>
            <a:ext cx="195263" cy="201613"/>
          </a:xfrm>
          <a:custGeom>
            <a:avLst/>
            <a:gdLst>
              <a:gd name="T0" fmla="*/ 12 w 234"/>
              <a:gd name="T1" fmla="*/ 174 h 240"/>
              <a:gd name="T2" fmla="*/ 9 w 234"/>
              <a:gd name="T3" fmla="*/ 224 h 240"/>
              <a:gd name="T4" fmla="*/ 169 w 234"/>
              <a:gd name="T5" fmla="*/ 240 h 240"/>
              <a:gd name="T6" fmla="*/ 208 w 234"/>
              <a:gd name="T7" fmla="*/ 76 h 240"/>
              <a:gd name="T8" fmla="*/ 12 w 234"/>
              <a:gd name="T9" fmla="*/ 174 h 240"/>
            </a:gdLst>
            <a:ahLst/>
            <a:cxnLst>
              <a:cxn ang="0">
                <a:pos x="T0" y="T1"/>
              </a:cxn>
              <a:cxn ang="0">
                <a:pos x="T2" y="T3"/>
              </a:cxn>
              <a:cxn ang="0">
                <a:pos x="T4" y="T5"/>
              </a:cxn>
              <a:cxn ang="0">
                <a:pos x="T6" y="T7"/>
              </a:cxn>
              <a:cxn ang="0">
                <a:pos x="T8" y="T9"/>
              </a:cxn>
            </a:cxnLst>
            <a:rect l="0" t="0" r="r" b="b"/>
            <a:pathLst>
              <a:path w="234" h="240">
                <a:moveTo>
                  <a:pt x="12" y="174"/>
                </a:moveTo>
                <a:cubicBezTo>
                  <a:pt x="12" y="174"/>
                  <a:pt x="17" y="207"/>
                  <a:pt x="9" y="224"/>
                </a:cubicBezTo>
                <a:cubicBezTo>
                  <a:pt x="0" y="240"/>
                  <a:pt x="169" y="240"/>
                  <a:pt x="169" y="240"/>
                </a:cubicBezTo>
                <a:cubicBezTo>
                  <a:pt x="169" y="240"/>
                  <a:pt x="182" y="151"/>
                  <a:pt x="208" y="76"/>
                </a:cubicBezTo>
                <a:cubicBezTo>
                  <a:pt x="234" y="0"/>
                  <a:pt x="12" y="174"/>
                  <a:pt x="12" y="174"/>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81">
            <a:extLst>
              <a:ext uri="{FF2B5EF4-FFF2-40B4-BE49-F238E27FC236}">
                <a16:creationId xmlns:a16="http://schemas.microsoft.com/office/drawing/2014/main" id="{55964981-6A51-4060-8AB3-644BC79E7D32}"/>
              </a:ext>
            </a:extLst>
          </p:cNvPr>
          <p:cNvSpPr>
            <a:spLocks/>
          </p:cNvSpPr>
          <p:nvPr/>
        </p:nvSpPr>
        <p:spPr bwMode="auto">
          <a:xfrm>
            <a:off x="9457334" y="3562323"/>
            <a:ext cx="274638" cy="290513"/>
          </a:xfrm>
          <a:custGeom>
            <a:avLst/>
            <a:gdLst>
              <a:gd name="T0" fmla="*/ 276 w 328"/>
              <a:gd name="T1" fmla="*/ 328 h 347"/>
              <a:gd name="T2" fmla="*/ 217 w 328"/>
              <a:gd name="T3" fmla="*/ 339 h 347"/>
              <a:gd name="T4" fmla="*/ 92 w 328"/>
              <a:gd name="T5" fmla="*/ 262 h 347"/>
              <a:gd name="T6" fmla="*/ 72 w 328"/>
              <a:gd name="T7" fmla="*/ 243 h 347"/>
              <a:gd name="T8" fmla="*/ 60 w 328"/>
              <a:gd name="T9" fmla="*/ 261 h 347"/>
              <a:gd name="T10" fmla="*/ 39 w 328"/>
              <a:gd name="T11" fmla="*/ 263 h 347"/>
              <a:gd name="T12" fmla="*/ 29 w 328"/>
              <a:gd name="T13" fmla="*/ 183 h 347"/>
              <a:gd name="T14" fmla="*/ 211 w 328"/>
              <a:gd name="T15" fmla="*/ 53 h 347"/>
              <a:gd name="T16" fmla="*/ 324 w 328"/>
              <a:gd name="T17" fmla="*/ 152 h 347"/>
              <a:gd name="T18" fmla="*/ 276 w 328"/>
              <a:gd name="T19" fmla="*/ 32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 h="347">
                <a:moveTo>
                  <a:pt x="276" y="328"/>
                </a:moveTo>
                <a:cubicBezTo>
                  <a:pt x="276" y="328"/>
                  <a:pt x="265" y="347"/>
                  <a:pt x="217" y="339"/>
                </a:cubicBezTo>
                <a:cubicBezTo>
                  <a:pt x="170" y="332"/>
                  <a:pt x="112" y="269"/>
                  <a:pt x="92" y="262"/>
                </a:cubicBezTo>
                <a:cubicBezTo>
                  <a:pt x="72" y="255"/>
                  <a:pt x="72" y="243"/>
                  <a:pt x="72" y="243"/>
                </a:cubicBezTo>
                <a:cubicBezTo>
                  <a:pt x="60" y="261"/>
                  <a:pt x="60" y="261"/>
                  <a:pt x="60" y="261"/>
                </a:cubicBezTo>
                <a:cubicBezTo>
                  <a:pt x="39" y="263"/>
                  <a:pt x="39" y="263"/>
                  <a:pt x="39" y="263"/>
                </a:cubicBezTo>
                <a:cubicBezTo>
                  <a:pt x="39" y="263"/>
                  <a:pt x="58" y="206"/>
                  <a:pt x="29" y="183"/>
                </a:cubicBezTo>
                <a:cubicBezTo>
                  <a:pt x="0" y="160"/>
                  <a:pt x="59" y="0"/>
                  <a:pt x="211" y="53"/>
                </a:cubicBezTo>
                <a:cubicBezTo>
                  <a:pt x="211" y="53"/>
                  <a:pt x="328" y="86"/>
                  <a:pt x="324" y="152"/>
                </a:cubicBezTo>
                <a:cubicBezTo>
                  <a:pt x="320" y="219"/>
                  <a:pt x="303" y="294"/>
                  <a:pt x="276" y="328"/>
                </a:cubicBezTo>
                <a:close/>
              </a:path>
            </a:pathLst>
          </a:custGeom>
          <a:solidFill>
            <a:srgbClr val="FCCC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82">
            <a:extLst>
              <a:ext uri="{FF2B5EF4-FFF2-40B4-BE49-F238E27FC236}">
                <a16:creationId xmlns:a16="http://schemas.microsoft.com/office/drawing/2014/main" id="{DE12BEE4-A5F6-45B5-9024-1328FED9AFBA}"/>
              </a:ext>
            </a:extLst>
          </p:cNvPr>
          <p:cNvSpPr>
            <a:spLocks/>
          </p:cNvSpPr>
          <p:nvPr/>
        </p:nvSpPr>
        <p:spPr bwMode="auto">
          <a:xfrm>
            <a:off x="9512897" y="3916335"/>
            <a:ext cx="158750" cy="53975"/>
          </a:xfrm>
          <a:custGeom>
            <a:avLst/>
            <a:gdLst>
              <a:gd name="T0" fmla="*/ 0 w 189"/>
              <a:gd name="T1" fmla="*/ 52 h 65"/>
              <a:gd name="T2" fmla="*/ 15 w 189"/>
              <a:gd name="T3" fmla="*/ 17 h 65"/>
              <a:gd name="T4" fmla="*/ 189 w 189"/>
              <a:gd name="T5" fmla="*/ 7 h 65"/>
              <a:gd name="T6" fmla="*/ 189 w 189"/>
              <a:gd name="T7" fmla="*/ 44 h 65"/>
              <a:gd name="T8" fmla="*/ 0 w 189"/>
              <a:gd name="T9" fmla="*/ 52 h 65"/>
            </a:gdLst>
            <a:ahLst/>
            <a:cxnLst>
              <a:cxn ang="0">
                <a:pos x="T0" y="T1"/>
              </a:cxn>
              <a:cxn ang="0">
                <a:pos x="T2" y="T3"/>
              </a:cxn>
              <a:cxn ang="0">
                <a:pos x="T4" y="T5"/>
              </a:cxn>
              <a:cxn ang="0">
                <a:pos x="T6" y="T7"/>
              </a:cxn>
              <a:cxn ang="0">
                <a:pos x="T8" y="T9"/>
              </a:cxn>
            </a:cxnLst>
            <a:rect l="0" t="0" r="r" b="b"/>
            <a:pathLst>
              <a:path w="189" h="65">
                <a:moveTo>
                  <a:pt x="0" y="52"/>
                </a:moveTo>
                <a:cubicBezTo>
                  <a:pt x="0" y="52"/>
                  <a:pt x="0" y="20"/>
                  <a:pt x="15" y="17"/>
                </a:cubicBezTo>
                <a:cubicBezTo>
                  <a:pt x="29" y="14"/>
                  <a:pt x="172" y="0"/>
                  <a:pt x="189" y="7"/>
                </a:cubicBezTo>
                <a:cubicBezTo>
                  <a:pt x="189" y="44"/>
                  <a:pt x="189" y="44"/>
                  <a:pt x="189" y="44"/>
                </a:cubicBezTo>
                <a:cubicBezTo>
                  <a:pt x="189" y="44"/>
                  <a:pt x="155" y="65"/>
                  <a:pt x="0" y="52"/>
                </a:cubicBezTo>
                <a:close/>
              </a:path>
            </a:pathLst>
          </a:custGeom>
          <a:solidFill>
            <a:srgbClr val="E2D2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83">
            <a:extLst>
              <a:ext uri="{FF2B5EF4-FFF2-40B4-BE49-F238E27FC236}">
                <a16:creationId xmlns:a16="http://schemas.microsoft.com/office/drawing/2014/main" id="{35C1F6E7-EA78-4E77-87F4-D298FFE3B0C5}"/>
              </a:ext>
            </a:extLst>
          </p:cNvPr>
          <p:cNvSpPr>
            <a:spLocks/>
          </p:cNvSpPr>
          <p:nvPr/>
        </p:nvSpPr>
        <p:spPr bwMode="auto">
          <a:xfrm>
            <a:off x="9514484" y="3709960"/>
            <a:ext cx="49213" cy="95250"/>
          </a:xfrm>
          <a:custGeom>
            <a:avLst/>
            <a:gdLst>
              <a:gd name="T0" fmla="*/ 7 w 60"/>
              <a:gd name="T1" fmla="*/ 43 h 114"/>
              <a:gd name="T2" fmla="*/ 49 w 60"/>
              <a:gd name="T3" fmla="*/ 34 h 114"/>
              <a:gd name="T4" fmla="*/ 17 w 60"/>
              <a:gd name="T5" fmla="*/ 110 h 114"/>
              <a:gd name="T6" fmla="*/ 7 w 60"/>
              <a:gd name="T7" fmla="*/ 43 h 114"/>
            </a:gdLst>
            <a:ahLst/>
            <a:cxnLst>
              <a:cxn ang="0">
                <a:pos x="T0" y="T1"/>
              </a:cxn>
              <a:cxn ang="0">
                <a:pos x="T2" y="T3"/>
              </a:cxn>
              <a:cxn ang="0">
                <a:pos x="T4" y="T5"/>
              </a:cxn>
              <a:cxn ang="0">
                <a:pos x="T6" y="T7"/>
              </a:cxn>
            </a:cxnLst>
            <a:rect l="0" t="0" r="r" b="b"/>
            <a:pathLst>
              <a:path w="60" h="114">
                <a:moveTo>
                  <a:pt x="7" y="43"/>
                </a:moveTo>
                <a:cubicBezTo>
                  <a:pt x="10" y="32"/>
                  <a:pt x="38" y="0"/>
                  <a:pt x="49" y="34"/>
                </a:cubicBezTo>
                <a:cubicBezTo>
                  <a:pt x="60" y="68"/>
                  <a:pt x="33" y="114"/>
                  <a:pt x="17" y="110"/>
                </a:cubicBezTo>
                <a:cubicBezTo>
                  <a:pt x="2" y="106"/>
                  <a:pt x="0" y="71"/>
                  <a:pt x="7" y="43"/>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84">
            <a:extLst>
              <a:ext uri="{FF2B5EF4-FFF2-40B4-BE49-F238E27FC236}">
                <a16:creationId xmlns:a16="http://schemas.microsoft.com/office/drawing/2014/main" id="{1881181B-3F18-4AE9-A915-2B78896F6CF5}"/>
              </a:ext>
            </a:extLst>
          </p:cNvPr>
          <p:cNvSpPr>
            <a:spLocks/>
          </p:cNvSpPr>
          <p:nvPr/>
        </p:nvSpPr>
        <p:spPr bwMode="auto">
          <a:xfrm>
            <a:off x="9063634" y="3952848"/>
            <a:ext cx="1008063" cy="1031875"/>
          </a:xfrm>
          <a:custGeom>
            <a:avLst/>
            <a:gdLst>
              <a:gd name="T0" fmla="*/ 535 w 1202"/>
              <a:gd name="T1" fmla="*/ 8 h 1231"/>
              <a:gd name="T2" fmla="*/ 366 w 1202"/>
              <a:gd name="T3" fmla="*/ 74 h 1231"/>
              <a:gd name="T4" fmla="*/ 250 w 1202"/>
              <a:gd name="T5" fmla="*/ 228 h 1231"/>
              <a:gd name="T6" fmla="*/ 167 w 1202"/>
              <a:gd name="T7" fmla="*/ 642 h 1231"/>
              <a:gd name="T8" fmla="*/ 5 w 1202"/>
              <a:gd name="T9" fmla="*/ 1119 h 1231"/>
              <a:gd name="T10" fmla="*/ 131 w 1202"/>
              <a:gd name="T11" fmla="*/ 1176 h 1231"/>
              <a:gd name="T12" fmla="*/ 284 w 1202"/>
              <a:gd name="T13" fmla="*/ 744 h 1231"/>
              <a:gd name="T14" fmla="*/ 362 w 1202"/>
              <a:gd name="T15" fmla="*/ 469 h 1231"/>
              <a:gd name="T16" fmla="*/ 368 w 1202"/>
              <a:gd name="T17" fmla="*/ 599 h 1231"/>
              <a:gd name="T18" fmla="*/ 303 w 1202"/>
              <a:gd name="T19" fmla="*/ 1196 h 1231"/>
              <a:gd name="T20" fmla="*/ 757 w 1202"/>
              <a:gd name="T21" fmla="*/ 1216 h 1231"/>
              <a:gd name="T22" fmla="*/ 990 w 1202"/>
              <a:gd name="T23" fmla="*/ 1172 h 1231"/>
              <a:gd name="T24" fmla="*/ 892 w 1202"/>
              <a:gd name="T25" fmla="*/ 688 h 1231"/>
              <a:gd name="T26" fmla="*/ 934 w 1202"/>
              <a:gd name="T27" fmla="*/ 384 h 1231"/>
              <a:gd name="T28" fmla="*/ 1039 w 1202"/>
              <a:gd name="T29" fmla="*/ 582 h 1231"/>
              <a:gd name="T30" fmla="*/ 904 w 1202"/>
              <a:gd name="T31" fmla="*/ 929 h 1231"/>
              <a:gd name="T32" fmla="*/ 935 w 1202"/>
              <a:gd name="T33" fmla="*/ 1034 h 1231"/>
              <a:gd name="T34" fmla="*/ 1194 w 1202"/>
              <a:gd name="T35" fmla="*/ 621 h 1231"/>
              <a:gd name="T36" fmla="*/ 1168 w 1202"/>
              <a:gd name="T37" fmla="*/ 514 h 1231"/>
              <a:gd name="T38" fmla="*/ 1048 w 1202"/>
              <a:gd name="T39" fmla="*/ 238 h 1231"/>
              <a:gd name="T40" fmla="*/ 910 w 1202"/>
              <a:gd name="T41" fmla="*/ 52 h 1231"/>
              <a:gd name="T42" fmla="*/ 724 w 1202"/>
              <a:gd name="T43" fmla="*/ 0 h 1231"/>
              <a:gd name="T44" fmla="*/ 535 w 1202"/>
              <a:gd name="T45" fmla="*/ 8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2" h="1231">
                <a:moveTo>
                  <a:pt x="535" y="8"/>
                </a:moveTo>
                <a:cubicBezTo>
                  <a:pt x="535" y="8"/>
                  <a:pt x="456" y="36"/>
                  <a:pt x="366" y="74"/>
                </a:cubicBezTo>
                <a:cubicBezTo>
                  <a:pt x="366" y="74"/>
                  <a:pt x="261" y="113"/>
                  <a:pt x="250" y="228"/>
                </a:cubicBezTo>
                <a:cubicBezTo>
                  <a:pt x="244" y="290"/>
                  <a:pt x="179" y="614"/>
                  <a:pt x="167" y="642"/>
                </a:cubicBezTo>
                <a:cubicBezTo>
                  <a:pt x="155" y="669"/>
                  <a:pt x="10" y="1110"/>
                  <a:pt x="5" y="1119"/>
                </a:cubicBezTo>
                <a:cubicBezTo>
                  <a:pt x="0" y="1129"/>
                  <a:pt x="123" y="1180"/>
                  <a:pt x="131" y="1176"/>
                </a:cubicBezTo>
                <a:cubicBezTo>
                  <a:pt x="139" y="1172"/>
                  <a:pt x="271" y="773"/>
                  <a:pt x="284" y="744"/>
                </a:cubicBezTo>
                <a:cubicBezTo>
                  <a:pt x="284" y="744"/>
                  <a:pt x="360" y="505"/>
                  <a:pt x="362" y="469"/>
                </a:cubicBezTo>
                <a:cubicBezTo>
                  <a:pt x="362" y="469"/>
                  <a:pt x="364" y="571"/>
                  <a:pt x="368" y="599"/>
                </a:cubicBezTo>
                <a:cubicBezTo>
                  <a:pt x="372" y="628"/>
                  <a:pt x="301" y="1181"/>
                  <a:pt x="303" y="1196"/>
                </a:cubicBezTo>
                <a:cubicBezTo>
                  <a:pt x="305" y="1211"/>
                  <a:pt x="628" y="1231"/>
                  <a:pt x="757" y="1216"/>
                </a:cubicBezTo>
                <a:cubicBezTo>
                  <a:pt x="886" y="1202"/>
                  <a:pt x="990" y="1172"/>
                  <a:pt x="990" y="1172"/>
                </a:cubicBezTo>
                <a:cubicBezTo>
                  <a:pt x="990" y="1172"/>
                  <a:pt x="889" y="736"/>
                  <a:pt x="892" y="688"/>
                </a:cubicBezTo>
                <a:cubicBezTo>
                  <a:pt x="899" y="582"/>
                  <a:pt x="934" y="384"/>
                  <a:pt x="934" y="384"/>
                </a:cubicBezTo>
                <a:cubicBezTo>
                  <a:pt x="1039" y="582"/>
                  <a:pt x="1039" y="582"/>
                  <a:pt x="1039" y="582"/>
                </a:cubicBezTo>
                <a:cubicBezTo>
                  <a:pt x="904" y="929"/>
                  <a:pt x="904" y="929"/>
                  <a:pt x="904" y="929"/>
                </a:cubicBezTo>
                <a:cubicBezTo>
                  <a:pt x="935" y="1034"/>
                  <a:pt x="935" y="1034"/>
                  <a:pt x="935" y="1034"/>
                </a:cubicBezTo>
                <a:cubicBezTo>
                  <a:pt x="935" y="1034"/>
                  <a:pt x="1186" y="656"/>
                  <a:pt x="1194" y="621"/>
                </a:cubicBezTo>
                <a:cubicBezTo>
                  <a:pt x="1202" y="587"/>
                  <a:pt x="1182" y="543"/>
                  <a:pt x="1168" y="514"/>
                </a:cubicBezTo>
                <a:cubicBezTo>
                  <a:pt x="1155" y="486"/>
                  <a:pt x="1068" y="269"/>
                  <a:pt x="1048" y="238"/>
                </a:cubicBezTo>
                <a:cubicBezTo>
                  <a:pt x="1028" y="208"/>
                  <a:pt x="993" y="86"/>
                  <a:pt x="910" y="52"/>
                </a:cubicBezTo>
                <a:cubicBezTo>
                  <a:pt x="841" y="23"/>
                  <a:pt x="724" y="0"/>
                  <a:pt x="724" y="0"/>
                </a:cubicBezTo>
                <a:lnTo>
                  <a:pt x="535" y="8"/>
                </a:lnTo>
                <a:close/>
              </a:path>
            </a:pathLst>
          </a:custGeom>
          <a:solidFill>
            <a:srgbClr val="01CB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85">
            <a:extLst>
              <a:ext uri="{FF2B5EF4-FFF2-40B4-BE49-F238E27FC236}">
                <a16:creationId xmlns:a16="http://schemas.microsoft.com/office/drawing/2014/main" id="{A28AEE0C-B5E8-4ED2-8B4C-2716683AE55A}"/>
              </a:ext>
            </a:extLst>
          </p:cNvPr>
          <p:cNvSpPr>
            <a:spLocks/>
          </p:cNvSpPr>
          <p:nvPr/>
        </p:nvSpPr>
        <p:spPr bwMode="auto">
          <a:xfrm>
            <a:off x="8873134" y="4586260"/>
            <a:ext cx="584200" cy="471488"/>
          </a:xfrm>
          <a:custGeom>
            <a:avLst/>
            <a:gdLst>
              <a:gd name="T0" fmla="*/ 312 w 368"/>
              <a:gd name="T1" fmla="*/ 297 h 297"/>
              <a:gd name="T2" fmla="*/ 0 w 368"/>
              <a:gd name="T3" fmla="*/ 217 h 297"/>
              <a:gd name="T4" fmla="*/ 56 w 368"/>
              <a:gd name="T5" fmla="*/ 0 h 297"/>
              <a:gd name="T6" fmla="*/ 368 w 368"/>
              <a:gd name="T7" fmla="*/ 80 h 297"/>
              <a:gd name="T8" fmla="*/ 312 w 368"/>
              <a:gd name="T9" fmla="*/ 297 h 297"/>
            </a:gdLst>
            <a:ahLst/>
            <a:cxnLst>
              <a:cxn ang="0">
                <a:pos x="T0" y="T1"/>
              </a:cxn>
              <a:cxn ang="0">
                <a:pos x="T2" y="T3"/>
              </a:cxn>
              <a:cxn ang="0">
                <a:pos x="T4" y="T5"/>
              </a:cxn>
              <a:cxn ang="0">
                <a:pos x="T6" y="T7"/>
              </a:cxn>
              <a:cxn ang="0">
                <a:pos x="T8" y="T9"/>
              </a:cxn>
            </a:cxnLst>
            <a:rect l="0" t="0" r="r" b="b"/>
            <a:pathLst>
              <a:path w="368" h="297">
                <a:moveTo>
                  <a:pt x="312" y="297"/>
                </a:moveTo>
                <a:lnTo>
                  <a:pt x="0" y="217"/>
                </a:lnTo>
                <a:lnTo>
                  <a:pt x="56" y="0"/>
                </a:lnTo>
                <a:lnTo>
                  <a:pt x="368" y="80"/>
                </a:lnTo>
                <a:lnTo>
                  <a:pt x="312" y="297"/>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86">
            <a:extLst>
              <a:ext uri="{FF2B5EF4-FFF2-40B4-BE49-F238E27FC236}">
                <a16:creationId xmlns:a16="http://schemas.microsoft.com/office/drawing/2014/main" id="{B23D95E8-E913-446B-8651-2BD4A22BC62C}"/>
              </a:ext>
            </a:extLst>
          </p:cNvPr>
          <p:cNvSpPr>
            <a:spLocks/>
          </p:cNvSpPr>
          <p:nvPr/>
        </p:nvSpPr>
        <p:spPr bwMode="auto">
          <a:xfrm>
            <a:off x="9001722" y="4965673"/>
            <a:ext cx="31750" cy="39688"/>
          </a:xfrm>
          <a:custGeom>
            <a:avLst/>
            <a:gdLst>
              <a:gd name="T0" fmla="*/ 29 w 39"/>
              <a:gd name="T1" fmla="*/ 0 h 47"/>
              <a:gd name="T2" fmla="*/ 6 w 39"/>
              <a:gd name="T3" fmla="*/ 35 h 47"/>
              <a:gd name="T4" fmla="*/ 30 w 39"/>
              <a:gd name="T5" fmla="*/ 39 h 47"/>
              <a:gd name="T6" fmla="*/ 29 w 39"/>
              <a:gd name="T7" fmla="*/ 0 h 47"/>
            </a:gdLst>
            <a:ahLst/>
            <a:cxnLst>
              <a:cxn ang="0">
                <a:pos x="T0" y="T1"/>
              </a:cxn>
              <a:cxn ang="0">
                <a:pos x="T2" y="T3"/>
              </a:cxn>
              <a:cxn ang="0">
                <a:pos x="T4" y="T5"/>
              </a:cxn>
              <a:cxn ang="0">
                <a:pos x="T6" y="T7"/>
              </a:cxn>
            </a:cxnLst>
            <a:rect l="0" t="0" r="r" b="b"/>
            <a:pathLst>
              <a:path w="39" h="47">
                <a:moveTo>
                  <a:pt x="29" y="0"/>
                </a:moveTo>
                <a:cubicBezTo>
                  <a:pt x="29" y="0"/>
                  <a:pt x="12" y="27"/>
                  <a:pt x="6" y="35"/>
                </a:cubicBezTo>
                <a:cubicBezTo>
                  <a:pt x="0" y="42"/>
                  <a:pt x="21" y="47"/>
                  <a:pt x="30" y="39"/>
                </a:cubicBezTo>
                <a:cubicBezTo>
                  <a:pt x="39" y="31"/>
                  <a:pt x="29" y="0"/>
                  <a:pt x="29" y="0"/>
                </a:cubicBezTo>
                <a:close/>
              </a:path>
            </a:pathLst>
          </a:custGeom>
          <a:solidFill>
            <a:srgbClr val="C984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7">
            <a:extLst>
              <a:ext uri="{FF2B5EF4-FFF2-40B4-BE49-F238E27FC236}">
                <a16:creationId xmlns:a16="http://schemas.microsoft.com/office/drawing/2014/main" id="{B7821BCF-9CF4-490C-98E8-EF20DBBB03D0}"/>
              </a:ext>
            </a:extLst>
          </p:cNvPr>
          <p:cNvSpPr>
            <a:spLocks/>
          </p:cNvSpPr>
          <p:nvPr/>
        </p:nvSpPr>
        <p:spPr bwMode="auto">
          <a:xfrm>
            <a:off x="9022359" y="4883123"/>
            <a:ext cx="142875" cy="166688"/>
          </a:xfrm>
          <a:custGeom>
            <a:avLst/>
            <a:gdLst>
              <a:gd name="T0" fmla="*/ 126 w 169"/>
              <a:gd name="T1" fmla="*/ 193 h 199"/>
              <a:gd name="T2" fmla="*/ 138 w 169"/>
              <a:gd name="T3" fmla="*/ 176 h 199"/>
              <a:gd name="T4" fmla="*/ 143 w 169"/>
              <a:gd name="T5" fmla="*/ 154 h 199"/>
              <a:gd name="T6" fmla="*/ 146 w 169"/>
              <a:gd name="T7" fmla="*/ 148 h 199"/>
              <a:gd name="T8" fmla="*/ 159 w 169"/>
              <a:gd name="T9" fmla="*/ 112 h 199"/>
              <a:gd name="T10" fmla="*/ 169 w 169"/>
              <a:gd name="T11" fmla="*/ 20 h 199"/>
              <a:gd name="T12" fmla="*/ 123 w 169"/>
              <a:gd name="T13" fmla="*/ 8 h 199"/>
              <a:gd name="T14" fmla="*/ 87 w 169"/>
              <a:gd name="T15" fmla="*/ 0 h 199"/>
              <a:gd name="T16" fmla="*/ 3 w 169"/>
              <a:gd name="T17" fmla="*/ 95 h 199"/>
              <a:gd name="T18" fmla="*/ 2 w 169"/>
              <a:gd name="T19" fmla="*/ 99 h 199"/>
              <a:gd name="T20" fmla="*/ 3 w 169"/>
              <a:gd name="T21" fmla="*/ 131 h 199"/>
              <a:gd name="T22" fmla="*/ 10 w 169"/>
              <a:gd name="T23" fmla="*/ 165 h 199"/>
              <a:gd name="T24" fmla="*/ 34 w 169"/>
              <a:gd name="T25" fmla="*/ 170 h 199"/>
              <a:gd name="T26" fmla="*/ 65 w 169"/>
              <a:gd name="T27" fmla="*/ 182 h 199"/>
              <a:gd name="T28" fmla="*/ 98 w 169"/>
              <a:gd name="T29" fmla="*/ 188 h 199"/>
              <a:gd name="T30" fmla="*/ 126 w 169"/>
              <a:gd name="T31" fmla="*/ 19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 h="199">
                <a:moveTo>
                  <a:pt x="126" y="193"/>
                </a:moveTo>
                <a:cubicBezTo>
                  <a:pt x="126" y="193"/>
                  <a:pt x="136" y="182"/>
                  <a:pt x="138" y="176"/>
                </a:cubicBezTo>
                <a:cubicBezTo>
                  <a:pt x="138" y="176"/>
                  <a:pt x="141" y="163"/>
                  <a:pt x="143" y="154"/>
                </a:cubicBezTo>
                <a:cubicBezTo>
                  <a:pt x="144" y="152"/>
                  <a:pt x="145" y="149"/>
                  <a:pt x="146" y="148"/>
                </a:cubicBezTo>
                <a:cubicBezTo>
                  <a:pt x="149" y="142"/>
                  <a:pt x="157" y="129"/>
                  <a:pt x="159" y="112"/>
                </a:cubicBezTo>
                <a:cubicBezTo>
                  <a:pt x="162" y="95"/>
                  <a:pt x="169" y="20"/>
                  <a:pt x="169" y="20"/>
                </a:cubicBezTo>
                <a:cubicBezTo>
                  <a:pt x="123" y="8"/>
                  <a:pt x="123" y="8"/>
                  <a:pt x="123" y="8"/>
                </a:cubicBezTo>
                <a:cubicBezTo>
                  <a:pt x="87" y="0"/>
                  <a:pt x="87" y="0"/>
                  <a:pt x="87" y="0"/>
                </a:cubicBezTo>
                <a:cubicBezTo>
                  <a:pt x="87" y="0"/>
                  <a:pt x="7" y="79"/>
                  <a:pt x="3" y="95"/>
                </a:cubicBezTo>
                <a:cubicBezTo>
                  <a:pt x="3" y="96"/>
                  <a:pt x="2" y="98"/>
                  <a:pt x="2" y="99"/>
                </a:cubicBezTo>
                <a:cubicBezTo>
                  <a:pt x="0" y="113"/>
                  <a:pt x="4" y="124"/>
                  <a:pt x="3" y="131"/>
                </a:cubicBezTo>
                <a:cubicBezTo>
                  <a:pt x="3" y="133"/>
                  <a:pt x="4" y="160"/>
                  <a:pt x="10" y="165"/>
                </a:cubicBezTo>
                <a:cubicBezTo>
                  <a:pt x="18" y="171"/>
                  <a:pt x="27" y="173"/>
                  <a:pt x="34" y="170"/>
                </a:cubicBezTo>
                <a:cubicBezTo>
                  <a:pt x="34" y="170"/>
                  <a:pt x="51" y="183"/>
                  <a:pt x="65" y="182"/>
                </a:cubicBezTo>
                <a:cubicBezTo>
                  <a:pt x="65" y="182"/>
                  <a:pt x="81" y="194"/>
                  <a:pt x="98" y="188"/>
                </a:cubicBezTo>
                <a:cubicBezTo>
                  <a:pt x="98" y="188"/>
                  <a:pt x="116" y="199"/>
                  <a:pt x="126" y="193"/>
                </a:cubicBezTo>
                <a:close/>
              </a:path>
            </a:pathLst>
          </a:custGeom>
          <a:solidFill>
            <a:srgbClr val="DE9D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88">
            <a:extLst>
              <a:ext uri="{FF2B5EF4-FFF2-40B4-BE49-F238E27FC236}">
                <a16:creationId xmlns:a16="http://schemas.microsoft.com/office/drawing/2014/main" id="{4C5C1BC1-0F05-4877-8D3F-EDF98FAF3DD2}"/>
              </a:ext>
            </a:extLst>
          </p:cNvPr>
          <p:cNvSpPr>
            <a:spLocks/>
          </p:cNvSpPr>
          <p:nvPr/>
        </p:nvSpPr>
        <p:spPr bwMode="auto">
          <a:xfrm>
            <a:off x="9068397" y="4603723"/>
            <a:ext cx="209550" cy="334963"/>
          </a:xfrm>
          <a:custGeom>
            <a:avLst/>
            <a:gdLst>
              <a:gd name="T0" fmla="*/ 250 w 250"/>
              <a:gd name="T1" fmla="*/ 48 h 399"/>
              <a:gd name="T2" fmla="*/ 126 w 250"/>
              <a:gd name="T3" fmla="*/ 399 h 399"/>
              <a:gd name="T4" fmla="*/ 0 w 250"/>
              <a:gd name="T5" fmla="*/ 342 h 399"/>
              <a:gd name="T6" fmla="*/ 115 w 250"/>
              <a:gd name="T7" fmla="*/ 0 h 399"/>
              <a:gd name="T8" fmla="*/ 250 w 250"/>
              <a:gd name="T9" fmla="*/ 48 h 399"/>
            </a:gdLst>
            <a:ahLst/>
            <a:cxnLst>
              <a:cxn ang="0">
                <a:pos x="T0" y="T1"/>
              </a:cxn>
              <a:cxn ang="0">
                <a:pos x="T2" y="T3"/>
              </a:cxn>
              <a:cxn ang="0">
                <a:pos x="T4" y="T5"/>
              </a:cxn>
              <a:cxn ang="0">
                <a:pos x="T6" y="T7"/>
              </a:cxn>
              <a:cxn ang="0">
                <a:pos x="T8" y="T9"/>
              </a:cxn>
            </a:cxnLst>
            <a:rect l="0" t="0" r="r" b="b"/>
            <a:pathLst>
              <a:path w="250" h="399">
                <a:moveTo>
                  <a:pt x="250" y="48"/>
                </a:moveTo>
                <a:cubicBezTo>
                  <a:pt x="250" y="48"/>
                  <a:pt x="145" y="365"/>
                  <a:pt x="126" y="399"/>
                </a:cubicBezTo>
                <a:cubicBezTo>
                  <a:pt x="126" y="399"/>
                  <a:pt x="49" y="382"/>
                  <a:pt x="0" y="342"/>
                </a:cubicBezTo>
                <a:cubicBezTo>
                  <a:pt x="115" y="0"/>
                  <a:pt x="115" y="0"/>
                  <a:pt x="115" y="0"/>
                </a:cubicBezTo>
                <a:lnTo>
                  <a:pt x="250" y="48"/>
                </a:lnTo>
                <a:close/>
              </a:path>
            </a:pathLst>
          </a:custGeom>
          <a:solidFill>
            <a:srgbClr val="01CB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9">
            <a:extLst>
              <a:ext uri="{FF2B5EF4-FFF2-40B4-BE49-F238E27FC236}">
                <a16:creationId xmlns:a16="http://schemas.microsoft.com/office/drawing/2014/main" id="{55F81263-876E-49CA-9A93-80CE062BA68A}"/>
              </a:ext>
            </a:extLst>
          </p:cNvPr>
          <p:cNvSpPr>
            <a:spLocks/>
          </p:cNvSpPr>
          <p:nvPr/>
        </p:nvSpPr>
        <p:spPr bwMode="auto">
          <a:xfrm>
            <a:off x="11119447" y="4881535"/>
            <a:ext cx="36513" cy="80963"/>
          </a:xfrm>
          <a:custGeom>
            <a:avLst/>
            <a:gdLst>
              <a:gd name="T0" fmla="*/ 43 w 43"/>
              <a:gd name="T1" fmla="*/ 96 h 98"/>
              <a:gd name="T2" fmla="*/ 20 w 43"/>
              <a:gd name="T3" fmla="*/ 11 h 98"/>
              <a:gd name="T4" fmla="*/ 11 w 43"/>
              <a:gd name="T5" fmla="*/ 23 h 98"/>
              <a:gd name="T6" fmla="*/ 25 w 43"/>
              <a:gd name="T7" fmla="*/ 97 h 98"/>
              <a:gd name="T8" fmla="*/ 43 w 43"/>
              <a:gd name="T9" fmla="*/ 96 h 98"/>
            </a:gdLst>
            <a:ahLst/>
            <a:cxnLst>
              <a:cxn ang="0">
                <a:pos x="T0" y="T1"/>
              </a:cxn>
              <a:cxn ang="0">
                <a:pos x="T2" y="T3"/>
              </a:cxn>
              <a:cxn ang="0">
                <a:pos x="T4" y="T5"/>
              </a:cxn>
              <a:cxn ang="0">
                <a:pos x="T6" y="T7"/>
              </a:cxn>
              <a:cxn ang="0">
                <a:pos x="T8" y="T9"/>
              </a:cxn>
            </a:cxnLst>
            <a:rect l="0" t="0" r="r" b="b"/>
            <a:pathLst>
              <a:path w="43" h="98">
                <a:moveTo>
                  <a:pt x="43" y="96"/>
                </a:moveTo>
                <a:cubicBezTo>
                  <a:pt x="43" y="96"/>
                  <a:pt x="39" y="23"/>
                  <a:pt x="20" y="11"/>
                </a:cubicBezTo>
                <a:cubicBezTo>
                  <a:pt x="0" y="0"/>
                  <a:pt x="11" y="23"/>
                  <a:pt x="11" y="23"/>
                </a:cubicBezTo>
                <a:cubicBezTo>
                  <a:pt x="11" y="23"/>
                  <a:pt x="22" y="76"/>
                  <a:pt x="25" y="97"/>
                </a:cubicBezTo>
                <a:cubicBezTo>
                  <a:pt x="25" y="98"/>
                  <a:pt x="43" y="96"/>
                  <a:pt x="43" y="96"/>
                </a:cubicBezTo>
                <a:close/>
              </a:path>
            </a:pathLst>
          </a:custGeom>
          <a:solidFill>
            <a:srgbClr val="6601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90">
            <a:extLst>
              <a:ext uri="{FF2B5EF4-FFF2-40B4-BE49-F238E27FC236}">
                <a16:creationId xmlns:a16="http://schemas.microsoft.com/office/drawing/2014/main" id="{D47228FF-2792-4B1E-9A22-88D616C1D37E}"/>
              </a:ext>
            </a:extLst>
          </p:cNvPr>
          <p:cNvSpPr>
            <a:spLocks/>
          </p:cNvSpPr>
          <p:nvPr/>
        </p:nvSpPr>
        <p:spPr bwMode="auto">
          <a:xfrm>
            <a:off x="10724159" y="3662335"/>
            <a:ext cx="177800" cy="569913"/>
          </a:xfrm>
          <a:custGeom>
            <a:avLst/>
            <a:gdLst>
              <a:gd name="T0" fmla="*/ 0 w 212"/>
              <a:gd name="T1" fmla="*/ 15 h 681"/>
              <a:gd name="T2" fmla="*/ 177 w 212"/>
              <a:gd name="T3" fmla="*/ 191 h 681"/>
              <a:gd name="T4" fmla="*/ 177 w 212"/>
              <a:gd name="T5" fmla="*/ 546 h 681"/>
              <a:gd name="T6" fmla="*/ 0 w 212"/>
              <a:gd name="T7" fmla="*/ 469 h 681"/>
              <a:gd name="T8" fmla="*/ 0 w 212"/>
              <a:gd name="T9" fmla="*/ 15 h 681"/>
            </a:gdLst>
            <a:ahLst/>
            <a:cxnLst>
              <a:cxn ang="0">
                <a:pos x="T0" y="T1"/>
              </a:cxn>
              <a:cxn ang="0">
                <a:pos x="T2" y="T3"/>
              </a:cxn>
              <a:cxn ang="0">
                <a:pos x="T4" y="T5"/>
              </a:cxn>
              <a:cxn ang="0">
                <a:pos x="T6" y="T7"/>
              </a:cxn>
              <a:cxn ang="0">
                <a:pos x="T8" y="T9"/>
              </a:cxn>
            </a:cxnLst>
            <a:rect l="0" t="0" r="r" b="b"/>
            <a:pathLst>
              <a:path w="212" h="681">
                <a:moveTo>
                  <a:pt x="0" y="15"/>
                </a:moveTo>
                <a:cubicBezTo>
                  <a:pt x="0" y="15"/>
                  <a:pt x="182" y="0"/>
                  <a:pt x="177" y="191"/>
                </a:cubicBezTo>
                <a:cubicBezTo>
                  <a:pt x="172" y="382"/>
                  <a:pt x="142" y="411"/>
                  <a:pt x="177" y="546"/>
                </a:cubicBezTo>
                <a:cubicBezTo>
                  <a:pt x="212" y="681"/>
                  <a:pt x="0" y="469"/>
                  <a:pt x="0" y="469"/>
                </a:cubicBezTo>
                <a:lnTo>
                  <a:pt x="0" y="15"/>
                </a:lnTo>
                <a:close/>
              </a:path>
            </a:pathLst>
          </a:custGeom>
          <a:solidFill>
            <a:srgbClr val="434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91">
            <a:extLst>
              <a:ext uri="{FF2B5EF4-FFF2-40B4-BE49-F238E27FC236}">
                <a16:creationId xmlns:a16="http://schemas.microsoft.com/office/drawing/2014/main" id="{9BD4705A-501E-44AB-A37B-6EC07EEDB1EC}"/>
              </a:ext>
            </a:extLst>
          </p:cNvPr>
          <p:cNvSpPr>
            <a:spLocks/>
          </p:cNvSpPr>
          <p:nvPr/>
        </p:nvSpPr>
        <p:spPr bwMode="auto">
          <a:xfrm>
            <a:off x="10212984" y="4036985"/>
            <a:ext cx="439738" cy="320675"/>
          </a:xfrm>
          <a:custGeom>
            <a:avLst/>
            <a:gdLst>
              <a:gd name="T0" fmla="*/ 457 w 525"/>
              <a:gd name="T1" fmla="*/ 84 h 383"/>
              <a:gd name="T2" fmla="*/ 178 w 525"/>
              <a:gd name="T3" fmla="*/ 227 h 383"/>
              <a:gd name="T4" fmla="*/ 65 w 525"/>
              <a:gd name="T5" fmla="*/ 0 h 383"/>
              <a:gd name="T6" fmla="*/ 0 w 525"/>
              <a:gd name="T7" fmla="*/ 30 h 383"/>
              <a:gd name="T8" fmla="*/ 182 w 525"/>
              <a:gd name="T9" fmla="*/ 357 h 383"/>
              <a:gd name="T10" fmla="*/ 525 w 525"/>
              <a:gd name="T11" fmla="*/ 183 h 383"/>
              <a:gd name="T12" fmla="*/ 457 w 525"/>
              <a:gd name="T13" fmla="*/ 84 h 383"/>
            </a:gdLst>
            <a:ahLst/>
            <a:cxnLst>
              <a:cxn ang="0">
                <a:pos x="T0" y="T1"/>
              </a:cxn>
              <a:cxn ang="0">
                <a:pos x="T2" y="T3"/>
              </a:cxn>
              <a:cxn ang="0">
                <a:pos x="T4" y="T5"/>
              </a:cxn>
              <a:cxn ang="0">
                <a:pos x="T6" y="T7"/>
              </a:cxn>
              <a:cxn ang="0">
                <a:pos x="T8" y="T9"/>
              </a:cxn>
              <a:cxn ang="0">
                <a:pos x="T10" y="T11"/>
              </a:cxn>
              <a:cxn ang="0">
                <a:pos x="T12" y="T13"/>
              </a:cxn>
            </a:cxnLst>
            <a:rect l="0" t="0" r="r" b="b"/>
            <a:pathLst>
              <a:path w="525" h="383">
                <a:moveTo>
                  <a:pt x="457" y="84"/>
                </a:moveTo>
                <a:cubicBezTo>
                  <a:pt x="457" y="84"/>
                  <a:pt x="200" y="244"/>
                  <a:pt x="178" y="227"/>
                </a:cubicBezTo>
                <a:cubicBezTo>
                  <a:pt x="148" y="203"/>
                  <a:pt x="65" y="0"/>
                  <a:pt x="65" y="0"/>
                </a:cubicBezTo>
                <a:cubicBezTo>
                  <a:pt x="0" y="30"/>
                  <a:pt x="0" y="30"/>
                  <a:pt x="0" y="30"/>
                </a:cubicBezTo>
                <a:cubicBezTo>
                  <a:pt x="0" y="30"/>
                  <a:pt x="78" y="383"/>
                  <a:pt x="182" y="357"/>
                </a:cubicBezTo>
                <a:cubicBezTo>
                  <a:pt x="286" y="331"/>
                  <a:pt x="525" y="183"/>
                  <a:pt x="525" y="183"/>
                </a:cubicBezTo>
                <a:lnTo>
                  <a:pt x="457" y="84"/>
                </a:lnTo>
                <a:close/>
              </a:path>
            </a:pathLst>
          </a:custGeom>
          <a:solidFill>
            <a:srgbClr val="EEA9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92">
            <a:extLst>
              <a:ext uri="{FF2B5EF4-FFF2-40B4-BE49-F238E27FC236}">
                <a16:creationId xmlns:a16="http://schemas.microsoft.com/office/drawing/2014/main" id="{AC70D1A1-FB79-4FFE-9E1D-601E487C2D20}"/>
              </a:ext>
            </a:extLst>
          </p:cNvPr>
          <p:cNvSpPr>
            <a:spLocks/>
          </p:cNvSpPr>
          <p:nvPr/>
        </p:nvSpPr>
        <p:spPr bwMode="auto">
          <a:xfrm>
            <a:off x="10574934" y="4608485"/>
            <a:ext cx="487363" cy="1416050"/>
          </a:xfrm>
          <a:custGeom>
            <a:avLst/>
            <a:gdLst>
              <a:gd name="T0" fmla="*/ 375 w 581"/>
              <a:gd name="T1" fmla="*/ 66 h 1691"/>
              <a:gd name="T2" fmla="*/ 466 w 581"/>
              <a:gd name="T3" fmla="*/ 208 h 1691"/>
              <a:gd name="T4" fmla="*/ 523 w 581"/>
              <a:gd name="T5" fmla="*/ 484 h 1691"/>
              <a:gd name="T6" fmla="*/ 496 w 581"/>
              <a:gd name="T7" fmla="*/ 800 h 1691"/>
              <a:gd name="T8" fmla="*/ 524 w 581"/>
              <a:gd name="T9" fmla="*/ 953 h 1691"/>
              <a:gd name="T10" fmla="*/ 577 w 581"/>
              <a:gd name="T11" fmla="*/ 1153 h 1691"/>
              <a:gd name="T12" fmla="*/ 525 w 581"/>
              <a:gd name="T13" fmla="*/ 1655 h 1691"/>
              <a:gd name="T14" fmla="*/ 458 w 581"/>
              <a:gd name="T15" fmla="*/ 1670 h 1691"/>
              <a:gd name="T16" fmla="*/ 421 w 581"/>
              <a:gd name="T17" fmla="*/ 1267 h 1691"/>
              <a:gd name="T18" fmla="*/ 380 w 581"/>
              <a:gd name="T19" fmla="*/ 993 h 1691"/>
              <a:gd name="T20" fmla="*/ 341 w 581"/>
              <a:gd name="T21" fmla="*/ 805 h 1691"/>
              <a:gd name="T22" fmla="*/ 205 w 581"/>
              <a:gd name="T23" fmla="*/ 356 h 1691"/>
              <a:gd name="T24" fmla="*/ 0 w 581"/>
              <a:gd name="T25" fmla="*/ 66 h 1691"/>
              <a:gd name="T26" fmla="*/ 375 w 581"/>
              <a:gd name="T27" fmla="*/ 66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1" h="1691">
                <a:moveTo>
                  <a:pt x="375" y="66"/>
                </a:moveTo>
                <a:cubicBezTo>
                  <a:pt x="375" y="66"/>
                  <a:pt x="442" y="151"/>
                  <a:pt x="466" y="208"/>
                </a:cubicBezTo>
                <a:cubicBezTo>
                  <a:pt x="489" y="264"/>
                  <a:pt x="529" y="388"/>
                  <a:pt x="523" y="484"/>
                </a:cubicBezTo>
                <a:cubicBezTo>
                  <a:pt x="518" y="579"/>
                  <a:pt x="487" y="759"/>
                  <a:pt x="496" y="800"/>
                </a:cubicBezTo>
                <a:cubicBezTo>
                  <a:pt x="505" y="841"/>
                  <a:pt x="514" y="924"/>
                  <a:pt x="524" y="953"/>
                </a:cubicBezTo>
                <a:cubicBezTo>
                  <a:pt x="534" y="982"/>
                  <a:pt x="573" y="1066"/>
                  <a:pt x="577" y="1153"/>
                </a:cubicBezTo>
                <a:cubicBezTo>
                  <a:pt x="581" y="1239"/>
                  <a:pt x="522" y="1620"/>
                  <a:pt x="525" y="1655"/>
                </a:cubicBezTo>
                <a:cubicBezTo>
                  <a:pt x="527" y="1691"/>
                  <a:pt x="458" y="1670"/>
                  <a:pt x="458" y="1670"/>
                </a:cubicBezTo>
                <a:cubicBezTo>
                  <a:pt x="458" y="1670"/>
                  <a:pt x="434" y="1326"/>
                  <a:pt x="421" y="1267"/>
                </a:cubicBezTo>
                <a:cubicBezTo>
                  <a:pt x="408" y="1208"/>
                  <a:pt x="392" y="1007"/>
                  <a:pt x="380" y="993"/>
                </a:cubicBezTo>
                <a:cubicBezTo>
                  <a:pt x="369" y="978"/>
                  <a:pt x="336" y="829"/>
                  <a:pt x="341" y="805"/>
                </a:cubicBezTo>
                <a:cubicBezTo>
                  <a:pt x="346" y="781"/>
                  <a:pt x="213" y="427"/>
                  <a:pt x="205" y="356"/>
                </a:cubicBezTo>
                <a:cubicBezTo>
                  <a:pt x="197" y="286"/>
                  <a:pt x="0" y="66"/>
                  <a:pt x="0" y="66"/>
                </a:cubicBezTo>
                <a:cubicBezTo>
                  <a:pt x="0" y="66"/>
                  <a:pt x="172" y="0"/>
                  <a:pt x="375" y="66"/>
                </a:cubicBezTo>
                <a:close/>
              </a:path>
            </a:pathLst>
          </a:custGeom>
          <a:solidFill>
            <a:srgbClr val="EEA9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93">
            <a:extLst>
              <a:ext uri="{FF2B5EF4-FFF2-40B4-BE49-F238E27FC236}">
                <a16:creationId xmlns:a16="http://schemas.microsoft.com/office/drawing/2014/main" id="{834D8F53-BBAA-43AF-A8A4-055522DD00B5}"/>
              </a:ext>
            </a:extLst>
          </p:cNvPr>
          <p:cNvSpPr>
            <a:spLocks/>
          </p:cNvSpPr>
          <p:nvPr/>
        </p:nvSpPr>
        <p:spPr bwMode="auto">
          <a:xfrm>
            <a:off x="10468572" y="4494185"/>
            <a:ext cx="438150" cy="1463675"/>
          </a:xfrm>
          <a:custGeom>
            <a:avLst/>
            <a:gdLst>
              <a:gd name="T0" fmla="*/ 183 w 521"/>
              <a:gd name="T1" fmla="*/ 201 h 1746"/>
              <a:gd name="T2" fmla="*/ 176 w 521"/>
              <a:gd name="T3" fmla="*/ 250 h 1746"/>
              <a:gd name="T4" fmla="*/ 72 w 521"/>
              <a:gd name="T5" fmla="*/ 726 h 1746"/>
              <a:gd name="T6" fmla="*/ 35 w 521"/>
              <a:gd name="T7" fmla="*/ 991 h 1746"/>
              <a:gd name="T8" fmla="*/ 47 w 521"/>
              <a:gd name="T9" fmla="*/ 1134 h 1746"/>
              <a:gd name="T10" fmla="*/ 4 w 521"/>
              <a:gd name="T11" fmla="*/ 1728 h 1746"/>
              <a:gd name="T12" fmla="*/ 60 w 521"/>
              <a:gd name="T13" fmla="*/ 1742 h 1746"/>
              <a:gd name="T14" fmla="*/ 203 w 521"/>
              <a:gd name="T15" fmla="*/ 1264 h 1746"/>
              <a:gd name="T16" fmla="*/ 210 w 521"/>
              <a:gd name="T17" fmla="*/ 991 h 1746"/>
              <a:gd name="T18" fmla="*/ 434 w 521"/>
              <a:gd name="T19" fmla="*/ 478 h 1746"/>
              <a:gd name="T20" fmla="*/ 183 w 521"/>
              <a:gd name="T21" fmla="*/ 201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1746">
                <a:moveTo>
                  <a:pt x="183" y="201"/>
                </a:moveTo>
                <a:cubicBezTo>
                  <a:pt x="183" y="201"/>
                  <a:pt x="179" y="237"/>
                  <a:pt x="176" y="250"/>
                </a:cubicBezTo>
                <a:cubicBezTo>
                  <a:pt x="172" y="263"/>
                  <a:pt x="81" y="598"/>
                  <a:pt x="72" y="726"/>
                </a:cubicBezTo>
                <a:cubicBezTo>
                  <a:pt x="63" y="855"/>
                  <a:pt x="39" y="964"/>
                  <a:pt x="35" y="991"/>
                </a:cubicBezTo>
                <a:cubicBezTo>
                  <a:pt x="31" y="1019"/>
                  <a:pt x="39" y="1111"/>
                  <a:pt x="47" y="1134"/>
                </a:cubicBezTo>
                <a:cubicBezTo>
                  <a:pt x="55" y="1158"/>
                  <a:pt x="8" y="1715"/>
                  <a:pt x="4" y="1728"/>
                </a:cubicBezTo>
                <a:cubicBezTo>
                  <a:pt x="0" y="1742"/>
                  <a:pt x="35" y="1746"/>
                  <a:pt x="60" y="1742"/>
                </a:cubicBezTo>
                <a:cubicBezTo>
                  <a:pt x="85" y="1738"/>
                  <a:pt x="211" y="1332"/>
                  <a:pt x="203" y="1264"/>
                </a:cubicBezTo>
                <a:cubicBezTo>
                  <a:pt x="195" y="1196"/>
                  <a:pt x="187" y="1050"/>
                  <a:pt x="210" y="991"/>
                </a:cubicBezTo>
                <a:cubicBezTo>
                  <a:pt x="232" y="932"/>
                  <a:pt x="433" y="505"/>
                  <a:pt x="434" y="478"/>
                </a:cubicBezTo>
                <a:cubicBezTo>
                  <a:pt x="435" y="452"/>
                  <a:pt x="521" y="0"/>
                  <a:pt x="183" y="201"/>
                </a:cubicBezTo>
                <a:close/>
              </a:path>
            </a:pathLst>
          </a:custGeom>
          <a:solidFill>
            <a:srgbClr val="EEA9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94">
            <a:extLst>
              <a:ext uri="{FF2B5EF4-FFF2-40B4-BE49-F238E27FC236}">
                <a16:creationId xmlns:a16="http://schemas.microsoft.com/office/drawing/2014/main" id="{A7E1D3CB-1DDD-43BD-91E9-95575EC47B0F}"/>
              </a:ext>
            </a:extLst>
          </p:cNvPr>
          <p:cNvSpPr>
            <a:spLocks/>
          </p:cNvSpPr>
          <p:nvPr/>
        </p:nvSpPr>
        <p:spPr bwMode="auto">
          <a:xfrm>
            <a:off x="10895609" y="5949923"/>
            <a:ext cx="144463" cy="258763"/>
          </a:xfrm>
          <a:custGeom>
            <a:avLst/>
            <a:gdLst>
              <a:gd name="T0" fmla="*/ 77 w 171"/>
              <a:gd name="T1" fmla="*/ 25 h 308"/>
              <a:gd name="T2" fmla="*/ 64 w 171"/>
              <a:gd name="T3" fmla="*/ 82 h 308"/>
              <a:gd name="T4" fmla="*/ 28 w 171"/>
              <a:gd name="T5" fmla="*/ 169 h 308"/>
              <a:gd name="T6" fmla="*/ 28 w 171"/>
              <a:gd name="T7" fmla="*/ 280 h 308"/>
              <a:gd name="T8" fmla="*/ 145 w 171"/>
              <a:gd name="T9" fmla="*/ 273 h 308"/>
              <a:gd name="T10" fmla="*/ 167 w 171"/>
              <a:gd name="T11" fmla="*/ 175 h 308"/>
              <a:gd name="T12" fmla="*/ 137 w 171"/>
              <a:gd name="T13" fmla="*/ 12 h 308"/>
              <a:gd name="T14" fmla="*/ 77 w 171"/>
              <a:gd name="T15" fmla="*/ 25 h 3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308">
                <a:moveTo>
                  <a:pt x="77" y="25"/>
                </a:moveTo>
                <a:cubicBezTo>
                  <a:pt x="77" y="25"/>
                  <a:pt x="71" y="70"/>
                  <a:pt x="64" y="82"/>
                </a:cubicBezTo>
                <a:cubicBezTo>
                  <a:pt x="57" y="95"/>
                  <a:pt x="37" y="158"/>
                  <a:pt x="28" y="169"/>
                </a:cubicBezTo>
                <a:cubicBezTo>
                  <a:pt x="19" y="181"/>
                  <a:pt x="0" y="269"/>
                  <a:pt x="28" y="280"/>
                </a:cubicBezTo>
                <a:cubicBezTo>
                  <a:pt x="57" y="291"/>
                  <a:pt x="123" y="308"/>
                  <a:pt x="145" y="273"/>
                </a:cubicBezTo>
                <a:cubicBezTo>
                  <a:pt x="168" y="238"/>
                  <a:pt x="171" y="202"/>
                  <a:pt x="167" y="175"/>
                </a:cubicBezTo>
                <a:cubicBezTo>
                  <a:pt x="164" y="148"/>
                  <a:pt x="137" y="24"/>
                  <a:pt x="137" y="12"/>
                </a:cubicBezTo>
                <a:cubicBezTo>
                  <a:pt x="137" y="0"/>
                  <a:pt x="77" y="25"/>
                  <a:pt x="77" y="25"/>
                </a:cubicBezTo>
                <a:close/>
              </a:path>
            </a:pathLst>
          </a:custGeom>
          <a:solidFill>
            <a:srgbClr val="EEA9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95">
            <a:extLst>
              <a:ext uri="{FF2B5EF4-FFF2-40B4-BE49-F238E27FC236}">
                <a16:creationId xmlns:a16="http://schemas.microsoft.com/office/drawing/2014/main" id="{71477270-21A5-44B8-AED6-53E784787ECF}"/>
              </a:ext>
            </a:extLst>
          </p:cNvPr>
          <p:cNvSpPr>
            <a:spLocks/>
          </p:cNvSpPr>
          <p:nvPr/>
        </p:nvSpPr>
        <p:spPr bwMode="auto">
          <a:xfrm>
            <a:off x="10863859" y="6072160"/>
            <a:ext cx="184150" cy="139700"/>
          </a:xfrm>
          <a:custGeom>
            <a:avLst/>
            <a:gdLst>
              <a:gd name="T0" fmla="*/ 79 w 220"/>
              <a:gd name="T1" fmla="*/ 0 h 167"/>
              <a:gd name="T2" fmla="*/ 127 w 220"/>
              <a:gd name="T3" fmla="*/ 69 h 167"/>
              <a:gd name="T4" fmla="*/ 202 w 220"/>
              <a:gd name="T5" fmla="*/ 6 h 167"/>
              <a:gd name="T6" fmla="*/ 202 w 220"/>
              <a:gd name="T7" fmla="*/ 102 h 167"/>
              <a:gd name="T8" fmla="*/ 94 w 220"/>
              <a:gd name="T9" fmla="*/ 151 h 167"/>
              <a:gd name="T10" fmla="*/ 79 w 220"/>
              <a:gd name="T11" fmla="*/ 0 h 167"/>
            </a:gdLst>
            <a:ahLst/>
            <a:cxnLst>
              <a:cxn ang="0">
                <a:pos x="T0" y="T1"/>
              </a:cxn>
              <a:cxn ang="0">
                <a:pos x="T2" y="T3"/>
              </a:cxn>
              <a:cxn ang="0">
                <a:pos x="T4" y="T5"/>
              </a:cxn>
              <a:cxn ang="0">
                <a:pos x="T6" y="T7"/>
              </a:cxn>
              <a:cxn ang="0">
                <a:pos x="T8" y="T9"/>
              </a:cxn>
              <a:cxn ang="0">
                <a:pos x="T10" y="T11"/>
              </a:cxn>
            </a:cxnLst>
            <a:rect l="0" t="0" r="r" b="b"/>
            <a:pathLst>
              <a:path w="220" h="167">
                <a:moveTo>
                  <a:pt x="79" y="0"/>
                </a:moveTo>
                <a:cubicBezTo>
                  <a:pt x="79" y="0"/>
                  <a:pt x="76" y="69"/>
                  <a:pt x="127" y="69"/>
                </a:cubicBezTo>
                <a:cubicBezTo>
                  <a:pt x="179" y="69"/>
                  <a:pt x="202" y="6"/>
                  <a:pt x="202" y="6"/>
                </a:cubicBezTo>
                <a:cubicBezTo>
                  <a:pt x="202" y="6"/>
                  <a:pt x="220" y="37"/>
                  <a:pt x="202" y="102"/>
                </a:cubicBezTo>
                <a:cubicBezTo>
                  <a:pt x="184" y="167"/>
                  <a:pt x="111" y="154"/>
                  <a:pt x="94" y="151"/>
                </a:cubicBezTo>
                <a:cubicBezTo>
                  <a:pt x="78" y="149"/>
                  <a:pt x="0" y="128"/>
                  <a:pt x="79" y="0"/>
                </a:cubicBezTo>
                <a:close/>
              </a:path>
            </a:pathLst>
          </a:custGeom>
          <a:solidFill>
            <a:srgbClr val="01CB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96">
            <a:extLst>
              <a:ext uri="{FF2B5EF4-FFF2-40B4-BE49-F238E27FC236}">
                <a16:creationId xmlns:a16="http://schemas.microsoft.com/office/drawing/2014/main" id="{2A813790-45CB-4AB8-A8FB-C153F7E3DB60}"/>
              </a:ext>
            </a:extLst>
          </p:cNvPr>
          <p:cNvSpPr>
            <a:spLocks/>
          </p:cNvSpPr>
          <p:nvPr/>
        </p:nvSpPr>
        <p:spPr bwMode="auto">
          <a:xfrm>
            <a:off x="10274897" y="5919760"/>
            <a:ext cx="284163" cy="195263"/>
          </a:xfrm>
          <a:custGeom>
            <a:avLst/>
            <a:gdLst>
              <a:gd name="T0" fmla="*/ 240 w 339"/>
              <a:gd name="T1" fmla="*/ 0 h 233"/>
              <a:gd name="T2" fmla="*/ 182 w 339"/>
              <a:gd name="T3" fmla="*/ 79 h 233"/>
              <a:gd name="T4" fmla="*/ 84 w 339"/>
              <a:gd name="T5" fmla="*/ 151 h 233"/>
              <a:gd name="T6" fmla="*/ 12 w 339"/>
              <a:gd name="T7" fmla="*/ 202 h 233"/>
              <a:gd name="T8" fmla="*/ 198 w 339"/>
              <a:gd name="T9" fmla="*/ 213 h 233"/>
              <a:gd name="T10" fmla="*/ 290 w 339"/>
              <a:gd name="T11" fmla="*/ 144 h 233"/>
              <a:gd name="T12" fmla="*/ 304 w 339"/>
              <a:gd name="T13" fmla="*/ 223 h 233"/>
              <a:gd name="T14" fmla="*/ 327 w 339"/>
              <a:gd name="T15" fmla="*/ 223 h 233"/>
              <a:gd name="T16" fmla="*/ 336 w 339"/>
              <a:gd name="T17" fmla="*/ 134 h 233"/>
              <a:gd name="T18" fmla="*/ 310 w 339"/>
              <a:gd name="T19" fmla="*/ 45 h 233"/>
              <a:gd name="T20" fmla="*/ 308 w 339"/>
              <a:gd name="T21" fmla="*/ 7 h 233"/>
              <a:gd name="T22" fmla="*/ 240 w 339"/>
              <a:gd name="T23"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9" h="233">
                <a:moveTo>
                  <a:pt x="240" y="0"/>
                </a:moveTo>
                <a:cubicBezTo>
                  <a:pt x="240" y="0"/>
                  <a:pt x="204" y="66"/>
                  <a:pt x="182" y="79"/>
                </a:cubicBezTo>
                <a:cubicBezTo>
                  <a:pt x="155" y="95"/>
                  <a:pt x="102" y="148"/>
                  <a:pt x="84" y="151"/>
                </a:cubicBezTo>
                <a:cubicBezTo>
                  <a:pt x="66" y="153"/>
                  <a:pt x="0" y="165"/>
                  <a:pt x="12" y="202"/>
                </a:cubicBezTo>
                <a:cubicBezTo>
                  <a:pt x="23" y="233"/>
                  <a:pt x="180" y="228"/>
                  <a:pt x="198" y="213"/>
                </a:cubicBezTo>
                <a:cubicBezTo>
                  <a:pt x="216" y="198"/>
                  <a:pt x="269" y="143"/>
                  <a:pt x="290" y="144"/>
                </a:cubicBezTo>
                <a:cubicBezTo>
                  <a:pt x="312" y="145"/>
                  <a:pt x="304" y="223"/>
                  <a:pt x="304" y="223"/>
                </a:cubicBezTo>
                <a:cubicBezTo>
                  <a:pt x="327" y="223"/>
                  <a:pt x="327" y="223"/>
                  <a:pt x="327" y="223"/>
                </a:cubicBezTo>
                <a:cubicBezTo>
                  <a:pt x="327" y="223"/>
                  <a:pt x="335" y="147"/>
                  <a:pt x="336" y="134"/>
                </a:cubicBezTo>
                <a:cubicBezTo>
                  <a:pt x="339" y="96"/>
                  <a:pt x="311" y="67"/>
                  <a:pt x="310" y="45"/>
                </a:cubicBezTo>
                <a:cubicBezTo>
                  <a:pt x="309" y="23"/>
                  <a:pt x="308" y="7"/>
                  <a:pt x="308" y="7"/>
                </a:cubicBezTo>
                <a:lnTo>
                  <a:pt x="240" y="0"/>
                </a:lnTo>
                <a:close/>
              </a:path>
            </a:pathLst>
          </a:custGeom>
          <a:solidFill>
            <a:srgbClr val="01CB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7">
            <a:extLst>
              <a:ext uri="{FF2B5EF4-FFF2-40B4-BE49-F238E27FC236}">
                <a16:creationId xmlns:a16="http://schemas.microsoft.com/office/drawing/2014/main" id="{292E7E94-5C40-43E3-9F39-06222168A67B}"/>
              </a:ext>
            </a:extLst>
          </p:cNvPr>
          <p:cNvSpPr>
            <a:spLocks/>
          </p:cNvSpPr>
          <p:nvPr/>
        </p:nvSpPr>
        <p:spPr bwMode="auto">
          <a:xfrm>
            <a:off x="10349509" y="5916585"/>
            <a:ext cx="198438" cy="142875"/>
          </a:xfrm>
          <a:custGeom>
            <a:avLst/>
            <a:gdLst>
              <a:gd name="T0" fmla="*/ 0 w 236"/>
              <a:gd name="T1" fmla="*/ 153 h 171"/>
              <a:gd name="T2" fmla="*/ 92 w 236"/>
              <a:gd name="T3" fmla="*/ 148 h 171"/>
              <a:gd name="T4" fmla="*/ 236 w 236"/>
              <a:gd name="T5" fmla="*/ 90 h 171"/>
              <a:gd name="T6" fmla="*/ 221 w 236"/>
              <a:gd name="T7" fmla="*/ 40 h 171"/>
              <a:gd name="T8" fmla="*/ 219 w 236"/>
              <a:gd name="T9" fmla="*/ 11 h 171"/>
              <a:gd name="T10" fmla="*/ 152 w 236"/>
              <a:gd name="T11" fmla="*/ 0 h 171"/>
              <a:gd name="T12" fmla="*/ 89 w 236"/>
              <a:gd name="T13" fmla="*/ 79 h 171"/>
              <a:gd name="T14" fmla="*/ 0 w 236"/>
              <a:gd name="T15" fmla="*/ 153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71">
                <a:moveTo>
                  <a:pt x="0" y="153"/>
                </a:moveTo>
                <a:cubicBezTo>
                  <a:pt x="0" y="153"/>
                  <a:pt x="52" y="171"/>
                  <a:pt x="92" y="148"/>
                </a:cubicBezTo>
                <a:cubicBezTo>
                  <a:pt x="132" y="125"/>
                  <a:pt x="209" y="90"/>
                  <a:pt x="236" y="90"/>
                </a:cubicBezTo>
                <a:cubicBezTo>
                  <a:pt x="236" y="90"/>
                  <a:pt x="221" y="45"/>
                  <a:pt x="221" y="40"/>
                </a:cubicBezTo>
                <a:cubicBezTo>
                  <a:pt x="220" y="35"/>
                  <a:pt x="219" y="11"/>
                  <a:pt x="219" y="11"/>
                </a:cubicBezTo>
                <a:cubicBezTo>
                  <a:pt x="152" y="0"/>
                  <a:pt x="152" y="0"/>
                  <a:pt x="152" y="0"/>
                </a:cubicBezTo>
                <a:cubicBezTo>
                  <a:pt x="152" y="0"/>
                  <a:pt x="108" y="64"/>
                  <a:pt x="89" y="79"/>
                </a:cubicBezTo>
                <a:cubicBezTo>
                  <a:pt x="70" y="94"/>
                  <a:pt x="21" y="131"/>
                  <a:pt x="0" y="153"/>
                </a:cubicBezTo>
                <a:close/>
              </a:path>
            </a:pathLst>
          </a:custGeom>
          <a:solidFill>
            <a:srgbClr val="EEA9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8">
            <a:extLst>
              <a:ext uri="{FF2B5EF4-FFF2-40B4-BE49-F238E27FC236}">
                <a16:creationId xmlns:a16="http://schemas.microsoft.com/office/drawing/2014/main" id="{0584FB4B-B75D-48EB-8032-AC0E13AF8CEC}"/>
              </a:ext>
            </a:extLst>
          </p:cNvPr>
          <p:cNvSpPr>
            <a:spLocks/>
          </p:cNvSpPr>
          <p:nvPr/>
        </p:nvSpPr>
        <p:spPr bwMode="auto">
          <a:xfrm>
            <a:off x="10500322" y="4638648"/>
            <a:ext cx="534988" cy="684213"/>
          </a:xfrm>
          <a:custGeom>
            <a:avLst/>
            <a:gdLst>
              <a:gd name="T0" fmla="*/ 87 w 637"/>
              <a:gd name="T1" fmla="*/ 23 h 817"/>
              <a:gd name="T2" fmla="*/ 62 w 637"/>
              <a:gd name="T3" fmla="*/ 124 h 817"/>
              <a:gd name="T4" fmla="*/ 0 w 637"/>
              <a:gd name="T5" fmla="*/ 717 h 817"/>
              <a:gd name="T6" fmla="*/ 629 w 637"/>
              <a:gd name="T7" fmla="*/ 801 h 817"/>
              <a:gd name="T8" fmla="*/ 604 w 637"/>
              <a:gd name="T9" fmla="*/ 283 h 817"/>
              <a:gd name="T10" fmla="*/ 464 w 637"/>
              <a:gd name="T11" fmla="*/ 29 h 817"/>
              <a:gd name="T12" fmla="*/ 87 w 637"/>
              <a:gd name="T13" fmla="*/ 23 h 817"/>
            </a:gdLst>
            <a:ahLst/>
            <a:cxnLst>
              <a:cxn ang="0">
                <a:pos x="T0" y="T1"/>
              </a:cxn>
              <a:cxn ang="0">
                <a:pos x="T2" y="T3"/>
              </a:cxn>
              <a:cxn ang="0">
                <a:pos x="T4" y="T5"/>
              </a:cxn>
              <a:cxn ang="0">
                <a:pos x="T6" y="T7"/>
              </a:cxn>
              <a:cxn ang="0">
                <a:pos x="T8" y="T9"/>
              </a:cxn>
              <a:cxn ang="0">
                <a:pos x="T10" y="T11"/>
              </a:cxn>
              <a:cxn ang="0">
                <a:pos x="T12" y="T13"/>
              </a:cxn>
            </a:cxnLst>
            <a:rect l="0" t="0" r="r" b="b"/>
            <a:pathLst>
              <a:path w="637" h="817">
                <a:moveTo>
                  <a:pt x="87" y="23"/>
                </a:moveTo>
                <a:cubicBezTo>
                  <a:pt x="87" y="23"/>
                  <a:pt x="69" y="101"/>
                  <a:pt x="62" y="124"/>
                </a:cubicBezTo>
                <a:cubicBezTo>
                  <a:pt x="55" y="146"/>
                  <a:pt x="11" y="497"/>
                  <a:pt x="0" y="717"/>
                </a:cubicBezTo>
                <a:cubicBezTo>
                  <a:pt x="0" y="717"/>
                  <a:pt x="264" y="817"/>
                  <a:pt x="629" y="801"/>
                </a:cubicBezTo>
                <a:cubicBezTo>
                  <a:pt x="629" y="801"/>
                  <a:pt x="637" y="397"/>
                  <a:pt x="604" y="283"/>
                </a:cubicBezTo>
                <a:cubicBezTo>
                  <a:pt x="570" y="169"/>
                  <a:pt x="510" y="62"/>
                  <a:pt x="464" y="29"/>
                </a:cubicBezTo>
                <a:cubicBezTo>
                  <a:pt x="424" y="0"/>
                  <a:pt x="87" y="23"/>
                  <a:pt x="87" y="23"/>
                </a:cubicBezTo>
                <a:close/>
              </a:path>
            </a:pathLst>
          </a:custGeom>
          <a:solidFill>
            <a:srgbClr val="01CB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99">
            <a:extLst>
              <a:ext uri="{FF2B5EF4-FFF2-40B4-BE49-F238E27FC236}">
                <a16:creationId xmlns:a16="http://schemas.microsoft.com/office/drawing/2014/main" id="{72409B1B-EAFB-4A56-A83A-9CBECE69E5B7}"/>
              </a:ext>
            </a:extLst>
          </p:cNvPr>
          <p:cNvSpPr>
            <a:spLocks/>
          </p:cNvSpPr>
          <p:nvPr/>
        </p:nvSpPr>
        <p:spPr bwMode="auto">
          <a:xfrm>
            <a:off x="11051184" y="4781523"/>
            <a:ext cx="104775" cy="168275"/>
          </a:xfrm>
          <a:custGeom>
            <a:avLst/>
            <a:gdLst>
              <a:gd name="T0" fmla="*/ 35 w 124"/>
              <a:gd name="T1" fmla="*/ 49 h 201"/>
              <a:gd name="T2" fmla="*/ 19 w 124"/>
              <a:gd name="T3" fmla="*/ 114 h 201"/>
              <a:gd name="T4" fmla="*/ 4 w 124"/>
              <a:gd name="T5" fmla="*/ 173 h 201"/>
              <a:gd name="T6" fmla="*/ 27 w 124"/>
              <a:gd name="T7" fmla="*/ 193 h 201"/>
              <a:gd name="T8" fmla="*/ 54 w 124"/>
              <a:gd name="T9" fmla="*/ 136 h 201"/>
              <a:gd name="T10" fmla="*/ 61 w 124"/>
              <a:gd name="T11" fmla="*/ 197 h 201"/>
              <a:gd name="T12" fmla="*/ 121 w 124"/>
              <a:gd name="T13" fmla="*/ 137 h 201"/>
              <a:gd name="T14" fmla="*/ 99 w 124"/>
              <a:gd name="T15" fmla="*/ 51 h 201"/>
              <a:gd name="T16" fmla="*/ 89 w 124"/>
              <a:gd name="T17" fmla="*/ 0 h 201"/>
              <a:gd name="T18" fmla="*/ 35 w 124"/>
              <a:gd name="T19" fmla="*/ 4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201">
                <a:moveTo>
                  <a:pt x="35" y="49"/>
                </a:moveTo>
                <a:cubicBezTo>
                  <a:pt x="35" y="49"/>
                  <a:pt x="29" y="82"/>
                  <a:pt x="19" y="114"/>
                </a:cubicBezTo>
                <a:cubicBezTo>
                  <a:pt x="9" y="145"/>
                  <a:pt x="0" y="155"/>
                  <a:pt x="4" y="173"/>
                </a:cubicBezTo>
                <a:cubicBezTo>
                  <a:pt x="7" y="187"/>
                  <a:pt x="23" y="197"/>
                  <a:pt x="27" y="193"/>
                </a:cubicBezTo>
                <a:cubicBezTo>
                  <a:pt x="30" y="189"/>
                  <a:pt x="32" y="135"/>
                  <a:pt x="54" y="136"/>
                </a:cubicBezTo>
                <a:cubicBezTo>
                  <a:pt x="76" y="136"/>
                  <a:pt x="48" y="201"/>
                  <a:pt x="61" y="197"/>
                </a:cubicBezTo>
                <a:cubicBezTo>
                  <a:pt x="74" y="192"/>
                  <a:pt x="124" y="164"/>
                  <a:pt x="121" y="137"/>
                </a:cubicBezTo>
                <a:cubicBezTo>
                  <a:pt x="118" y="111"/>
                  <a:pt x="98" y="91"/>
                  <a:pt x="99" y="51"/>
                </a:cubicBezTo>
                <a:cubicBezTo>
                  <a:pt x="100" y="15"/>
                  <a:pt x="89" y="0"/>
                  <a:pt x="89" y="0"/>
                </a:cubicBezTo>
                <a:lnTo>
                  <a:pt x="35" y="49"/>
                </a:lnTo>
                <a:close/>
              </a:path>
            </a:pathLst>
          </a:custGeom>
          <a:solidFill>
            <a:srgbClr val="EEA9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00">
            <a:extLst>
              <a:ext uri="{FF2B5EF4-FFF2-40B4-BE49-F238E27FC236}">
                <a16:creationId xmlns:a16="http://schemas.microsoft.com/office/drawing/2014/main" id="{902968BE-2EDB-43CE-8D99-28009D96682D}"/>
              </a:ext>
            </a:extLst>
          </p:cNvPr>
          <p:cNvSpPr>
            <a:spLocks/>
          </p:cNvSpPr>
          <p:nvPr/>
        </p:nvSpPr>
        <p:spPr bwMode="auto">
          <a:xfrm>
            <a:off x="10198697" y="4017935"/>
            <a:ext cx="74613" cy="71438"/>
          </a:xfrm>
          <a:custGeom>
            <a:avLst/>
            <a:gdLst>
              <a:gd name="T0" fmla="*/ 0 w 89"/>
              <a:gd name="T1" fmla="*/ 38 h 86"/>
              <a:gd name="T2" fmla="*/ 50 w 89"/>
              <a:gd name="T3" fmla="*/ 82 h 86"/>
              <a:gd name="T4" fmla="*/ 89 w 89"/>
              <a:gd name="T5" fmla="*/ 41 h 86"/>
              <a:gd name="T6" fmla="*/ 78 w 89"/>
              <a:gd name="T7" fmla="*/ 0 h 86"/>
              <a:gd name="T8" fmla="*/ 0 w 89"/>
              <a:gd name="T9" fmla="*/ 38 h 86"/>
            </a:gdLst>
            <a:ahLst/>
            <a:cxnLst>
              <a:cxn ang="0">
                <a:pos x="T0" y="T1"/>
              </a:cxn>
              <a:cxn ang="0">
                <a:pos x="T2" y="T3"/>
              </a:cxn>
              <a:cxn ang="0">
                <a:pos x="T4" y="T5"/>
              </a:cxn>
              <a:cxn ang="0">
                <a:pos x="T6" y="T7"/>
              </a:cxn>
              <a:cxn ang="0">
                <a:pos x="T8" y="T9"/>
              </a:cxn>
            </a:cxnLst>
            <a:rect l="0" t="0" r="r" b="b"/>
            <a:pathLst>
              <a:path w="89" h="86">
                <a:moveTo>
                  <a:pt x="0" y="38"/>
                </a:moveTo>
                <a:cubicBezTo>
                  <a:pt x="0" y="38"/>
                  <a:pt x="31" y="78"/>
                  <a:pt x="50" y="82"/>
                </a:cubicBezTo>
                <a:cubicBezTo>
                  <a:pt x="69" y="86"/>
                  <a:pt x="89" y="41"/>
                  <a:pt x="89" y="41"/>
                </a:cubicBezTo>
                <a:cubicBezTo>
                  <a:pt x="78" y="0"/>
                  <a:pt x="78" y="0"/>
                  <a:pt x="78" y="0"/>
                </a:cubicBezTo>
                <a:lnTo>
                  <a:pt x="0" y="38"/>
                </a:ln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01">
            <a:extLst>
              <a:ext uri="{FF2B5EF4-FFF2-40B4-BE49-F238E27FC236}">
                <a16:creationId xmlns:a16="http://schemas.microsoft.com/office/drawing/2014/main" id="{D15EA0B9-8746-45BB-BC2A-77D3E810AFA0}"/>
              </a:ext>
            </a:extLst>
          </p:cNvPr>
          <p:cNvSpPr>
            <a:spLocks/>
          </p:cNvSpPr>
          <p:nvPr/>
        </p:nvSpPr>
        <p:spPr bwMode="auto">
          <a:xfrm>
            <a:off x="10160597" y="3909985"/>
            <a:ext cx="117475" cy="161925"/>
          </a:xfrm>
          <a:custGeom>
            <a:avLst/>
            <a:gdLst>
              <a:gd name="T0" fmla="*/ 120 w 139"/>
              <a:gd name="T1" fmla="*/ 153 h 194"/>
              <a:gd name="T2" fmla="*/ 137 w 139"/>
              <a:gd name="T3" fmla="*/ 100 h 194"/>
              <a:gd name="T4" fmla="*/ 118 w 139"/>
              <a:gd name="T5" fmla="*/ 52 h 194"/>
              <a:gd name="T6" fmla="*/ 84 w 139"/>
              <a:gd name="T7" fmla="*/ 6 h 194"/>
              <a:gd name="T8" fmla="*/ 70 w 139"/>
              <a:gd name="T9" fmla="*/ 5 h 194"/>
              <a:gd name="T10" fmla="*/ 55 w 139"/>
              <a:gd name="T11" fmla="*/ 18 h 194"/>
              <a:gd name="T12" fmla="*/ 34 w 139"/>
              <a:gd name="T13" fmla="*/ 29 h 194"/>
              <a:gd name="T14" fmla="*/ 16 w 139"/>
              <a:gd name="T15" fmla="*/ 44 h 194"/>
              <a:gd name="T16" fmla="*/ 0 w 139"/>
              <a:gd name="T17" fmla="*/ 55 h 194"/>
              <a:gd name="T18" fmla="*/ 6 w 139"/>
              <a:gd name="T19" fmla="*/ 83 h 194"/>
              <a:gd name="T20" fmla="*/ 44 w 139"/>
              <a:gd name="T21" fmla="*/ 167 h 194"/>
              <a:gd name="T22" fmla="*/ 120 w 139"/>
              <a:gd name="T23" fmla="*/ 15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9" h="194">
                <a:moveTo>
                  <a:pt x="120" y="153"/>
                </a:moveTo>
                <a:cubicBezTo>
                  <a:pt x="120" y="153"/>
                  <a:pt x="134" y="107"/>
                  <a:pt x="137" y="100"/>
                </a:cubicBezTo>
                <a:cubicBezTo>
                  <a:pt x="139" y="93"/>
                  <a:pt x="131" y="72"/>
                  <a:pt x="118" y="52"/>
                </a:cubicBezTo>
                <a:cubicBezTo>
                  <a:pt x="106" y="33"/>
                  <a:pt x="90" y="12"/>
                  <a:pt x="84" y="6"/>
                </a:cubicBezTo>
                <a:cubicBezTo>
                  <a:pt x="81" y="3"/>
                  <a:pt x="80" y="0"/>
                  <a:pt x="70" y="5"/>
                </a:cubicBezTo>
                <a:cubicBezTo>
                  <a:pt x="60" y="9"/>
                  <a:pt x="55" y="18"/>
                  <a:pt x="55" y="18"/>
                </a:cubicBezTo>
                <a:cubicBezTo>
                  <a:pt x="55" y="18"/>
                  <a:pt x="40" y="18"/>
                  <a:pt x="34" y="29"/>
                </a:cubicBezTo>
                <a:cubicBezTo>
                  <a:pt x="34" y="29"/>
                  <a:pt x="21" y="30"/>
                  <a:pt x="16" y="44"/>
                </a:cubicBezTo>
                <a:cubicBezTo>
                  <a:pt x="16" y="44"/>
                  <a:pt x="3" y="45"/>
                  <a:pt x="0" y="55"/>
                </a:cubicBezTo>
                <a:cubicBezTo>
                  <a:pt x="0" y="55"/>
                  <a:pt x="6" y="75"/>
                  <a:pt x="6" y="83"/>
                </a:cubicBezTo>
                <a:cubicBezTo>
                  <a:pt x="7" y="91"/>
                  <a:pt x="23" y="131"/>
                  <a:pt x="44" y="167"/>
                </a:cubicBezTo>
                <a:cubicBezTo>
                  <a:pt x="44" y="167"/>
                  <a:pt x="76" y="194"/>
                  <a:pt x="120" y="153"/>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102">
            <a:extLst>
              <a:ext uri="{FF2B5EF4-FFF2-40B4-BE49-F238E27FC236}">
                <a16:creationId xmlns:a16="http://schemas.microsoft.com/office/drawing/2014/main" id="{BD029F6C-D226-47C3-9480-1F3BD498B048}"/>
              </a:ext>
            </a:extLst>
          </p:cNvPr>
          <p:cNvSpPr>
            <a:spLocks/>
          </p:cNvSpPr>
          <p:nvPr/>
        </p:nvSpPr>
        <p:spPr bwMode="auto">
          <a:xfrm>
            <a:off x="10178059" y="3971898"/>
            <a:ext cx="55563" cy="44450"/>
          </a:xfrm>
          <a:custGeom>
            <a:avLst/>
            <a:gdLst>
              <a:gd name="T0" fmla="*/ 66 w 66"/>
              <a:gd name="T1" fmla="*/ 19 h 52"/>
              <a:gd name="T2" fmla="*/ 48 w 66"/>
              <a:gd name="T3" fmla="*/ 44 h 52"/>
              <a:gd name="T4" fmla="*/ 0 w 66"/>
              <a:gd name="T5" fmla="*/ 24 h 52"/>
              <a:gd name="T6" fmla="*/ 66 w 66"/>
              <a:gd name="T7" fmla="*/ 19 h 52"/>
            </a:gdLst>
            <a:ahLst/>
            <a:cxnLst>
              <a:cxn ang="0">
                <a:pos x="T0" y="T1"/>
              </a:cxn>
              <a:cxn ang="0">
                <a:pos x="T2" y="T3"/>
              </a:cxn>
              <a:cxn ang="0">
                <a:pos x="T4" y="T5"/>
              </a:cxn>
              <a:cxn ang="0">
                <a:pos x="T6" y="T7"/>
              </a:cxn>
            </a:cxnLst>
            <a:rect l="0" t="0" r="r" b="b"/>
            <a:pathLst>
              <a:path w="66" h="52">
                <a:moveTo>
                  <a:pt x="66" y="19"/>
                </a:moveTo>
                <a:cubicBezTo>
                  <a:pt x="66" y="19"/>
                  <a:pt x="50" y="37"/>
                  <a:pt x="48" y="44"/>
                </a:cubicBezTo>
                <a:cubicBezTo>
                  <a:pt x="47" y="52"/>
                  <a:pt x="0" y="24"/>
                  <a:pt x="0" y="24"/>
                </a:cubicBezTo>
                <a:cubicBezTo>
                  <a:pt x="0" y="24"/>
                  <a:pt x="43" y="0"/>
                  <a:pt x="66" y="19"/>
                </a:cubicBezTo>
                <a:close/>
              </a:path>
            </a:pathLst>
          </a:custGeom>
          <a:solidFill>
            <a:srgbClr val="CF8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03">
            <a:extLst>
              <a:ext uri="{FF2B5EF4-FFF2-40B4-BE49-F238E27FC236}">
                <a16:creationId xmlns:a16="http://schemas.microsoft.com/office/drawing/2014/main" id="{5557206A-DD09-4B0A-A953-01AC120C196B}"/>
              </a:ext>
            </a:extLst>
          </p:cNvPr>
          <p:cNvSpPr>
            <a:spLocks/>
          </p:cNvSpPr>
          <p:nvPr/>
        </p:nvSpPr>
        <p:spPr bwMode="auto">
          <a:xfrm>
            <a:off x="10160597" y="3909985"/>
            <a:ext cx="95250" cy="96838"/>
          </a:xfrm>
          <a:custGeom>
            <a:avLst/>
            <a:gdLst>
              <a:gd name="T0" fmla="*/ 86 w 112"/>
              <a:gd name="T1" fmla="*/ 10 h 115"/>
              <a:gd name="T2" fmla="*/ 104 w 112"/>
              <a:gd name="T3" fmla="*/ 69 h 115"/>
              <a:gd name="T4" fmla="*/ 89 w 112"/>
              <a:gd name="T5" fmla="*/ 70 h 115"/>
              <a:gd name="T6" fmla="*/ 88 w 112"/>
              <a:gd name="T7" fmla="*/ 97 h 115"/>
              <a:gd name="T8" fmla="*/ 61 w 112"/>
              <a:gd name="T9" fmla="*/ 98 h 115"/>
              <a:gd name="T10" fmla="*/ 39 w 112"/>
              <a:gd name="T11" fmla="*/ 97 h 115"/>
              <a:gd name="T12" fmla="*/ 20 w 112"/>
              <a:gd name="T13" fmla="*/ 98 h 115"/>
              <a:gd name="T14" fmla="*/ 0 w 112"/>
              <a:gd name="T15" fmla="*/ 54 h 115"/>
              <a:gd name="T16" fmla="*/ 16 w 112"/>
              <a:gd name="T17" fmla="*/ 43 h 115"/>
              <a:gd name="T18" fmla="*/ 34 w 112"/>
              <a:gd name="T19" fmla="*/ 28 h 115"/>
              <a:gd name="T20" fmla="*/ 58 w 112"/>
              <a:gd name="T21" fmla="*/ 13 h 115"/>
              <a:gd name="T22" fmla="*/ 84 w 112"/>
              <a:gd name="T23" fmla="*/ 5 h 115"/>
              <a:gd name="T24" fmla="*/ 86 w 112"/>
              <a:gd name="T25" fmla="*/ 1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15">
                <a:moveTo>
                  <a:pt x="86" y="10"/>
                </a:moveTo>
                <a:cubicBezTo>
                  <a:pt x="86" y="10"/>
                  <a:pt x="112" y="64"/>
                  <a:pt x="104" y="69"/>
                </a:cubicBezTo>
                <a:cubicBezTo>
                  <a:pt x="95" y="74"/>
                  <a:pt x="89" y="70"/>
                  <a:pt x="89" y="70"/>
                </a:cubicBezTo>
                <a:cubicBezTo>
                  <a:pt x="88" y="97"/>
                  <a:pt x="88" y="97"/>
                  <a:pt x="88" y="97"/>
                </a:cubicBezTo>
                <a:cubicBezTo>
                  <a:pt x="88" y="97"/>
                  <a:pt x="77" y="115"/>
                  <a:pt x="61" y="98"/>
                </a:cubicBezTo>
                <a:cubicBezTo>
                  <a:pt x="61" y="98"/>
                  <a:pt x="52" y="115"/>
                  <a:pt x="39" y="97"/>
                </a:cubicBezTo>
                <a:cubicBezTo>
                  <a:pt x="39" y="97"/>
                  <a:pt x="28" y="106"/>
                  <a:pt x="20" y="98"/>
                </a:cubicBezTo>
                <a:cubicBezTo>
                  <a:pt x="13" y="91"/>
                  <a:pt x="0" y="54"/>
                  <a:pt x="0" y="54"/>
                </a:cubicBezTo>
                <a:cubicBezTo>
                  <a:pt x="0" y="54"/>
                  <a:pt x="1" y="45"/>
                  <a:pt x="16" y="43"/>
                </a:cubicBezTo>
                <a:cubicBezTo>
                  <a:pt x="16" y="43"/>
                  <a:pt x="20" y="29"/>
                  <a:pt x="34" y="28"/>
                </a:cubicBezTo>
                <a:cubicBezTo>
                  <a:pt x="34" y="28"/>
                  <a:pt x="42" y="14"/>
                  <a:pt x="58" y="13"/>
                </a:cubicBezTo>
                <a:cubicBezTo>
                  <a:pt x="58" y="13"/>
                  <a:pt x="67" y="0"/>
                  <a:pt x="84" y="5"/>
                </a:cubicBezTo>
                <a:cubicBezTo>
                  <a:pt x="84" y="5"/>
                  <a:pt x="86" y="8"/>
                  <a:pt x="86" y="10"/>
                </a:cubicBezTo>
                <a:close/>
              </a:path>
            </a:pathLst>
          </a:custGeom>
          <a:solidFill>
            <a:srgbClr val="DB9C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04">
            <a:extLst>
              <a:ext uri="{FF2B5EF4-FFF2-40B4-BE49-F238E27FC236}">
                <a16:creationId xmlns:a16="http://schemas.microsoft.com/office/drawing/2014/main" id="{9AB5FB66-8F36-4523-A577-31C616A00947}"/>
              </a:ext>
            </a:extLst>
          </p:cNvPr>
          <p:cNvSpPr>
            <a:spLocks/>
          </p:cNvSpPr>
          <p:nvPr/>
        </p:nvSpPr>
        <p:spPr bwMode="auto">
          <a:xfrm>
            <a:off x="10214572" y="3960785"/>
            <a:ext cx="60325" cy="63500"/>
          </a:xfrm>
          <a:custGeom>
            <a:avLst/>
            <a:gdLst>
              <a:gd name="T0" fmla="*/ 72 w 72"/>
              <a:gd name="T1" fmla="*/ 37 h 76"/>
              <a:gd name="T2" fmla="*/ 17 w 72"/>
              <a:gd name="T3" fmla="*/ 3 h 76"/>
              <a:gd name="T4" fmla="*/ 3 w 72"/>
              <a:gd name="T5" fmla="*/ 5 h 76"/>
              <a:gd name="T6" fmla="*/ 14 w 72"/>
              <a:gd name="T7" fmla="*/ 32 h 76"/>
              <a:gd name="T8" fmla="*/ 38 w 72"/>
              <a:gd name="T9" fmla="*/ 67 h 76"/>
              <a:gd name="T10" fmla="*/ 72 w 72"/>
              <a:gd name="T11" fmla="*/ 37 h 76"/>
            </a:gdLst>
            <a:ahLst/>
            <a:cxnLst>
              <a:cxn ang="0">
                <a:pos x="T0" y="T1"/>
              </a:cxn>
              <a:cxn ang="0">
                <a:pos x="T2" y="T3"/>
              </a:cxn>
              <a:cxn ang="0">
                <a:pos x="T4" y="T5"/>
              </a:cxn>
              <a:cxn ang="0">
                <a:pos x="T6" y="T7"/>
              </a:cxn>
              <a:cxn ang="0">
                <a:pos x="T8" y="T9"/>
              </a:cxn>
              <a:cxn ang="0">
                <a:pos x="T10" y="T11"/>
              </a:cxn>
            </a:cxnLst>
            <a:rect l="0" t="0" r="r" b="b"/>
            <a:pathLst>
              <a:path w="72" h="76">
                <a:moveTo>
                  <a:pt x="72" y="37"/>
                </a:moveTo>
                <a:cubicBezTo>
                  <a:pt x="72" y="37"/>
                  <a:pt x="41" y="10"/>
                  <a:pt x="17" y="3"/>
                </a:cubicBezTo>
                <a:cubicBezTo>
                  <a:pt x="12" y="1"/>
                  <a:pt x="7" y="0"/>
                  <a:pt x="3" y="5"/>
                </a:cubicBezTo>
                <a:cubicBezTo>
                  <a:pt x="0" y="9"/>
                  <a:pt x="1" y="20"/>
                  <a:pt x="14" y="32"/>
                </a:cubicBezTo>
                <a:cubicBezTo>
                  <a:pt x="27" y="45"/>
                  <a:pt x="38" y="67"/>
                  <a:pt x="38" y="67"/>
                </a:cubicBezTo>
                <a:cubicBezTo>
                  <a:pt x="38" y="67"/>
                  <a:pt x="55" y="76"/>
                  <a:pt x="72" y="37"/>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05">
            <a:extLst>
              <a:ext uri="{FF2B5EF4-FFF2-40B4-BE49-F238E27FC236}">
                <a16:creationId xmlns:a16="http://schemas.microsoft.com/office/drawing/2014/main" id="{77C15780-EFCA-44CC-BB5C-93408977036D}"/>
              </a:ext>
            </a:extLst>
          </p:cNvPr>
          <p:cNvSpPr>
            <a:spLocks/>
          </p:cNvSpPr>
          <p:nvPr/>
        </p:nvSpPr>
        <p:spPr bwMode="auto">
          <a:xfrm>
            <a:off x="10209809" y="3908398"/>
            <a:ext cx="44450" cy="71438"/>
          </a:xfrm>
          <a:custGeom>
            <a:avLst/>
            <a:gdLst>
              <a:gd name="T0" fmla="*/ 0 w 52"/>
              <a:gd name="T1" fmla="*/ 16 h 86"/>
              <a:gd name="T2" fmla="*/ 31 w 52"/>
              <a:gd name="T3" fmla="*/ 79 h 86"/>
              <a:gd name="T4" fmla="*/ 52 w 52"/>
              <a:gd name="T5" fmla="*/ 69 h 86"/>
              <a:gd name="T6" fmla="*/ 26 w 52"/>
              <a:gd name="T7" fmla="*/ 8 h 86"/>
              <a:gd name="T8" fmla="*/ 0 w 52"/>
              <a:gd name="T9" fmla="*/ 16 h 86"/>
            </a:gdLst>
            <a:ahLst/>
            <a:cxnLst>
              <a:cxn ang="0">
                <a:pos x="T0" y="T1"/>
              </a:cxn>
              <a:cxn ang="0">
                <a:pos x="T2" y="T3"/>
              </a:cxn>
              <a:cxn ang="0">
                <a:pos x="T4" y="T5"/>
              </a:cxn>
              <a:cxn ang="0">
                <a:pos x="T6" y="T7"/>
              </a:cxn>
              <a:cxn ang="0">
                <a:pos x="T8" y="T9"/>
              </a:cxn>
            </a:cxnLst>
            <a:rect l="0" t="0" r="r" b="b"/>
            <a:pathLst>
              <a:path w="52" h="86">
                <a:moveTo>
                  <a:pt x="0" y="16"/>
                </a:moveTo>
                <a:cubicBezTo>
                  <a:pt x="0" y="16"/>
                  <a:pt x="32" y="73"/>
                  <a:pt x="31" y="79"/>
                </a:cubicBezTo>
                <a:cubicBezTo>
                  <a:pt x="31" y="86"/>
                  <a:pt x="52" y="75"/>
                  <a:pt x="52" y="69"/>
                </a:cubicBezTo>
                <a:cubicBezTo>
                  <a:pt x="52" y="63"/>
                  <a:pt x="29" y="13"/>
                  <a:pt x="26" y="8"/>
                </a:cubicBezTo>
                <a:cubicBezTo>
                  <a:pt x="23" y="4"/>
                  <a:pt x="6" y="0"/>
                  <a:pt x="0" y="16"/>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06">
            <a:extLst>
              <a:ext uri="{FF2B5EF4-FFF2-40B4-BE49-F238E27FC236}">
                <a16:creationId xmlns:a16="http://schemas.microsoft.com/office/drawing/2014/main" id="{A649D73A-4133-44F8-87CA-43E4A7DFB7B5}"/>
              </a:ext>
            </a:extLst>
          </p:cNvPr>
          <p:cNvSpPr>
            <a:spLocks/>
          </p:cNvSpPr>
          <p:nvPr/>
        </p:nvSpPr>
        <p:spPr bwMode="auto">
          <a:xfrm>
            <a:off x="10179647" y="3844898"/>
            <a:ext cx="73025" cy="144463"/>
          </a:xfrm>
          <a:custGeom>
            <a:avLst/>
            <a:gdLst>
              <a:gd name="T0" fmla="*/ 69 w 87"/>
              <a:gd name="T1" fmla="*/ 94 h 173"/>
              <a:gd name="T2" fmla="*/ 11 w 87"/>
              <a:gd name="T3" fmla="*/ 3 h 173"/>
              <a:gd name="T4" fmla="*/ 45 w 87"/>
              <a:gd name="T5" fmla="*/ 105 h 173"/>
              <a:gd name="T6" fmla="*/ 69 w 87"/>
              <a:gd name="T7" fmla="*/ 94 h 173"/>
            </a:gdLst>
            <a:ahLst/>
            <a:cxnLst>
              <a:cxn ang="0">
                <a:pos x="T0" y="T1"/>
              </a:cxn>
              <a:cxn ang="0">
                <a:pos x="T2" y="T3"/>
              </a:cxn>
              <a:cxn ang="0">
                <a:pos x="T4" y="T5"/>
              </a:cxn>
              <a:cxn ang="0">
                <a:pos x="T6" y="T7"/>
              </a:cxn>
            </a:cxnLst>
            <a:rect l="0" t="0" r="r" b="b"/>
            <a:pathLst>
              <a:path w="87" h="173">
                <a:moveTo>
                  <a:pt x="69" y="94"/>
                </a:moveTo>
                <a:cubicBezTo>
                  <a:pt x="69" y="94"/>
                  <a:pt x="18" y="0"/>
                  <a:pt x="11" y="3"/>
                </a:cubicBezTo>
                <a:cubicBezTo>
                  <a:pt x="0" y="8"/>
                  <a:pt x="3" y="35"/>
                  <a:pt x="45" y="105"/>
                </a:cubicBezTo>
                <a:cubicBezTo>
                  <a:pt x="87" y="173"/>
                  <a:pt x="69" y="94"/>
                  <a:pt x="69" y="94"/>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07">
            <a:extLst>
              <a:ext uri="{FF2B5EF4-FFF2-40B4-BE49-F238E27FC236}">
                <a16:creationId xmlns:a16="http://schemas.microsoft.com/office/drawing/2014/main" id="{54B7C2AD-C799-46C2-855D-9AE6066450C4}"/>
              </a:ext>
            </a:extLst>
          </p:cNvPr>
          <p:cNvSpPr>
            <a:spLocks/>
          </p:cNvSpPr>
          <p:nvPr/>
        </p:nvSpPr>
        <p:spPr bwMode="auto">
          <a:xfrm>
            <a:off x="10497147" y="4033810"/>
            <a:ext cx="207963" cy="236538"/>
          </a:xfrm>
          <a:custGeom>
            <a:avLst/>
            <a:gdLst>
              <a:gd name="T0" fmla="*/ 104 w 247"/>
              <a:gd name="T1" fmla="*/ 282 h 282"/>
              <a:gd name="T2" fmla="*/ 0 w 247"/>
              <a:gd name="T3" fmla="*/ 144 h 282"/>
              <a:gd name="T4" fmla="*/ 243 w 247"/>
              <a:gd name="T5" fmla="*/ 92 h 282"/>
              <a:gd name="T6" fmla="*/ 104 w 247"/>
              <a:gd name="T7" fmla="*/ 282 h 282"/>
            </a:gdLst>
            <a:ahLst/>
            <a:cxnLst>
              <a:cxn ang="0">
                <a:pos x="T0" y="T1"/>
              </a:cxn>
              <a:cxn ang="0">
                <a:pos x="T2" y="T3"/>
              </a:cxn>
              <a:cxn ang="0">
                <a:pos x="T4" y="T5"/>
              </a:cxn>
              <a:cxn ang="0">
                <a:pos x="T6" y="T7"/>
              </a:cxn>
            </a:cxnLst>
            <a:rect l="0" t="0" r="r" b="b"/>
            <a:pathLst>
              <a:path w="247" h="282">
                <a:moveTo>
                  <a:pt x="104" y="282"/>
                </a:moveTo>
                <a:cubicBezTo>
                  <a:pt x="0" y="144"/>
                  <a:pt x="0" y="144"/>
                  <a:pt x="0" y="144"/>
                </a:cubicBezTo>
                <a:cubicBezTo>
                  <a:pt x="0" y="144"/>
                  <a:pt x="185" y="0"/>
                  <a:pt x="243" y="92"/>
                </a:cubicBezTo>
                <a:cubicBezTo>
                  <a:pt x="243" y="92"/>
                  <a:pt x="247" y="242"/>
                  <a:pt x="104" y="282"/>
                </a:cubicBez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08">
            <a:extLst>
              <a:ext uri="{FF2B5EF4-FFF2-40B4-BE49-F238E27FC236}">
                <a16:creationId xmlns:a16="http://schemas.microsoft.com/office/drawing/2014/main" id="{FD16792B-2DE0-4841-8941-81225AFB4AE0}"/>
              </a:ext>
            </a:extLst>
          </p:cNvPr>
          <p:cNvSpPr>
            <a:spLocks/>
          </p:cNvSpPr>
          <p:nvPr/>
        </p:nvSpPr>
        <p:spPr bwMode="auto">
          <a:xfrm>
            <a:off x="10528897" y="4065560"/>
            <a:ext cx="430213" cy="636588"/>
          </a:xfrm>
          <a:custGeom>
            <a:avLst/>
            <a:gdLst>
              <a:gd name="T0" fmla="*/ 3 w 513"/>
              <a:gd name="T1" fmla="*/ 239 h 759"/>
              <a:gd name="T2" fmla="*/ 34 w 513"/>
              <a:gd name="T3" fmla="*/ 340 h 759"/>
              <a:gd name="T4" fmla="*/ 39 w 513"/>
              <a:gd name="T5" fmla="*/ 434 h 759"/>
              <a:gd name="T6" fmla="*/ 53 w 513"/>
              <a:gd name="T7" fmla="*/ 707 h 759"/>
              <a:gd name="T8" fmla="*/ 439 w 513"/>
              <a:gd name="T9" fmla="*/ 720 h 759"/>
              <a:gd name="T10" fmla="*/ 376 w 513"/>
              <a:gd name="T11" fmla="*/ 566 h 759"/>
              <a:gd name="T12" fmla="*/ 392 w 513"/>
              <a:gd name="T13" fmla="*/ 466 h 759"/>
              <a:gd name="T14" fmla="*/ 455 w 513"/>
              <a:gd name="T15" fmla="*/ 345 h 759"/>
              <a:gd name="T16" fmla="*/ 455 w 513"/>
              <a:gd name="T17" fmla="*/ 345 h 759"/>
              <a:gd name="T18" fmla="*/ 482 w 513"/>
              <a:gd name="T19" fmla="*/ 298 h 759"/>
              <a:gd name="T20" fmla="*/ 482 w 513"/>
              <a:gd name="T21" fmla="*/ 298 h 759"/>
              <a:gd name="T22" fmla="*/ 497 w 513"/>
              <a:gd name="T23" fmla="*/ 263 h 759"/>
              <a:gd name="T24" fmla="*/ 469 w 513"/>
              <a:gd name="T25" fmla="*/ 39 h 759"/>
              <a:gd name="T26" fmla="*/ 357 w 513"/>
              <a:gd name="T27" fmla="*/ 11 h 759"/>
              <a:gd name="T28" fmla="*/ 286 w 513"/>
              <a:gd name="T29" fmla="*/ 0 h 759"/>
              <a:gd name="T30" fmla="*/ 184 w 513"/>
              <a:gd name="T31" fmla="*/ 11 h 759"/>
              <a:gd name="T32" fmla="*/ 94 w 513"/>
              <a:gd name="T33" fmla="*/ 35 h 759"/>
              <a:gd name="T34" fmla="*/ 39 w 513"/>
              <a:gd name="T35" fmla="*/ 128 h 759"/>
              <a:gd name="T36" fmla="*/ 3 w 513"/>
              <a:gd name="T37" fmla="*/ 23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3" h="759">
                <a:moveTo>
                  <a:pt x="3" y="239"/>
                </a:moveTo>
                <a:cubicBezTo>
                  <a:pt x="6" y="285"/>
                  <a:pt x="30" y="324"/>
                  <a:pt x="34" y="340"/>
                </a:cubicBezTo>
                <a:cubicBezTo>
                  <a:pt x="38" y="357"/>
                  <a:pt x="34" y="395"/>
                  <a:pt x="39" y="434"/>
                </a:cubicBezTo>
                <a:cubicBezTo>
                  <a:pt x="44" y="472"/>
                  <a:pt x="58" y="655"/>
                  <a:pt x="53" y="707"/>
                </a:cubicBezTo>
                <a:cubicBezTo>
                  <a:pt x="48" y="759"/>
                  <a:pt x="411" y="736"/>
                  <a:pt x="439" y="720"/>
                </a:cubicBezTo>
                <a:cubicBezTo>
                  <a:pt x="439" y="720"/>
                  <a:pt x="378" y="611"/>
                  <a:pt x="376" y="566"/>
                </a:cubicBezTo>
                <a:cubicBezTo>
                  <a:pt x="376" y="550"/>
                  <a:pt x="366" y="502"/>
                  <a:pt x="392" y="466"/>
                </a:cubicBezTo>
                <a:cubicBezTo>
                  <a:pt x="405" y="448"/>
                  <a:pt x="430" y="388"/>
                  <a:pt x="455" y="345"/>
                </a:cubicBezTo>
                <a:cubicBezTo>
                  <a:pt x="455" y="345"/>
                  <a:pt x="451" y="336"/>
                  <a:pt x="455" y="345"/>
                </a:cubicBezTo>
                <a:cubicBezTo>
                  <a:pt x="465" y="328"/>
                  <a:pt x="475" y="311"/>
                  <a:pt x="482" y="298"/>
                </a:cubicBezTo>
                <a:cubicBezTo>
                  <a:pt x="482" y="298"/>
                  <a:pt x="482" y="298"/>
                  <a:pt x="482" y="298"/>
                </a:cubicBezTo>
                <a:cubicBezTo>
                  <a:pt x="492" y="282"/>
                  <a:pt x="497" y="263"/>
                  <a:pt x="497" y="263"/>
                </a:cubicBezTo>
                <a:cubicBezTo>
                  <a:pt x="497" y="263"/>
                  <a:pt x="513" y="62"/>
                  <a:pt x="469" y="39"/>
                </a:cubicBezTo>
                <a:cubicBezTo>
                  <a:pt x="424" y="17"/>
                  <a:pt x="401" y="13"/>
                  <a:pt x="357" y="11"/>
                </a:cubicBezTo>
                <a:cubicBezTo>
                  <a:pt x="314" y="9"/>
                  <a:pt x="286" y="0"/>
                  <a:pt x="286" y="0"/>
                </a:cubicBezTo>
                <a:cubicBezTo>
                  <a:pt x="184" y="11"/>
                  <a:pt x="184" y="11"/>
                  <a:pt x="184" y="11"/>
                </a:cubicBezTo>
                <a:cubicBezTo>
                  <a:pt x="184" y="11"/>
                  <a:pt x="119" y="33"/>
                  <a:pt x="94" y="35"/>
                </a:cubicBezTo>
                <a:cubicBezTo>
                  <a:pt x="68" y="37"/>
                  <a:pt x="36" y="92"/>
                  <a:pt x="39" y="128"/>
                </a:cubicBezTo>
                <a:cubicBezTo>
                  <a:pt x="42" y="163"/>
                  <a:pt x="0" y="193"/>
                  <a:pt x="3" y="239"/>
                </a:cubicBez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09">
            <a:extLst>
              <a:ext uri="{FF2B5EF4-FFF2-40B4-BE49-F238E27FC236}">
                <a16:creationId xmlns:a16="http://schemas.microsoft.com/office/drawing/2014/main" id="{106DA2EC-602F-4ED1-A5E0-C8ABD79473FC}"/>
              </a:ext>
            </a:extLst>
          </p:cNvPr>
          <p:cNvSpPr>
            <a:spLocks/>
          </p:cNvSpPr>
          <p:nvPr/>
        </p:nvSpPr>
        <p:spPr bwMode="auto">
          <a:xfrm>
            <a:off x="11071822" y="4891060"/>
            <a:ext cx="36513" cy="92075"/>
          </a:xfrm>
          <a:custGeom>
            <a:avLst/>
            <a:gdLst>
              <a:gd name="T0" fmla="*/ 29 w 44"/>
              <a:gd name="T1" fmla="*/ 3 h 110"/>
              <a:gd name="T2" fmla="*/ 2 w 44"/>
              <a:gd name="T3" fmla="*/ 110 h 110"/>
              <a:gd name="T4" fmla="*/ 35 w 44"/>
              <a:gd name="T5" fmla="*/ 105 h 110"/>
              <a:gd name="T6" fmla="*/ 44 w 44"/>
              <a:gd name="T7" fmla="*/ 20 h 110"/>
              <a:gd name="T8" fmla="*/ 29 w 44"/>
              <a:gd name="T9" fmla="*/ 3 h 110"/>
            </a:gdLst>
            <a:ahLst/>
            <a:cxnLst>
              <a:cxn ang="0">
                <a:pos x="T0" y="T1"/>
              </a:cxn>
              <a:cxn ang="0">
                <a:pos x="T2" y="T3"/>
              </a:cxn>
              <a:cxn ang="0">
                <a:pos x="T4" y="T5"/>
              </a:cxn>
              <a:cxn ang="0">
                <a:pos x="T6" y="T7"/>
              </a:cxn>
              <a:cxn ang="0">
                <a:pos x="T8" y="T9"/>
              </a:cxn>
            </a:cxnLst>
            <a:rect l="0" t="0" r="r" b="b"/>
            <a:pathLst>
              <a:path w="44" h="110">
                <a:moveTo>
                  <a:pt x="29" y="3"/>
                </a:moveTo>
                <a:cubicBezTo>
                  <a:pt x="29" y="3"/>
                  <a:pt x="0" y="11"/>
                  <a:pt x="2" y="110"/>
                </a:cubicBezTo>
                <a:cubicBezTo>
                  <a:pt x="35" y="105"/>
                  <a:pt x="35" y="105"/>
                  <a:pt x="35" y="105"/>
                </a:cubicBezTo>
                <a:cubicBezTo>
                  <a:pt x="35" y="105"/>
                  <a:pt x="34" y="50"/>
                  <a:pt x="44" y="20"/>
                </a:cubicBezTo>
                <a:cubicBezTo>
                  <a:pt x="44" y="20"/>
                  <a:pt x="42" y="0"/>
                  <a:pt x="29" y="3"/>
                </a:cubicBezTo>
                <a:close/>
              </a:path>
            </a:pathLst>
          </a:custGeom>
          <a:solidFill>
            <a:srgbClr val="6601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10">
            <a:extLst>
              <a:ext uri="{FF2B5EF4-FFF2-40B4-BE49-F238E27FC236}">
                <a16:creationId xmlns:a16="http://schemas.microsoft.com/office/drawing/2014/main" id="{7B27F7DC-3B08-423E-AF03-685D6B2E12BF}"/>
              </a:ext>
            </a:extLst>
          </p:cNvPr>
          <p:cNvSpPr>
            <a:spLocks/>
          </p:cNvSpPr>
          <p:nvPr/>
        </p:nvSpPr>
        <p:spPr bwMode="auto">
          <a:xfrm>
            <a:off x="10994034" y="4940273"/>
            <a:ext cx="215900" cy="395288"/>
          </a:xfrm>
          <a:custGeom>
            <a:avLst/>
            <a:gdLst>
              <a:gd name="T0" fmla="*/ 0 w 136"/>
              <a:gd name="T1" fmla="*/ 39 h 249"/>
              <a:gd name="T2" fmla="*/ 136 w 136"/>
              <a:gd name="T3" fmla="*/ 0 h 249"/>
              <a:gd name="T4" fmla="*/ 136 w 136"/>
              <a:gd name="T5" fmla="*/ 168 h 249"/>
              <a:gd name="T6" fmla="*/ 0 w 136"/>
              <a:gd name="T7" fmla="*/ 249 h 249"/>
              <a:gd name="T8" fmla="*/ 0 w 136"/>
              <a:gd name="T9" fmla="*/ 39 h 249"/>
            </a:gdLst>
            <a:ahLst/>
            <a:cxnLst>
              <a:cxn ang="0">
                <a:pos x="T0" y="T1"/>
              </a:cxn>
              <a:cxn ang="0">
                <a:pos x="T2" y="T3"/>
              </a:cxn>
              <a:cxn ang="0">
                <a:pos x="T4" y="T5"/>
              </a:cxn>
              <a:cxn ang="0">
                <a:pos x="T6" y="T7"/>
              </a:cxn>
              <a:cxn ang="0">
                <a:pos x="T8" y="T9"/>
              </a:cxn>
            </a:cxnLst>
            <a:rect l="0" t="0" r="r" b="b"/>
            <a:pathLst>
              <a:path w="136" h="249">
                <a:moveTo>
                  <a:pt x="0" y="39"/>
                </a:moveTo>
                <a:lnTo>
                  <a:pt x="136" y="0"/>
                </a:lnTo>
                <a:lnTo>
                  <a:pt x="136" y="168"/>
                </a:lnTo>
                <a:lnTo>
                  <a:pt x="0" y="249"/>
                </a:lnTo>
                <a:lnTo>
                  <a:pt x="0" y="39"/>
                </a:lnTo>
                <a:close/>
              </a:path>
            </a:pathLst>
          </a:custGeom>
          <a:solidFill>
            <a:srgbClr val="6601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11">
            <a:extLst>
              <a:ext uri="{FF2B5EF4-FFF2-40B4-BE49-F238E27FC236}">
                <a16:creationId xmlns:a16="http://schemas.microsoft.com/office/drawing/2014/main" id="{9D70222A-80F3-41F7-9C24-65867A5C5B80}"/>
              </a:ext>
            </a:extLst>
          </p:cNvPr>
          <p:cNvSpPr>
            <a:spLocks/>
          </p:cNvSpPr>
          <p:nvPr/>
        </p:nvSpPr>
        <p:spPr bwMode="auto">
          <a:xfrm>
            <a:off x="10994034" y="4940273"/>
            <a:ext cx="236538" cy="400050"/>
          </a:xfrm>
          <a:custGeom>
            <a:avLst/>
            <a:gdLst>
              <a:gd name="T0" fmla="*/ 0 w 149"/>
              <a:gd name="T1" fmla="*/ 249 h 252"/>
              <a:gd name="T2" fmla="*/ 17 w 149"/>
              <a:gd name="T3" fmla="*/ 252 h 252"/>
              <a:gd name="T4" fmla="*/ 149 w 149"/>
              <a:gd name="T5" fmla="*/ 171 h 252"/>
              <a:gd name="T6" fmla="*/ 147 w 149"/>
              <a:gd name="T7" fmla="*/ 1 h 252"/>
              <a:gd name="T8" fmla="*/ 136 w 149"/>
              <a:gd name="T9" fmla="*/ 0 h 252"/>
              <a:gd name="T10" fmla="*/ 0 w 149"/>
              <a:gd name="T11" fmla="*/ 249 h 252"/>
            </a:gdLst>
            <a:ahLst/>
            <a:cxnLst>
              <a:cxn ang="0">
                <a:pos x="T0" y="T1"/>
              </a:cxn>
              <a:cxn ang="0">
                <a:pos x="T2" y="T3"/>
              </a:cxn>
              <a:cxn ang="0">
                <a:pos x="T4" y="T5"/>
              </a:cxn>
              <a:cxn ang="0">
                <a:pos x="T6" y="T7"/>
              </a:cxn>
              <a:cxn ang="0">
                <a:pos x="T8" y="T9"/>
              </a:cxn>
              <a:cxn ang="0">
                <a:pos x="T10" y="T11"/>
              </a:cxn>
            </a:cxnLst>
            <a:rect l="0" t="0" r="r" b="b"/>
            <a:pathLst>
              <a:path w="149" h="252">
                <a:moveTo>
                  <a:pt x="0" y="249"/>
                </a:moveTo>
                <a:lnTo>
                  <a:pt x="17" y="252"/>
                </a:lnTo>
                <a:lnTo>
                  <a:pt x="149" y="171"/>
                </a:lnTo>
                <a:lnTo>
                  <a:pt x="147" y="1"/>
                </a:lnTo>
                <a:lnTo>
                  <a:pt x="136" y="0"/>
                </a:lnTo>
                <a:lnTo>
                  <a:pt x="0" y="249"/>
                </a:lnTo>
                <a:close/>
              </a:path>
            </a:pathLst>
          </a:custGeom>
          <a:solidFill>
            <a:srgbClr val="6601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12">
            <a:extLst>
              <a:ext uri="{FF2B5EF4-FFF2-40B4-BE49-F238E27FC236}">
                <a16:creationId xmlns:a16="http://schemas.microsoft.com/office/drawing/2014/main" id="{4CD8E563-9F78-4169-99DE-6E5185CB71A9}"/>
              </a:ext>
            </a:extLst>
          </p:cNvPr>
          <p:cNvSpPr>
            <a:spLocks/>
          </p:cNvSpPr>
          <p:nvPr/>
        </p:nvSpPr>
        <p:spPr bwMode="auto">
          <a:xfrm>
            <a:off x="10828934" y="4083023"/>
            <a:ext cx="306388" cy="741363"/>
          </a:xfrm>
          <a:custGeom>
            <a:avLst/>
            <a:gdLst>
              <a:gd name="T0" fmla="*/ 68 w 365"/>
              <a:gd name="T1" fmla="*/ 0 h 885"/>
              <a:gd name="T2" fmla="*/ 185 w 365"/>
              <a:gd name="T3" fmla="*/ 70 h 885"/>
              <a:gd name="T4" fmla="*/ 235 w 365"/>
              <a:gd name="T5" fmla="*/ 243 h 885"/>
              <a:gd name="T6" fmla="*/ 275 w 365"/>
              <a:gd name="T7" fmla="*/ 448 h 885"/>
              <a:gd name="T8" fmla="*/ 350 w 365"/>
              <a:gd name="T9" fmla="*/ 711 h 885"/>
              <a:gd name="T10" fmla="*/ 365 w 365"/>
              <a:gd name="T11" fmla="*/ 885 h 885"/>
              <a:gd name="T12" fmla="*/ 301 w 365"/>
              <a:gd name="T13" fmla="*/ 883 h 885"/>
              <a:gd name="T14" fmla="*/ 214 w 365"/>
              <a:gd name="T15" fmla="*/ 592 h 885"/>
              <a:gd name="T16" fmla="*/ 177 w 365"/>
              <a:gd name="T17" fmla="*/ 431 h 885"/>
              <a:gd name="T18" fmla="*/ 86 w 365"/>
              <a:gd name="T19" fmla="*/ 179 h 885"/>
              <a:gd name="T20" fmla="*/ 68 w 365"/>
              <a:gd name="T21" fmla="*/ 0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5" h="885">
                <a:moveTo>
                  <a:pt x="68" y="0"/>
                </a:moveTo>
                <a:cubicBezTo>
                  <a:pt x="68" y="0"/>
                  <a:pt x="149" y="0"/>
                  <a:pt x="185" y="70"/>
                </a:cubicBezTo>
                <a:cubicBezTo>
                  <a:pt x="222" y="141"/>
                  <a:pt x="226" y="216"/>
                  <a:pt x="235" y="243"/>
                </a:cubicBezTo>
                <a:cubicBezTo>
                  <a:pt x="243" y="269"/>
                  <a:pt x="267" y="425"/>
                  <a:pt x="275" y="448"/>
                </a:cubicBezTo>
                <a:cubicBezTo>
                  <a:pt x="284" y="471"/>
                  <a:pt x="337" y="624"/>
                  <a:pt x="350" y="711"/>
                </a:cubicBezTo>
                <a:cubicBezTo>
                  <a:pt x="362" y="798"/>
                  <a:pt x="365" y="885"/>
                  <a:pt x="365" y="885"/>
                </a:cubicBezTo>
                <a:cubicBezTo>
                  <a:pt x="301" y="883"/>
                  <a:pt x="301" y="883"/>
                  <a:pt x="301" y="883"/>
                </a:cubicBezTo>
                <a:cubicBezTo>
                  <a:pt x="301" y="883"/>
                  <a:pt x="236" y="648"/>
                  <a:pt x="214" y="592"/>
                </a:cubicBezTo>
                <a:cubicBezTo>
                  <a:pt x="196" y="544"/>
                  <a:pt x="188" y="460"/>
                  <a:pt x="177" y="431"/>
                </a:cubicBezTo>
                <a:cubicBezTo>
                  <a:pt x="167" y="401"/>
                  <a:pt x="100" y="193"/>
                  <a:pt x="86" y="179"/>
                </a:cubicBezTo>
                <a:cubicBezTo>
                  <a:pt x="72" y="164"/>
                  <a:pt x="0" y="13"/>
                  <a:pt x="68" y="0"/>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13">
            <a:extLst>
              <a:ext uri="{FF2B5EF4-FFF2-40B4-BE49-F238E27FC236}">
                <a16:creationId xmlns:a16="http://schemas.microsoft.com/office/drawing/2014/main" id="{96B13706-DC96-4E65-8307-254E22307194}"/>
              </a:ext>
            </a:extLst>
          </p:cNvPr>
          <p:cNvSpPr>
            <a:spLocks/>
          </p:cNvSpPr>
          <p:nvPr/>
        </p:nvSpPr>
        <p:spPr bwMode="auto">
          <a:xfrm>
            <a:off x="10792422" y="4078260"/>
            <a:ext cx="254000" cy="246063"/>
          </a:xfrm>
          <a:custGeom>
            <a:avLst/>
            <a:gdLst>
              <a:gd name="T0" fmla="*/ 139 w 303"/>
              <a:gd name="T1" fmla="*/ 294 h 294"/>
              <a:gd name="T2" fmla="*/ 303 w 303"/>
              <a:gd name="T3" fmla="*/ 242 h 294"/>
              <a:gd name="T4" fmla="*/ 112 w 303"/>
              <a:gd name="T5" fmla="*/ 7 h 294"/>
              <a:gd name="T6" fmla="*/ 139 w 303"/>
              <a:gd name="T7" fmla="*/ 294 h 294"/>
            </a:gdLst>
            <a:ahLst/>
            <a:cxnLst>
              <a:cxn ang="0">
                <a:pos x="T0" y="T1"/>
              </a:cxn>
              <a:cxn ang="0">
                <a:pos x="T2" y="T3"/>
              </a:cxn>
              <a:cxn ang="0">
                <a:pos x="T4" y="T5"/>
              </a:cxn>
              <a:cxn ang="0">
                <a:pos x="T6" y="T7"/>
              </a:cxn>
            </a:cxnLst>
            <a:rect l="0" t="0" r="r" b="b"/>
            <a:pathLst>
              <a:path w="303" h="294">
                <a:moveTo>
                  <a:pt x="139" y="294"/>
                </a:moveTo>
                <a:cubicBezTo>
                  <a:pt x="303" y="242"/>
                  <a:pt x="303" y="242"/>
                  <a:pt x="303" y="242"/>
                </a:cubicBezTo>
                <a:cubicBezTo>
                  <a:pt x="303" y="242"/>
                  <a:pt x="253" y="0"/>
                  <a:pt x="112" y="7"/>
                </a:cubicBezTo>
                <a:cubicBezTo>
                  <a:pt x="0" y="12"/>
                  <a:pt x="139" y="294"/>
                  <a:pt x="139" y="294"/>
                </a:cubicBez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14">
            <a:extLst>
              <a:ext uri="{FF2B5EF4-FFF2-40B4-BE49-F238E27FC236}">
                <a16:creationId xmlns:a16="http://schemas.microsoft.com/office/drawing/2014/main" id="{BA4FDFD6-8933-495D-8586-2244E0B22BBC}"/>
              </a:ext>
            </a:extLst>
          </p:cNvPr>
          <p:cNvSpPr>
            <a:spLocks/>
          </p:cNvSpPr>
          <p:nvPr/>
        </p:nvSpPr>
        <p:spPr bwMode="auto">
          <a:xfrm>
            <a:off x="10571759" y="3684560"/>
            <a:ext cx="320675" cy="330200"/>
          </a:xfrm>
          <a:custGeom>
            <a:avLst/>
            <a:gdLst>
              <a:gd name="T0" fmla="*/ 199 w 381"/>
              <a:gd name="T1" fmla="*/ 8 h 394"/>
              <a:gd name="T2" fmla="*/ 22 w 381"/>
              <a:gd name="T3" fmla="*/ 130 h 394"/>
              <a:gd name="T4" fmla="*/ 27 w 381"/>
              <a:gd name="T5" fmla="*/ 189 h 394"/>
              <a:gd name="T6" fmla="*/ 6 w 381"/>
              <a:gd name="T7" fmla="*/ 292 h 394"/>
              <a:gd name="T8" fmla="*/ 35 w 381"/>
              <a:gd name="T9" fmla="*/ 304 h 394"/>
              <a:gd name="T10" fmla="*/ 81 w 381"/>
              <a:gd name="T11" fmla="*/ 391 h 394"/>
              <a:gd name="T12" fmla="*/ 284 w 381"/>
              <a:gd name="T13" fmla="*/ 288 h 394"/>
              <a:gd name="T14" fmla="*/ 199 w 381"/>
              <a:gd name="T15" fmla="*/ 8 h 3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1" h="394">
                <a:moveTo>
                  <a:pt x="199" y="8"/>
                </a:moveTo>
                <a:cubicBezTo>
                  <a:pt x="154" y="0"/>
                  <a:pt x="51" y="12"/>
                  <a:pt x="22" y="130"/>
                </a:cubicBezTo>
                <a:cubicBezTo>
                  <a:pt x="22" y="130"/>
                  <a:pt x="22" y="163"/>
                  <a:pt x="27" y="189"/>
                </a:cubicBezTo>
                <a:cubicBezTo>
                  <a:pt x="32" y="215"/>
                  <a:pt x="0" y="288"/>
                  <a:pt x="6" y="292"/>
                </a:cubicBezTo>
                <a:cubicBezTo>
                  <a:pt x="11" y="296"/>
                  <a:pt x="35" y="304"/>
                  <a:pt x="35" y="304"/>
                </a:cubicBezTo>
                <a:cubicBezTo>
                  <a:pt x="35" y="304"/>
                  <a:pt x="52" y="389"/>
                  <a:pt x="81" y="391"/>
                </a:cubicBezTo>
                <a:cubicBezTo>
                  <a:pt x="110" y="394"/>
                  <a:pt x="221" y="384"/>
                  <a:pt x="284" y="288"/>
                </a:cubicBezTo>
                <a:cubicBezTo>
                  <a:pt x="347" y="192"/>
                  <a:pt x="381" y="37"/>
                  <a:pt x="199" y="8"/>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15">
            <a:extLst>
              <a:ext uri="{FF2B5EF4-FFF2-40B4-BE49-F238E27FC236}">
                <a16:creationId xmlns:a16="http://schemas.microsoft.com/office/drawing/2014/main" id="{C2646659-4782-4220-BB4B-A7DEA77AF828}"/>
              </a:ext>
            </a:extLst>
          </p:cNvPr>
          <p:cNvSpPr>
            <a:spLocks/>
          </p:cNvSpPr>
          <p:nvPr/>
        </p:nvSpPr>
        <p:spPr bwMode="auto">
          <a:xfrm>
            <a:off x="10674947" y="3886173"/>
            <a:ext cx="150813" cy="250825"/>
          </a:xfrm>
          <a:custGeom>
            <a:avLst/>
            <a:gdLst>
              <a:gd name="T0" fmla="*/ 2 w 180"/>
              <a:gd name="T1" fmla="*/ 117 h 300"/>
              <a:gd name="T2" fmla="*/ 7 w 180"/>
              <a:gd name="T3" fmla="*/ 147 h 300"/>
              <a:gd name="T4" fmla="*/ 9 w 180"/>
              <a:gd name="T5" fmla="*/ 177 h 300"/>
              <a:gd name="T6" fmla="*/ 0 w 180"/>
              <a:gd name="T7" fmla="*/ 265 h 300"/>
              <a:gd name="T8" fmla="*/ 117 w 180"/>
              <a:gd name="T9" fmla="*/ 216 h 300"/>
              <a:gd name="T10" fmla="*/ 145 w 180"/>
              <a:gd name="T11" fmla="*/ 56 h 300"/>
              <a:gd name="T12" fmla="*/ 2 w 180"/>
              <a:gd name="T13" fmla="*/ 117 h 300"/>
            </a:gdLst>
            <a:ahLst/>
            <a:cxnLst>
              <a:cxn ang="0">
                <a:pos x="T0" y="T1"/>
              </a:cxn>
              <a:cxn ang="0">
                <a:pos x="T2" y="T3"/>
              </a:cxn>
              <a:cxn ang="0">
                <a:pos x="T4" y="T5"/>
              </a:cxn>
              <a:cxn ang="0">
                <a:pos x="T6" y="T7"/>
              </a:cxn>
              <a:cxn ang="0">
                <a:pos x="T8" y="T9"/>
              </a:cxn>
              <a:cxn ang="0">
                <a:pos x="T10" y="T11"/>
              </a:cxn>
              <a:cxn ang="0">
                <a:pos x="T12" y="T13"/>
              </a:cxn>
            </a:cxnLst>
            <a:rect l="0" t="0" r="r" b="b"/>
            <a:pathLst>
              <a:path w="180" h="300">
                <a:moveTo>
                  <a:pt x="2" y="117"/>
                </a:moveTo>
                <a:cubicBezTo>
                  <a:pt x="2" y="117"/>
                  <a:pt x="4" y="129"/>
                  <a:pt x="7" y="147"/>
                </a:cubicBezTo>
                <a:cubicBezTo>
                  <a:pt x="8" y="156"/>
                  <a:pt x="9" y="166"/>
                  <a:pt x="9" y="177"/>
                </a:cubicBezTo>
                <a:cubicBezTo>
                  <a:pt x="11" y="208"/>
                  <a:pt x="10" y="243"/>
                  <a:pt x="0" y="265"/>
                </a:cubicBezTo>
                <a:cubicBezTo>
                  <a:pt x="0" y="265"/>
                  <a:pt x="56" y="300"/>
                  <a:pt x="117" y="216"/>
                </a:cubicBezTo>
                <a:cubicBezTo>
                  <a:pt x="117" y="216"/>
                  <a:pt x="111" y="111"/>
                  <a:pt x="145" y="56"/>
                </a:cubicBezTo>
                <a:cubicBezTo>
                  <a:pt x="180" y="0"/>
                  <a:pt x="2" y="117"/>
                  <a:pt x="2" y="117"/>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6">
            <a:extLst>
              <a:ext uri="{FF2B5EF4-FFF2-40B4-BE49-F238E27FC236}">
                <a16:creationId xmlns:a16="http://schemas.microsoft.com/office/drawing/2014/main" id="{4E550FD6-ADFF-4FBA-BC25-F6E8B96EF2D2}"/>
              </a:ext>
            </a:extLst>
          </p:cNvPr>
          <p:cNvSpPr>
            <a:spLocks/>
          </p:cNvSpPr>
          <p:nvPr/>
        </p:nvSpPr>
        <p:spPr bwMode="auto">
          <a:xfrm>
            <a:off x="10590809" y="3627410"/>
            <a:ext cx="315913" cy="312738"/>
          </a:xfrm>
          <a:custGeom>
            <a:avLst/>
            <a:gdLst>
              <a:gd name="T0" fmla="*/ 0 w 376"/>
              <a:gd name="T1" fmla="*/ 197 h 373"/>
              <a:gd name="T2" fmla="*/ 139 w 376"/>
              <a:gd name="T3" fmla="*/ 274 h 373"/>
              <a:gd name="T4" fmla="*/ 249 w 376"/>
              <a:gd name="T5" fmla="*/ 373 h 373"/>
              <a:gd name="T6" fmla="*/ 299 w 376"/>
              <a:gd name="T7" fmla="*/ 123 h 373"/>
              <a:gd name="T8" fmla="*/ 0 w 376"/>
              <a:gd name="T9" fmla="*/ 197 h 373"/>
            </a:gdLst>
            <a:ahLst/>
            <a:cxnLst>
              <a:cxn ang="0">
                <a:pos x="T0" y="T1"/>
              </a:cxn>
              <a:cxn ang="0">
                <a:pos x="T2" y="T3"/>
              </a:cxn>
              <a:cxn ang="0">
                <a:pos x="T4" y="T5"/>
              </a:cxn>
              <a:cxn ang="0">
                <a:pos x="T6" y="T7"/>
              </a:cxn>
              <a:cxn ang="0">
                <a:pos x="T8" y="T9"/>
              </a:cxn>
            </a:cxnLst>
            <a:rect l="0" t="0" r="r" b="b"/>
            <a:pathLst>
              <a:path w="376" h="373">
                <a:moveTo>
                  <a:pt x="0" y="197"/>
                </a:moveTo>
                <a:cubicBezTo>
                  <a:pt x="0" y="197"/>
                  <a:pt x="68" y="255"/>
                  <a:pt x="139" y="274"/>
                </a:cubicBezTo>
                <a:cubicBezTo>
                  <a:pt x="211" y="292"/>
                  <a:pt x="249" y="373"/>
                  <a:pt x="249" y="373"/>
                </a:cubicBezTo>
                <a:cubicBezTo>
                  <a:pt x="249" y="373"/>
                  <a:pt x="376" y="246"/>
                  <a:pt x="299" y="123"/>
                </a:cubicBezTo>
                <a:cubicBezTo>
                  <a:pt x="223" y="0"/>
                  <a:pt x="0" y="55"/>
                  <a:pt x="0" y="197"/>
                </a:cubicBezTo>
                <a:close/>
              </a:path>
            </a:pathLst>
          </a:custGeom>
          <a:solidFill>
            <a:srgbClr val="434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17">
            <a:extLst>
              <a:ext uri="{FF2B5EF4-FFF2-40B4-BE49-F238E27FC236}">
                <a16:creationId xmlns:a16="http://schemas.microsoft.com/office/drawing/2014/main" id="{9074BDF5-965F-4872-86B8-95E409B703A7}"/>
              </a:ext>
            </a:extLst>
          </p:cNvPr>
          <p:cNvSpPr>
            <a:spLocks/>
          </p:cNvSpPr>
          <p:nvPr/>
        </p:nvSpPr>
        <p:spPr bwMode="auto">
          <a:xfrm>
            <a:off x="10679709" y="3973485"/>
            <a:ext cx="84138" cy="60325"/>
          </a:xfrm>
          <a:custGeom>
            <a:avLst/>
            <a:gdLst>
              <a:gd name="T0" fmla="*/ 0 w 100"/>
              <a:gd name="T1" fmla="*/ 43 h 73"/>
              <a:gd name="T2" fmla="*/ 2 w 100"/>
              <a:gd name="T3" fmla="*/ 73 h 73"/>
              <a:gd name="T4" fmla="*/ 100 w 100"/>
              <a:gd name="T5" fmla="*/ 0 h 73"/>
              <a:gd name="T6" fmla="*/ 0 w 100"/>
              <a:gd name="T7" fmla="*/ 43 h 73"/>
            </a:gdLst>
            <a:ahLst/>
            <a:cxnLst>
              <a:cxn ang="0">
                <a:pos x="T0" y="T1"/>
              </a:cxn>
              <a:cxn ang="0">
                <a:pos x="T2" y="T3"/>
              </a:cxn>
              <a:cxn ang="0">
                <a:pos x="T4" y="T5"/>
              </a:cxn>
              <a:cxn ang="0">
                <a:pos x="T6" y="T7"/>
              </a:cxn>
            </a:cxnLst>
            <a:rect l="0" t="0" r="r" b="b"/>
            <a:pathLst>
              <a:path w="100" h="73">
                <a:moveTo>
                  <a:pt x="0" y="43"/>
                </a:moveTo>
                <a:cubicBezTo>
                  <a:pt x="1" y="52"/>
                  <a:pt x="2" y="62"/>
                  <a:pt x="2" y="73"/>
                </a:cubicBezTo>
                <a:cubicBezTo>
                  <a:pt x="66" y="42"/>
                  <a:pt x="100" y="0"/>
                  <a:pt x="100" y="0"/>
                </a:cubicBezTo>
                <a:cubicBezTo>
                  <a:pt x="63" y="27"/>
                  <a:pt x="0" y="43"/>
                  <a:pt x="0" y="43"/>
                </a:cubicBezTo>
                <a:close/>
              </a:path>
            </a:pathLst>
          </a:custGeom>
          <a:solidFill>
            <a:srgbClr val="A778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18">
            <a:extLst>
              <a:ext uri="{FF2B5EF4-FFF2-40B4-BE49-F238E27FC236}">
                <a16:creationId xmlns:a16="http://schemas.microsoft.com/office/drawing/2014/main" id="{11E12DD7-E914-4567-8D2C-A4A6F5F79E1C}"/>
              </a:ext>
            </a:extLst>
          </p:cNvPr>
          <p:cNvSpPr>
            <a:spLocks/>
          </p:cNvSpPr>
          <p:nvPr/>
        </p:nvSpPr>
        <p:spPr bwMode="auto">
          <a:xfrm>
            <a:off x="10719397" y="3782985"/>
            <a:ext cx="144463" cy="295275"/>
          </a:xfrm>
          <a:custGeom>
            <a:avLst/>
            <a:gdLst>
              <a:gd name="T0" fmla="*/ 0 w 172"/>
              <a:gd name="T1" fmla="*/ 93 h 352"/>
              <a:gd name="T2" fmla="*/ 64 w 172"/>
              <a:gd name="T3" fmla="*/ 338 h 352"/>
              <a:gd name="T4" fmla="*/ 172 w 172"/>
              <a:gd name="T5" fmla="*/ 352 h 352"/>
              <a:gd name="T6" fmla="*/ 0 w 172"/>
              <a:gd name="T7" fmla="*/ 93 h 352"/>
            </a:gdLst>
            <a:ahLst/>
            <a:cxnLst>
              <a:cxn ang="0">
                <a:pos x="T0" y="T1"/>
              </a:cxn>
              <a:cxn ang="0">
                <a:pos x="T2" y="T3"/>
              </a:cxn>
              <a:cxn ang="0">
                <a:pos x="T4" y="T5"/>
              </a:cxn>
              <a:cxn ang="0">
                <a:pos x="T6" y="T7"/>
              </a:cxn>
            </a:cxnLst>
            <a:rect l="0" t="0" r="r" b="b"/>
            <a:pathLst>
              <a:path w="172" h="352">
                <a:moveTo>
                  <a:pt x="0" y="93"/>
                </a:moveTo>
                <a:cubicBezTo>
                  <a:pt x="0" y="93"/>
                  <a:pt x="73" y="290"/>
                  <a:pt x="64" y="338"/>
                </a:cubicBezTo>
                <a:cubicBezTo>
                  <a:pt x="64" y="338"/>
                  <a:pt x="103" y="331"/>
                  <a:pt x="172" y="352"/>
                </a:cubicBezTo>
                <a:cubicBezTo>
                  <a:pt x="172" y="352"/>
                  <a:pt x="139" y="0"/>
                  <a:pt x="0" y="93"/>
                </a:cubicBezTo>
                <a:close/>
              </a:path>
            </a:pathLst>
          </a:custGeom>
          <a:solidFill>
            <a:srgbClr val="4343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19">
            <a:extLst>
              <a:ext uri="{FF2B5EF4-FFF2-40B4-BE49-F238E27FC236}">
                <a16:creationId xmlns:a16="http://schemas.microsoft.com/office/drawing/2014/main" id="{A10EF9B1-D6B0-4AFE-90F9-3FDC8FFB909B}"/>
              </a:ext>
            </a:extLst>
          </p:cNvPr>
          <p:cNvSpPr>
            <a:spLocks/>
          </p:cNvSpPr>
          <p:nvPr/>
        </p:nvSpPr>
        <p:spPr bwMode="auto">
          <a:xfrm>
            <a:off x="10622559" y="4049685"/>
            <a:ext cx="171450" cy="146050"/>
          </a:xfrm>
          <a:custGeom>
            <a:avLst/>
            <a:gdLst>
              <a:gd name="T0" fmla="*/ 204 w 204"/>
              <a:gd name="T1" fmla="*/ 25 h 173"/>
              <a:gd name="T2" fmla="*/ 90 w 204"/>
              <a:gd name="T3" fmla="*/ 157 h 173"/>
              <a:gd name="T4" fmla="*/ 68 w 204"/>
              <a:gd name="T5" fmla="*/ 31 h 173"/>
              <a:gd name="T6" fmla="*/ 204 w 204"/>
              <a:gd name="T7" fmla="*/ 25 h 173"/>
            </a:gdLst>
            <a:ahLst/>
            <a:cxnLst>
              <a:cxn ang="0">
                <a:pos x="T0" y="T1"/>
              </a:cxn>
              <a:cxn ang="0">
                <a:pos x="T2" y="T3"/>
              </a:cxn>
              <a:cxn ang="0">
                <a:pos x="T4" y="T5"/>
              </a:cxn>
              <a:cxn ang="0">
                <a:pos x="T6" y="T7"/>
              </a:cxn>
            </a:cxnLst>
            <a:rect l="0" t="0" r="r" b="b"/>
            <a:pathLst>
              <a:path w="204" h="173">
                <a:moveTo>
                  <a:pt x="204" y="25"/>
                </a:moveTo>
                <a:cubicBezTo>
                  <a:pt x="204" y="25"/>
                  <a:pt x="179" y="173"/>
                  <a:pt x="90" y="157"/>
                </a:cubicBezTo>
                <a:cubicBezTo>
                  <a:pt x="0" y="140"/>
                  <a:pt x="68" y="31"/>
                  <a:pt x="68" y="31"/>
                </a:cubicBezTo>
                <a:cubicBezTo>
                  <a:pt x="68" y="31"/>
                  <a:pt x="103" y="0"/>
                  <a:pt x="204" y="25"/>
                </a:cubicBezTo>
                <a:close/>
              </a:path>
            </a:pathLst>
          </a:custGeom>
          <a:solidFill>
            <a:srgbClr val="EEA8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15">
            <a:extLst>
              <a:ext uri="{FF2B5EF4-FFF2-40B4-BE49-F238E27FC236}">
                <a16:creationId xmlns:a16="http://schemas.microsoft.com/office/drawing/2014/main" id="{9FFEFC98-2DE0-4674-A5FD-773BF3717080}"/>
              </a:ext>
            </a:extLst>
          </p:cNvPr>
          <p:cNvSpPr>
            <a:spLocks noChangeArrowheads="1"/>
          </p:cNvSpPr>
          <p:nvPr/>
        </p:nvSpPr>
        <p:spPr bwMode="auto">
          <a:xfrm>
            <a:off x="6210897" y="2372024"/>
            <a:ext cx="3268154" cy="66675"/>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16">
            <a:extLst>
              <a:ext uri="{FF2B5EF4-FFF2-40B4-BE49-F238E27FC236}">
                <a16:creationId xmlns:a16="http://schemas.microsoft.com/office/drawing/2014/main" id="{3C46771D-32D6-4CC6-B4EF-EF6D470C56E0}"/>
              </a:ext>
            </a:extLst>
          </p:cNvPr>
          <p:cNvSpPr>
            <a:spLocks noChangeArrowheads="1"/>
          </p:cNvSpPr>
          <p:nvPr/>
        </p:nvSpPr>
        <p:spPr bwMode="auto">
          <a:xfrm>
            <a:off x="6210896" y="2492674"/>
            <a:ext cx="2423217" cy="66675"/>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17">
            <a:extLst>
              <a:ext uri="{FF2B5EF4-FFF2-40B4-BE49-F238E27FC236}">
                <a16:creationId xmlns:a16="http://schemas.microsoft.com/office/drawing/2014/main" id="{C862ABC7-C7B8-4AAD-A1F8-85C6774AAA73}"/>
              </a:ext>
            </a:extLst>
          </p:cNvPr>
          <p:cNvSpPr>
            <a:spLocks noChangeArrowheads="1"/>
          </p:cNvSpPr>
          <p:nvPr/>
        </p:nvSpPr>
        <p:spPr bwMode="auto">
          <a:xfrm>
            <a:off x="6210896" y="2754611"/>
            <a:ext cx="3001963" cy="6826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18">
            <a:extLst>
              <a:ext uri="{FF2B5EF4-FFF2-40B4-BE49-F238E27FC236}">
                <a16:creationId xmlns:a16="http://schemas.microsoft.com/office/drawing/2014/main" id="{B9CEE423-FCB7-4955-8B3C-957039FBD2C4}"/>
              </a:ext>
            </a:extLst>
          </p:cNvPr>
          <p:cNvSpPr>
            <a:spLocks noChangeArrowheads="1"/>
          </p:cNvSpPr>
          <p:nvPr/>
        </p:nvSpPr>
        <p:spPr bwMode="auto">
          <a:xfrm>
            <a:off x="6210897" y="2875261"/>
            <a:ext cx="2760661" cy="66675"/>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21">
            <a:extLst>
              <a:ext uri="{FF2B5EF4-FFF2-40B4-BE49-F238E27FC236}">
                <a16:creationId xmlns:a16="http://schemas.microsoft.com/office/drawing/2014/main" id="{94034E84-09FA-4050-AF9A-DB10E487BB12}"/>
              </a:ext>
            </a:extLst>
          </p:cNvPr>
          <p:cNvSpPr>
            <a:spLocks noChangeArrowheads="1"/>
          </p:cNvSpPr>
          <p:nvPr/>
        </p:nvSpPr>
        <p:spPr bwMode="auto">
          <a:xfrm>
            <a:off x="6115647" y="2372024"/>
            <a:ext cx="49213" cy="187325"/>
          </a:xfrm>
          <a:prstGeom prst="rect">
            <a:avLst/>
          </a:prstGeom>
          <a:solidFill>
            <a:srgbClr val="01CBFC"/>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Rectangle 22">
            <a:extLst>
              <a:ext uri="{FF2B5EF4-FFF2-40B4-BE49-F238E27FC236}">
                <a16:creationId xmlns:a16="http://schemas.microsoft.com/office/drawing/2014/main" id="{2E2B5354-45AE-47D0-A0B7-1D21F96B6131}"/>
              </a:ext>
            </a:extLst>
          </p:cNvPr>
          <p:cNvSpPr>
            <a:spLocks noChangeArrowheads="1"/>
          </p:cNvSpPr>
          <p:nvPr/>
        </p:nvSpPr>
        <p:spPr bwMode="auto">
          <a:xfrm>
            <a:off x="6115647" y="2754611"/>
            <a:ext cx="49213" cy="187325"/>
          </a:xfrm>
          <a:prstGeom prst="rect">
            <a:avLst/>
          </a:prstGeom>
          <a:solidFill>
            <a:srgbClr val="01CBFC"/>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925327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6E8B0451-F467-7DC5-E6CD-CCAF3B3119E1}"/>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20120" r="20120"/>
          <a:stretch>
            <a:fillRect/>
          </a:stretch>
        </p:blipFill>
        <p:spPr/>
      </p:pic>
      <p:sp>
        <p:nvSpPr>
          <p:cNvPr id="3" name="Title 2">
            <a:extLst>
              <a:ext uri="{FF2B5EF4-FFF2-40B4-BE49-F238E27FC236}">
                <a16:creationId xmlns:a16="http://schemas.microsoft.com/office/drawing/2014/main" id="{8ED562D3-B7C4-1FDE-32B5-5BA51AE1F0B6}"/>
              </a:ext>
            </a:extLst>
          </p:cNvPr>
          <p:cNvSpPr>
            <a:spLocks noGrp="1"/>
          </p:cNvSpPr>
          <p:nvPr>
            <p:ph type="title"/>
          </p:nvPr>
        </p:nvSpPr>
        <p:spPr>
          <a:xfrm>
            <a:off x="6910023" y="908050"/>
            <a:ext cx="5136203" cy="782638"/>
          </a:xfrm>
        </p:spPr>
        <p:txBody>
          <a:bodyPr>
            <a:normAutofit fontScale="90000"/>
          </a:bodyPr>
          <a:lstStyle/>
          <a:p>
            <a:r>
              <a:rPr lang="en-US" i="0" dirty="0">
                <a:solidFill>
                  <a:srgbClr val="25429C"/>
                </a:solidFill>
                <a:effectLst/>
                <a:latin typeface="Roboto Slab"/>
              </a:rPr>
              <a:t>Startup India</a:t>
            </a:r>
            <a:br>
              <a:rPr lang="en-US" i="0" dirty="0">
                <a:solidFill>
                  <a:srgbClr val="25429C"/>
                </a:solidFill>
                <a:effectLst/>
                <a:latin typeface="Roboto Slab"/>
              </a:rPr>
            </a:br>
            <a:r>
              <a:rPr lang="en-US" i="0" dirty="0">
                <a:solidFill>
                  <a:srgbClr val="25429C"/>
                </a:solidFill>
                <a:effectLst/>
                <a:latin typeface="Roboto Slab"/>
              </a:rPr>
              <a:t>Seed Fund Scheme</a:t>
            </a:r>
            <a:br>
              <a:rPr lang="en-US" i="0" dirty="0">
                <a:solidFill>
                  <a:srgbClr val="25429C"/>
                </a:solidFill>
                <a:effectLst/>
                <a:latin typeface="Roboto Slab"/>
              </a:rPr>
            </a:br>
            <a:endParaRPr lang="en-IN" dirty="0"/>
          </a:p>
        </p:txBody>
      </p:sp>
      <p:sp>
        <p:nvSpPr>
          <p:cNvPr id="4" name="Text Placeholder 3">
            <a:extLst>
              <a:ext uri="{FF2B5EF4-FFF2-40B4-BE49-F238E27FC236}">
                <a16:creationId xmlns:a16="http://schemas.microsoft.com/office/drawing/2014/main" id="{7A323BB3-15CB-6343-15D5-ACFC26649E29}"/>
              </a:ext>
            </a:extLst>
          </p:cNvPr>
          <p:cNvSpPr>
            <a:spLocks noGrp="1"/>
          </p:cNvSpPr>
          <p:nvPr>
            <p:ph type="body" sz="quarter" idx="13"/>
          </p:nvPr>
        </p:nvSpPr>
        <p:spPr/>
        <p:txBody>
          <a:bodyPr/>
          <a:lstStyle/>
          <a:p>
            <a:r>
              <a:rPr lang="en-IN" dirty="0"/>
              <a:t>Government of India</a:t>
            </a:r>
          </a:p>
        </p:txBody>
      </p:sp>
      <p:sp>
        <p:nvSpPr>
          <p:cNvPr id="5" name="Text Placeholder 4">
            <a:extLst>
              <a:ext uri="{FF2B5EF4-FFF2-40B4-BE49-F238E27FC236}">
                <a16:creationId xmlns:a16="http://schemas.microsoft.com/office/drawing/2014/main" id="{0CD20BC8-874D-7435-0B57-287C5674548E}"/>
              </a:ext>
            </a:extLst>
          </p:cNvPr>
          <p:cNvSpPr>
            <a:spLocks noGrp="1"/>
          </p:cNvSpPr>
          <p:nvPr>
            <p:ph type="body" sz="quarter" idx="14"/>
          </p:nvPr>
        </p:nvSpPr>
        <p:spPr/>
        <p:txBody>
          <a:bodyPr>
            <a:normAutofit fontScale="92500" lnSpcReduction="10000"/>
          </a:bodyPr>
          <a:lstStyle/>
          <a:p>
            <a:pPr algn="l"/>
            <a:r>
              <a:rPr lang="en-US" sz="2000" b="0" i="0" dirty="0">
                <a:solidFill>
                  <a:schemeClr val="tx1"/>
                </a:solidFill>
                <a:effectLst/>
                <a:latin typeface="Calibri body"/>
              </a:rPr>
              <a:t>Easy availability of capital is essential for entrepreneurs at the early stages of growth of an enterprise.</a:t>
            </a:r>
          </a:p>
          <a:p>
            <a:pPr algn="just"/>
            <a:r>
              <a:rPr lang="en-US" sz="2000" b="0" i="0" dirty="0">
                <a:solidFill>
                  <a:schemeClr val="tx1"/>
                </a:solidFill>
                <a:effectLst/>
                <a:latin typeface="Calibri body"/>
              </a:rPr>
              <a:t>Funding from angel investors and venture capital firms becomes available to startups only after the proof of concept has been provided. Similarly, banks provide loans only to asset-backed applicants. It is essential to provide seed funding to startups with an innovative idea to conduct proof of concept trials.</a:t>
            </a:r>
          </a:p>
          <a:p>
            <a:pPr marL="0" indent="0">
              <a:buNone/>
            </a:pPr>
            <a:endParaRPr lang="en-IN" dirty="0"/>
          </a:p>
        </p:txBody>
      </p:sp>
    </p:spTree>
    <p:extLst>
      <p:ext uri="{BB962C8B-B14F-4D97-AF65-F5344CB8AC3E}">
        <p14:creationId xmlns:p14="http://schemas.microsoft.com/office/powerpoint/2010/main" val="36739328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3DC07A9-EF68-43A1-A0AA-BEEF4D3608C9}"/>
              </a:ext>
            </a:extLst>
          </p:cNvPr>
          <p:cNvSpPr/>
          <p:nvPr/>
        </p:nvSpPr>
        <p:spPr>
          <a:xfrm flipV="1">
            <a:off x="0" y="0"/>
            <a:ext cx="12192000" cy="6858000"/>
          </a:xfrm>
          <a:prstGeom prst="rect">
            <a:avLst/>
          </a:prstGeom>
          <a:gradFill>
            <a:gsLst>
              <a:gs pos="0">
                <a:srgbClr val="240067"/>
              </a:gs>
              <a:gs pos="91000">
                <a:srgbClr val="24003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lumMod val="95000"/>
                </a:schemeClr>
              </a:solidFill>
            </a:endParaRPr>
          </a:p>
        </p:txBody>
      </p:sp>
      <p:sp>
        <p:nvSpPr>
          <p:cNvPr id="62" name="Freeform: Shape 61">
            <a:extLst>
              <a:ext uri="{FF2B5EF4-FFF2-40B4-BE49-F238E27FC236}">
                <a16:creationId xmlns:a16="http://schemas.microsoft.com/office/drawing/2014/main" id="{3D6B6328-1A62-407B-8EAA-F9F5A43D6025}"/>
              </a:ext>
            </a:extLst>
          </p:cNvPr>
          <p:cNvSpPr/>
          <p:nvPr/>
        </p:nvSpPr>
        <p:spPr>
          <a:xfrm>
            <a:off x="1" y="0"/>
            <a:ext cx="12191999" cy="2010882"/>
          </a:xfrm>
          <a:custGeom>
            <a:avLst/>
            <a:gdLst>
              <a:gd name="connsiteX0" fmla="*/ 0 w 12191999"/>
              <a:gd name="connsiteY0" fmla="*/ 0 h 2010882"/>
              <a:gd name="connsiteX1" fmla="*/ 12191999 w 12191999"/>
              <a:gd name="connsiteY1" fmla="*/ 0 h 2010882"/>
              <a:gd name="connsiteX2" fmla="*/ 12191999 w 12191999"/>
              <a:gd name="connsiteY2" fmla="*/ 223204 h 2010882"/>
              <a:gd name="connsiteX3" fmla="*/ 12165349 w 12191999"/>
              <a:gd name="connsiteY3" fmla="*/ 253823 h 2010882"/>
              <a:gd name="connsiteX4" fmla="*/ 9129486 w 12191999"/>
              <a:gd name="connsiteY4" fmla="*/ 1988457 h 2010882"/>
              <a:gd name="connsiteX5" fmla="*/ 3657600 w 12191999"/>
              <a:gd name="connsiteY5" fmla="*/ 783771 h 2010882"/>
              <a:gd name="connsiteX6" fmla="*/ 303362 w 12191999"/>
              <a:gd name="connsiteY6" fmla="*/ 1690234 h 2010882"/>
              <a:gd name="connsiteX7" fmla="*/ 0 w 12191999"/>
              <a:gd name="connsiteY7" fmla="*/ 1842927 h 2010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2010882">
                <a:moveTo>
                  <a:pt x="0" y="0"/>
                </a:moveTo>
                <a:lnTo>
                  <a:pt x="12191999" y="0"/>
                </a:lnTo>
                <a:lnTo>
                  <a:pt x="12191999" y="223204"/>
                </a:lnTo>
                <a:lnTo>
                  <a:pt x="12165349" y="253823"/>
                </a:lnTo>
                <a:cubicBezTo>
                  <a:pt x="11503554" y="957234"/>
                  <a:pt x="10147300" y="1840442"/>
                  <a:pt x="9129486" y="1988457"/>
                </a:cubicBezTo>
                <a:cubicBezTo>
                  <a:pt x="7649029" y="2203752"/>
                  <a:pt x="5198533" y="798285"/>
                  <a:pt x="3657600" y="783771"/>
                </a:cubicBezTo>
                <a:cubicBezTo>
                  <a:pt x="2309284" y="771071"/>
                  <a:pt x="1286008" y="1202871"/>
                  <a:pt x="303362" y="1690234"/>
                </a:cubicBezTo>
                <a:lnTo>
                  <a:pt x="0" y="1842927"/>
                </a:lnTo>
                <a:close/>
              </a:path>
            </a:pathLst>
          </a:custGeom>
          <a:solidFill>
            <a:srgbClr val="9C6BCF">
              <a:alpha val="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Freeform: Shape 20">
            <a:extLst>
              <a:ext uri="{FF2B5EF4-FFF2-40B4-BE49-F238E27FC236}">
                <a16:creationId xmlns:a16="http://schemas.microsoft.com/office/drawing/2014/main" id="{47F20E71-4084-4A4D-B7F7-C26377A53983}"/>
              </a:ext>
            </a:extLst>
          </p:cNvPr>
          <p:cNvSpPr/>
          <p:nvPr/>
        </p:nvSpPr>
        <p:spPr>
          <a:xfrm>
            <a:off x="-4288" y="2935439"/>
            <a:ext cx="11421587" cy="3922561"/>
          </a:xfrm>
          <a:custGeom>
            <a:avLst/>
            <a:gdLst>
              <a:gd name="connsiteX0" fmla="*/ 0 w 9568392"/>
              <a:gd name="connsiteY0" fmla="*/ 0 h 3286111"/>
              <a:gd name="connsiteX1" fmla="*/ 109082 w 9568392"/>
              <a:gd name="connsiteY1" fmla="*/ 50087 h 3286111"/>
              <a:gd name="connsiteX2" fmla="*/ 4145955 w 9568392"/>
              <a:gd name="connsiteY2" fmla="*/ 2841611 h 3286111"/>
              <a:gd name="connsiteX3" fmla="*/ 7841655 w 9568392"/>
              <a:gd name="connsiteY3" fmla="*/ 2651111 h 3286111"/>
              <a:gd name="connsiteX4" fmla="*/ 9531846 w 9568392"/>
              <a:gd name="connsiteY4" fmla="*/ 3262919 h 3286111"/>
              <a:gd name="connsiteX5" fmla="*/ 9568392 w 9568392"/>
              <a:gd name="connsiteY5" fmla="*/ 3286111 h 3286111"/>
              <a:gd name="connsiteX6" fmla="*/ 0 w 9568392"/>
              <a:gd name="connsiteY6" fmla="*/ 3286111 h 3286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68392" h="3286111">
                <a:moveTo>
                  <a:pt x="0" y="0"/>
                </a:moveTo>
                <a:lnTo>
                  <a:pt x="109082" y="50087"/>
                </a:lnTo>
                <a:cubicBezTo>
                  <a:pt x="1319504" y="639672"/>
                  <a:pt x="2878733" y="2413053"/>
                  <a:pt x="4145955" y="2841611"/>
                </a:cubicBezTo>
                <a:cubicBezTo>
                  <a:pt x="5454055" y="3283994"/>
                  <a:pt x="6859522" y="2515644"/>
                  <a:pt x="7841655" y="2651111"/>
                </a:cubicBezTo>
                <a:cubicBezTo>
                  <a:pt x="8455488" y="2735778"/>
                  <a:pt x="9097433" y="3008961"/>
                  <a:pt x="9531846" y="3262919"/>
                </a:cubicBezTo>
                <a:lnTo>
                  <a:pt x="9568392" y="3286111"/>
                </a:lnTo>
                <a:lnTo>
                  <a:pt x="0" y="3286111"/>
                </a:lnTo>
                <a:close/>
              </a:path>
            </a:pathLst>
          </a:custGeom>
          <a:solidFill>
            <a:srgbClr val="9C6BCF">
              <a:alpha val="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Freeform: Shape 21">
            <a:extLst>
              <a:ext uri="{FF2B5EF4-FFF2-40B4-BE49-F238E27FC236}">
                <a16:creationId xmlns:a16="http://schemas.microsoft.com/office/drawing/2014/main" id="{E6246FB5-5054-4B75-AAC3-0F9B19A2FA94}"/>
              </a:ext>
            </a:extLst>
          </p:cNvPr>
          <p:cNvSpPr/>
          <p:nvPr/>
        </p:nvSpPr>
        <p:spPr>
          <a:xfrm flipH="1" flipV="1">
            <a:off x="7464218" y="4777753"/>
            <a:ext cx="4727781" cy="2080247"/>
          </a:xfrm>
          <a:custGeom>
            <a:avLst/>
            <a:gdLst>
              <a:gd name="connsiteX0" fmla="*/ 0 w 6487254"/>
              <a:gd name="connsiteY0" fmla="*/ 0 h 1933129"/>
              <a:gd name="connsiteX1" fmla="*/ 6487254 w 6487254"/>
              <a:gd name="connsiteY1" fmla="*/ 0 h 1933129"/>
              <a:gd name="connsiteX2" fmla="*/ 6273142 w 6487254"/>
              <a:gd name="connsiteY2" fmla="*/ 81288 h 1933129"/>
              <a:gd name="connsiteX3" fmla="*/ 4423887 w 6487254"/>
              <a:gd name="connsiteY3" fmla="*/ 647700 h 1933129"/>
              <a:gd name="connsiteX4" fmla="*/ 1261587 w 6487254"/>
              <a:gd name="connsiteY4" fmla="*/ 787400 h 1933129"/>
              <a:gd name="connsiteX5" fmla="*/ 129303 w 6487254"/>
              <a:gd name="connsiteY5" fmla="*/ 1760140 h 1933129"/>
              <a:gd name="connsiteX6" fmla="*/ 0 w 6487254"/>
              <a:gd name="connsiteY6" fmla="*/ 1933129 h 1933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87254" h="1933129">
                <a:moveTo>
                  <a:pt x="0" y="0"/>
                </a:moveTo>
                <a:lnTo>
                  <a:pt x="6487254" y="0"/>
                </a:lnTo>
                <a:lnTo>
                  <a:pt x="6273142" y="81288"/>
                </a:lnTo>
                <a:cubicBezTo>
                  <a:pt x="5625831" y="317798"/>
                  <a:pt x="4854497" y="540279"/>
                  <a:pt x="4423887" y="647700"/>
                </a:cubicBezTo>
                <a:cubicBezTo>
                  <a:pt x="3439637" y="893233"/>
                  <a:pt x="2131537" y="370417"/>
                  <a:pt x="1261587" y="787400"/>
                </a:cubicBezTo>
                <a:cubicBezTo>
                  <a:pt x="826612" y="995892"/>
                  <a:pt x="460693" y="1343289"/>
                  <a:pt x="129303" y="1760140"/>
                </a:cubicBezTo>
                <a:lnTo>
                  <a:pt x="0" y="1933129"/>
                </a:lnTo>
                <a:close/>
              </a:path>
            </a:pathLst>
          </a:custGeom>
          <a:solidFill>
            <a:srgbClr val="9C6BCF">
              <a:alpha val="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E0D982C-108F-43DF-A039-A0603B294ECC}"/>
              </a:ext>
            </a:extLst>
          </p:cNvPr>
          <p:cNvSpPr>
            <a:spLocks noGrp="1"/>
          </p:cNvSpPr>
          <p:nvPr>
            <p:ph type="title"/>
          </p:nvPr>
        </p:nvSpPr>
        <p:spPr>
          <a:xfrm>
            <a:off x="455819" y="444311"/>
            <a:ext cx="5086240" cy="830997"/>
          </a:xfrm>
        </p:spPr>
        <p:txBody>
          <a:bodyPr wrap="square">
            <a:spAutoFit/>
          </a:bodyPr>
          <a:lstStyle/>
          <a:p>
            <a:pPr>
              <a:lnSpc>
                <a:spcPct val="100000"/>
              </a:lnSpc>
            </a:pPr>
            <a:r>
              <a:rPr lang="en-US" sz="4800" dirty="0">
                <a:solidFill>
                  <a:schemeClr val="bg1">
                    <a:lumMod val="95000"/>
                  </a:schemeClr>
                </a:solidFill>
              </a:rPr>
              <a:t>Startup Incubators</a:t>
            </a:r>
          </a:p>
        </p:txBody>
      </p:sp>
      <p:sp>
        <p:nvSpPr>
          <p:cNvPr id="25" name="Content Placeholder 2">
            <a:extLst>
              <a:ext uri="{FF2B5EF4-FFF2-40B4-BE49-F238E27FC236}">
                <a16:creationId xmlns:a16="http://schemas.microsoft.com/office/drawing/2014/main" id="{FAF6C5E6-2132-4AFE-AB2D-2E9419144626}"/>
              </a:ext>
            </a:extLst>
          </p:cNvPr>
          <p:cNvSpPr txBox="1">
            <a:spLocks/>
          </p:cNvSpPr>
          <p:nvPr/>
        </p:nvSpPr>
        <p:spPr>
          <a:xfrm>
            <a:off x="533400" y="1824950"/>
            <a:ext cx="4521204" cy="446404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buNone/>
            </a:pPr>
            <a:r>
              <a:rPr lang="en-US" sz="1750" b="0" i="0" dirty="0">
                <a:solidFill>
                  <a:schemeClr val="bg1"/>
                </a:solidFill>
                <a:effectLst/>
              </a:rPr>
              <a:t>A </a:t>
            </a:r>
            <a:r>
              <a:rPr lang="en-US" sz="1750" b="1" i="0" dirty="0">
                <a:solidFill>
                  <a:schemeClr val="bg1"/>
                </a:solidFill>
                <a:effectLst/>
              </a:rPr>
              <a:t>startup incubator</a:t>
            </a:r>
            <a:r>
              <a:rPr lang="en-US" sz="1750" b="0" i="0" dirty="0">
                <a:solidFill>
                  <a:schemeClr val="bg1"/>
                </a:solidFill>
                <a:effectLst/>
              </a:rPr>
              <a:t> is a collaborative program designed to help new startups succeed. Incubators help entrepreneurs solve some of the problems commonly associated with running a startup by providing workspace, seed funding, mentoring, and training. The sole purpose of a startup incubator is to help entrepreneurs grow their business.</a:t>
            </a:r>
          </a:p>
          <a:p>
            <a:pPr marL="0" indent="0" algn="just">
              <a:buNone/>
            </a:pPr>
            <a:r>
              <a:rPr lang="en-US" sz="1750" b="0" i="0" dirty="0">
                <a:solidFill>
                  <a:schemeClr val="bg1"/>
                </a:solidFill>
                <a:effectLst/>
              </a:rPr>
              <a:t>Startup incubators are usually non-profit organizations, which are usually run by both public and private entities. Incubators are often associated with universities, and some business schools allow their students and alumni to take part in these programs. There are several other incubators, however, that are formed by governments, civic groups, startup organizations or successful entrepreneurs. </a:t>
            </a:r>
          </a:p>
        </p:txBody>
      </p:sp>
      <p:sp>
        <p:nvSpPr>
          <p:cNvPr id="32" name="Content Placeholder 2">
            <a:extLst>
              <a:ext uri="{FF2B5EF4-FFF2-40B4-BE49-F238E27FC236}">
                <a16:creationId xmlns:a16="http://schemas.microsoft.com/office/drawing/2014/main" id="{20FB3A54-FD3B-49CE-816C-0D0C60D5B493}"/>
              </a:ext>
            </a:extLst>
          </p:cNvPr>
          <p:cNvSpPr txBox="1">
            <a:spLocks/>
          </p:cNvSpPr>
          <p:nvPr/>
        </p:nvSpPr>
        <p:spPr>
          <a:xfrm>
            <a:off x="5706505" y="1829535"/>
            <a:ext cx="5367761" cy="80791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buFont typeface="Arial" panose="020B0604020202020204" pitchFamily="34" charset="0"/>
              <a:buNone/>
            </a:pPr>
            <a:r>
              <a:rPr lang="en-US" sz="1750" b="0" i="0" dirty="0">
                <a:solidFill>
                  <a:schemeClr val="bg1"/>
                </a:solidFill>
                <a:effectLst/>
              </a:rPr>
              <a:t>While most of the media emphasis focuses on tech startups, incubators aren't just limited to one industry. In fact, the focus of incubators varies by region.</a:t>
            </a:r>
            <a:endParaRPr lang="en-US" sz="1750" dirty="0">
              <a:solidFill>
                <a:schemeClr val="bg1"/>
              </a:solidFill>
            </a:endParaRPr>
          </a:p>
        </p:txBody>
      </p:sp>
      <p:sp>
        <p:nvSpPr>
          <p:cNvPr id="56" name="Content Placeholder 2">
            <a:extLst>
              <a:ext uri="{FF2B5EF4-FFF2-40B4-BE49-F238E27FC236}">
                <a16:creationId xmlns:a16="http://schemas.microsoft.com/office/drawing/2014/main" id="{0404D344-1EAA-46D6-805B-0136714CA04D}"/>
              </a:ext>
            </a:extLst>
          </p:cNvPr>
          <p:cNvSpPr txBox="1">
            <a:spLocks/>
          </p:cNvSpPr>
          <p:nvPr/>
        </p:nvSpPr>
        <p:spPr>
          <a:xfrm>
            <a:off x="10789920" y="6410064"/>
            <a:ext cx="868680" cy="257186"/>
          </a:xfrm>
          <a:prstGeom prst="rect">
            <a:avLst/>
          </a:prstGeom>
        </p:spPr>
        <p:txBody>
          <a:bodyPr vert="horz" wrap="square" lIns="0" tIns="0" rIns="0" bIns="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0000"/>
              </a:lnSpc>
              <a:buFont typeface="Arial" panose="020B0604020202020204" pitchFamily="34" charset="0"/>
              <a:buNone/>
            </a:pPr>
            <a:r>
              <a:rPr lang="en-US" sz="1400" dirty="0">
                <a:solidFill>
                  <a:schemeClr val="bg1">
                    <a:lumMod val="95000"/>
                  </a:schemeClr>
                </a:solidFill>
              </a:rPr>
              <a:t>Page </a:t>
            </a:r>
            <a:r>
              <a:rPr lang="en-US" sz="1400" b="1" dirty="0">
                <a:solidFill>
                  <a:schemeClr val="bg1">
                    <a:lumMod val="95000"/>
                  </a:schemeClr>
                </a:solidFill>
                <a:latin typeface="+mj-lt"/>
              </a:rPr>
              <a:t>3</a:t>
            </a:r>
          </a:p>
        </p:txBody>
      </p:sp>
      <p:pic>
        <p:nvPicPr>
          <p:cNvPr id="6" name="Graphic 5">
            <a:extLst>
              <a:ext uri="{FF2B5EF4-FFF2-40B4-BE49-F238E27FC236}">
                <a16:creationId xmlns:a16="http://schemas.microsoft.com/office/drawing/2014/main" id="{591A19F2-2B4F-4299-9E89-35712744CB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17878" y="3049647"/>
            <a:ext cx="6974122" cy="3487061"/>
          </a:xfrm>
          <a:prstGeom prst="rect">
            <a:avLst/>
          </a:prstGeom>
        </p:spPr>
      </p:pic>
      <p:pic>
        <p:nvPicPr>
          <p:cNvPr id="58" name="Graphic 57">
            <a:extLst>
              <a:ext uri="{FF2B5EF4-FFF2-40B4-BE49-F238E27FC236}">
                <a16:creationId xmlns:a16="http://schemas.microsoft.com/office/drawing/2014/main" id="{B724612B-19B8-4093-92A6-B41BA12DFC6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20456538" flipH="1">
            <a:off x="11638872" y="1020389"/>
            <a:ext cx="522694" cy="736038"/>
          </a:xfrm>
          <a:prstGeom prst="rect">
            <a:avLst/>
          </a:prstGeom>
        </p:spPr>
      </p:pic>
      <p:pic>
        <p:nvPicPr>
          <p:cNvPr id="59" name="Graphic 58">
            <a:extLst>
              <a:ext uri="{FF2B5EF4-FFF2-40B4-BE49-F238E27FC236}">
                <a16:creationId xmlns:a16="http://schemas.microsoft.com/office/drawing/2014/main" id="{0D78A396-E8EC-4BB0-B2B5-EB867B7452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3307405" flipH="1" flipV="1">
            <a:off x="11803627" y="1583324"/>
            <a:ext cx="311354" cy="438437"/>
          </a:xfrm>
          <a:prstGeom prst="rect">
            <a:avLst/>
          </a:prstGeom>
        </p:spPr>
      </p:pic>
    </p:spTree>
    <p:extLst>
      <p:ext uri="{BB962C8B-B14F-4D97-AF65-F5344CB8AC3E}">
        <p14:creationId xmlns:p14="http://schemas.microsoft.com/office/powerpoint/2010/main" val="39476240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00BE2-9936-4800-8599-13DBC0DB7402}"/>
              </a:ext>
            </a:extLst>
          </p:cNvPr>
          <p:cNvSpPr>
            <a:spLocks noGrp="1"/>
          </p:cNvSpPr>
          <p:nvPr>
            <p:ph type="title"/>
          </p:nvPr>
        </p:nvSpPr>
        <p:spPr>
          <a:xfrm>
            <a:off x="501686" y="295570"/>
            <a:ext cx="5216208" cy="1153988"/>
          </a:xfrm>
        </p:spPr>
        <p:txBody>
          <a:bodyPr>
            <a:normAutofit fontScale="90000"/>
          </a:bodyPr>
          <a:lstStyle/>
          <a:p>
            <a:r>
              <a:rPr lang="en-IN" dirty="0"/>
              <a:t>Ecosystem </a:t>
            </a:r>
            <a:r>
              <a:rPr lang="en-IN" b="1" dirty="0"/>
              <a:t>Stakeholders</a:t>
            </a:r>
            <a:endParaRPr lang="en-US" b="1" dirty="0"/>
          </a:p>
        </p:txBody>
      </p:sp>
      <p:sp>
        <p:nvSpPr>
          <p:cNvPr id="5" name="Slide Number Placeholder 4">
            <a:extLst>
              <a:ext uri="{FF2B5EF4-FFF2-40B4-BE49-F238E27FC236}">
                <a16:creationId xmlns:a16="http://schemas.microsoft.com/office/drawing/2014/main" id="{DC138C29-2509-4D5C-9F90-BE3E4541DEC6}"/>
              </a:ext>
            </a:extLst>
          </p:cNvPr>
          <p:cNvSpPr>
            <a:spLocks noGrp="1"/>
          </p:cNvSpPr>
          <p:nvPr>
            <p:ph type="sldNum" sz="quarter" idx="12"/>
          </p:nvPr>
        </p:nvSpPr>
        <p:spPr/>
        <p:txBody>
          <a:bodyPr/>
          <a:lstStyle/>
          <a:p>
            <a:fld id="{66953FAA-0042-4AB5-AB8F-C115E6331DA8}" type="slidenum">
              <a:rPr lang="en-US" smtClean="0"/>
              <a:pPr/>
              <a:t>12</a:t>
            </a:fld>
            <a:endParaRPr lang="en-US" dirty="0"/>
          </a:p>
        </p:txBody>
      </p:sp>
      <p:pic>
        <p:nvPicPr>
          <p:cNvPr id="4" name="Picture 3">
            <a:extLst>
              <a:ext uri="{FF2B5EF4-FFF2-40B4-BE49-F238E27FC236}">
                <a16:creationId xmlns:a16="http://schemas.microsoft.com/office/drawing/2014/main" id="{94BB6DB9-7BFD-4C8F-B3D7-14FA70C4B4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4361" y="1445922"/>
            <a:ext cx="8483278" cy="5185588"/>
          </a:xfrm>
          <a:prstGeom prst="rect">
            <a:avLst/>
          </a:prstGeom>
        </p:spPr>
      </p:pic>
      <p:sp>
        <p:nvSpPr>
          <p:cNvPr id="11" name="Rectangle 49">
            <a:extLst>
              <a:ext uri="{FF2B5EF4-FFF2-40B4-BE49-F238E27FC236}">
                <a16:creationId xmlns:a16="http://schemas.microsoft.com/office/drawing/2014/main" id="{7D6DF7A2-9D11-45AF-905E-CBD24A070070}"/>
              </a:ext>
            </a:extLst>
          </p:cNvPr>
          <p:cNvSpPr/>
          <p:nvPr/>
        </p:nvSpPr>
        <p:spPr>
          <a:xfrm rot="7737677" flipH="1" flipV="1">
            <a:off x="-973841" y="3740079"/>
            <a:ext cx="3815020" cy="3529194"/>
          </a:xfrm>
          <a:custGeom>
            <a:avLst/>
            <a:gdLst>
              <a:gd name="connsiteX0" fmla="*/ 0 w 1662602"/>
              <a:gd name="connsiteY0" fmla="*/ 0 h 1875555"/>
              <a:gd name="connsiteX1" fmla="*/ 1662602 w 1662602"/>
              <a:gd name="connsiteY1" fmla="*/ 0 h 1875555"/>
              <a:gd name="connsiteX2" fmla="*/ 1662602 w 1662602"/>
              <a:gd name="connsiteY2" fmla="*/ 1875555 h 1875555"/>
              <a:gd name="connsiteX3" fmla="*/ 0 w 1662602"/>
              <a:gd name="connsiteY3" fmla="*/ 1875555 h 1875555"/>
              <a:gd name="connsiteX4" fmla="*/ 0 w 1662602"/>
              <a:gd name="connsiteY4" fmla="*/ 0 h 1875555"/>
              <a:gd name="connsiteX0" fmla="*/ 138549 w 1662602"/>
              <a:gd name="connsiteY0" fmla="*/ 83131 h 1875555"/>
              <a:gd name="connsiteX1" fmla="*/ 1662602 w 1662602"/>
              <a:gd name="connsiteY1" fmla="*/ 0 h 1875555"/>
              <a:gd name="connsiteX2" fmla="*/ 1662602 w 1662602"/>
              <a:gd name="connsiteY2" fmla="*/ 1875555 h 1875555"/>
              <a:gd name="connsiteX3" fmla="*/ 0 w 1662602"/>
              <a:gd name="connsiteY3" fmla="*/ 1875555 h 1875555"/>
              <a:gd name="connsiteX4" fmla="*/ 138549 w 1662602"/>
              <a:gd name="connsiteY4" fmla="*/ 83131 h 1875555"/>
              <a:gd name="connsiteX0" fmla="*/ 27710 w 1551763"/>
              <a:gd name="connsiteY0" fmla="*/ 83131 h 1930977"/>
              <a:gd name="connsiteX1" fmla="*/ 1551763 w 1551763"/>
              <a:gd name="connsiteY1" fmla="*/ 0 h 1930977"/>
              <a:gd name="connsiteX2" fmla="*/ 1551763 w 1551763"/>
              <a:gd name="connsiteY2" fmla="*/ 1875555 h 1930977"/>
              <a:gd name="connsiteX3" fmla="*/ 0 w 1551763"/>
              <a:gd name="connsiteY3" fmla="*/ 1930977 h 1930977"/>
              <a:gd name="connsiteX4" fmla="*/ 27710 w 1551763"/>
              <a:gd name="connsiteY4" fmla="*/ 83131 h 1930977"/>
              <a:gd name="connsiteX0" fmla="*/ 27710 w 1560999"/>
              <a:gd name="connsiteY0" fmla="*/ 83131 h 2161883"/>
              <a:gd name="connsiteX1" fmla="*/ 1551763 w 1560999"/>
              <a:gd name="connsiteY1" fmla="*/ 0 h 2161883"/>
              <a:gd name="connsiteX2" fmla="*/ 1560999 w 1560999"/>
              <a:gd name="connsiteY2" fmla="*/ 2161883 h 2161883"/>
              <a:gd name="connsiteX3" fmla="*/ 0 w 1560999"/>
              <a:gd name="connsiteY3" fmla="*/ 1930977 h 2161883"/>
              <a:gd name="connsiteX4" fmla="*/ 27710 w 1560999"/>
              <a:gd name="connsiteY4" fmla="*/ 83131 h 2161883"/>
              <a:gd name="connsiteX0" fmla="*/ 27710 w 1579738"/>
              <a:gd name="connsiteY0" fmla="*/ 295567 h 2374319"/>
              <a:gd name="connsiteX1" fmla="*/ 1579472 w 1579738"/>
              <a:gd name="connsiteY1" fmla="*/ 0 h 2374319"/>
              <a:gd name="connsiteX2" fmla="*/ 1560999 w 1579738"/>
              <a:gd name="connsiteY2" fmla="*/ 2374319 h 2374319"/>
              <a:gd name="connsiteX3" fmla="*/ 0 w 1579738"/>
              <a:gd name="connsiteY3" fmla="*/ 2143413 h 2374319"/>
              <a:gd name="connsiteX4" fmla="*/ 27710 w 1579738"/>
              <a:gd name="connsiteY4" fmla="*/ 295567 h 2374319"/>
              <a:gd name="connsiteX0" fmla="*/ 40457 w 1579738"/>
              <a:gd name="connsiteY0" fmla="*/ 539666 h 2374319"/>
              <a:gd name="connsiteX1" fmla="*/ 1579472 w 1579738"/>
              <a:gd name="connsiteY1" fmla="*/ 0 h 2374319"/>
              <a:gd name="connsiteX2" fmla="*/ 1560999 w 1579738"/>
              <a:gd name="connsiteY2" fmla="*/ 2374319 h 2374319"/>
              <a:gd name="connsiteX3" fmla="*/ 0 w 1579738"/>
              <a:gd name="connsiteY3" fmla="*/ 2143413 h 2374319"/>
              <a:gd name="connsiteX4" fmla="*/ 40457 w 1579738"/>
              <a:gd name="connsiteY4" fmla="*/ 539666 h 2374319"/>
              <a:gd name="connsiteX0" fmla="*/ 27711 w 1566992"/>
              <a:gd name="connsiteY0" fmla="*/ 539666 h 2374319"/>
              <a:gd name="connsiteX1" fmla="*/ 1566726 w 1566992"/>
              <a:gd name="connsiteY1" fmla="*/ 0 h 2374319"/>
              <a:gd name="connsiteX2" fmla="*/ 1548253 w 1566992"/>
              <a:gd name="connsiteY2" fmla="*/ 2374319 h 2374319"/>
              <a:gd name="connsiteX3" fmla="*/ 0 w 1566992"/>
              <a:gd name="connsiteY3" fmla="*/ 1841878 h 2374319"/>
              <a:gd name="connsiteX4" fmla="*/ 27711 w 1566992"/>
              <a:gd name="connsiteY4" fmla="*/ 539666 h 2374319"/>
              <a:gd name="connsiteX0" fmla="*/ 0 w 1729026"/>
              <a:gd name="connsiteY0" fmla="*/ 905436 h 2374319"/>
              <a:gd name="connsiteX1" fmla="*/ 1728760 w 1729026"/>
              <a:gd name="connsiteY1" fmla="*/ 0 h 2374319"/>
              <a:gd name="connsiteX2" fmla="*/ 1710287 w 1729026"/>
              <a:gd name="connsiteY2" fmla="*/ 2374319 h 2374319"/>
              <a:gd name="connsiteX3" fmla="*/ 162034 w 1729026"/>
              <a:gd name="connsiteY3" fmla="*/ 1841878 h 2374319"/>
              <a:gd name="connsiteX4" fmla="*/ 0 w 1729026"/>
              <a:gd name="connsiteY4" fmla="*/ 905436 h 2374319"/>
              <a:gd name="connsiteX0" fmla="*/ 12409 w 1741435"/>
              <a:gd name="connsiteY0" fmla="*/ 905436 h 2374319"/>
              <a:gd name="connsiteX1" fmla="*/ 1741169 w 1741435"/>
              <a:gd name="connsiteY1" fmla="*/ 0 h 2374319"/>
              <a:gd name="connsiteX2" fmla="*/ 1722696 w 1741435"/>
              <a:gd name="connsiteY2" fmla="*/ 2374319 h 2374319"/>
              <a:gd name="connsiteX3" fmla="*/ 0 w 1741435"/>
              <a:gd name="connsiteY3" fmla="*/ 1483212 h 2374319"/>
              <a:gd name="connsiteX4" fmla="*/ 12409 w 1741435"/>
              <a:gd name="connsiteY4" fmla="*/ 905436 h 2374319"/>
              <a:gd name="connsiteX0" fmla="*/ 12409 w 1752832"/>
              <a:gd name="connsiteY0" fmla="*/ 1122944 h 2591827"/>
              <a:gd name="connsiteX1" fmla="*/ 1752646 w 1752832"/>
              <a:gd name="connsiteY1" fmla="*/ 0 h 2591827"/>
              <a:gd name="connsiteX2" fmla="*/ 1722696 w 1752832"/>
              <a:gd name="connsiteY2" fmla="*/ 2591827 h 2591827"/>
              <a:gd name="connsiteX3" fmla="*/ 0 w 1752832"/>
              <a:gd name="connsiteY3" fmla="*/ 1700720 h 2591827"/>
              <a:gd name="connsiteX4" fmla="*/ 12409 w 1752832"/>
              <a:gd name="connsiteY4" fmla="*/ 1122944 h 2591827"/>
              <a:gd name="connsiteX0" fmla="*/ 12409 w 1722696"/>
              <a:gd name="connsiteY0" fmla="*/ 1313819 h 2782702"/>
              <a:gd name="connsiteX1" fmla="*/ 1691438 w 1722696"/>
              <a:gd name="connsiteY1" fmla="*/ 0 h 2782702"/>
              <a:gd name="connsiteX2" fmla="*/ 1722696 w 1722696"/>
              <a:gd name="connsiteY2" fmla="*/ 2782702 h 2782702"/>
              <a:gd name="connsiteX3" fmla="*/ 0 w 1722696"/>
              <a:gd name="connsiteY3" fmla="*/ 1891595 h 2782702"/>
              <a:gd name="connsiteX4" fmla="*/ 12409 w 1722696"/>
              <a:gd name="connsiteY4" fmla="*/ 1313819 h 2782702"/>
              <a:gd name="connsiteX0" fmla="*/ 12409 w 1715045"/>
              <a:gd name="connsiteY0" fmla="*/ 1313819 h 3377521"/>
              <a:gd name="connsiteX1" fmla="*/ 1691438 w 1715045"/>
              <a:gd name="connsiteY1" fmla="*/ 0 h 3377521"/>
              <a:gd name="connsiteX2" fmla="*/ 1715045 w 1715045"/>
              <a:gd name="connsiteY2" fmla="*/ 3377521 h 3377521"/>
              <a:gd name="connsiteX3" fmla="*/ 0 w 1715045"/>
              <a:gd name="connsiteY3" fmla="*/ 1891595 h 3377521"/>
              <a:gd name="connsiteX4" fmla="*/ 12409 w 1715045"/>
              <a:gd name="connsiteY4" fmla="*/ 1313819 h 3377521"/>
              <a:gd name="connsiteX0" fmla="*/ 12409 w 1715045"/>
              <a:gd name="connsiteY0" fmla="*/ 1313819 h 3377521"/>
              <a:gd name="connsiteX1" fmla="*/ 1691438 w 1715045"/>
              <a:gd name="connsiteY1" fmla="*/ 0 h 3377521"/>
              <a:gd name="connsiteX2" fmla="*/ 1715045 w 1715045"/>
              <a:gd name="connsiteY2" fmla="*/ 3377521 h 3377521"/>
              <a:gd name="connsiteX3" fmla="*/ 0 w 1715045"/>
              <a:gd name="connsiteY3" fmla="*/ 1891595 h 3377521"/>
              <a:gd name="connsiteX4" fmla="*/ 12409 w 1715045"/>
              <a:gd name="connsiteY4" fmla="*/ 1313819 h 3377521"/>
              <a:gd name="connsiteX0" fmla="*/ 12409 w 1715045"/>
              <a:gd name="connsiteY0" fmla="*/ 1313819 h 3377521"/>
              <a:gd name="connsiteX1" fmla="*/ 1691438 w 1715045"/>
              <a:gd name="connsiteY1" fmla="*/ 0 h 3377521"/>
              <a:gd name="connsiteX2" fmla="*/ 1715045 w 1715045"/>
              <a:gd name="connsiteY2" fmla="*/ 3377521 h 3377521"/>
              <a:gd name="connsiteX3" fmla="*/ 0 w 1715045"/>
              <a:gd name="connsiteY3" fmla="*/ 1891595 h 3377521"/>
              <a:gd name="connsiteX4" fmla="*/ 12409 w 1715045"/>
              <a:gd name="connsiteY4" fmla="*/ 1313819 h 3377521"/>
              <a:gd name="connsiteX0" fmla="*/ 12409 w 1711219"/>
              <a:gd name="connsiteY0" fmla="*/ 1313819 h 3217719"/>
              <a:gd name="connsiteX1" fmla="*/ 1691438 w 1711219"/>
              <a:gd name="connsiteY1" fmla="*/ 0 h 3217719"/>
              <a:gd name="connsiteX2" fmla="*/ 1711219 w 1711219"/>
              <a:gd name="connsiteY2" fmla="*/ 3217719 h 3217719"/>
              <a:gd name="connsiteX3" fmla="*/ 0 w 1711219"/>
              <a:gd name="connsiteY3" fmla="*/ 1891595 h 3217719"/>
              <a:gd name="connsiteX4" fmla="*/ 12409 w 1711219"/>
              <a:gd name="connsiteY4" fmla="*/ 1313819 h 3217719"/>
              <a:gd name="connsiteX0" fmla="*/ 12409 w 1711219"/>
              <a:gd name="connsiteY0" fmla="*/ 1287185 h 3191085"/>
              <a:gd name="connsiteX1" fmla="*/ 1691438 w 1711219"/>
              <a:gd name="connsiteY1" fmla="*/ 0 h 3191085"/>
              <a:gd name="connsiteX2" fmla="*/ 1711219 w 1711219"/>
              <a:gd name="connsiteY2" fmla="*/ 3191085 h 3191085"/>
              <a:gd name="connsiteX3" fmla="*/ 0 w 1711219"/>
              <a:gd name="connsiteY3" fmla="*/ 1864961 h 3191085"/>
              <a:gd name="connsiteX4" fmla="*/ 12409 w 1711219"/>
              <a:gd name="connsiteY4" fmla="*/ 1287185 h 3191085"/>
              <a:gd name="connsiteX0" fmla="*/ 12409 w 1711219"/>
              <a:gd name="connsiteY0" fmla="*/ 1247235 h 3151135"/>
              <a:gd name="connsiteX1" fmla="*/ 1683788 w 1711219"/>
              <a:gd name="connsiteY1" fmla="*/ 0 h 3151135"/>
              <a:gd name="connsiteX2" fmla="*/ 1711219 w 1711219"/>
              <a:gd name="connsiteY2" fmla="*/ 3151135 h 3151135"/>
              <a:gd name="connsiteX3" fmla="*/ 0 w 1711219"/>
              <a:gd name="connsiteY3" fmla="*/ 1825011 h 3151135"/>
              <a:gd name="connsiteX4" fmla="*/ 12409 w 1711219"/>
              <a:gd name="connsiteY4" fmla="*/ 1247235 h 3151135"/>
              <a:gd name="connsiteX0" fmla="*/ 16235 w 1711219"/>
              <a:gd name="connsiteY0" fmla="*/ 1264991 h 3151135"/>
              <a:gd name="connsiteX1" fmla="*/ 1683788 w 1711219"/>
              <a:gd name="connsiteY1" fmla="*/ 0 h 3151135"/>
              <a:gd name="connsiteX2" fmla="*/ 1711219 w 1711219"/>
              <a:gd name="connsiteY2" fmla="*/ 3151135 h 3151135"/>
              <a:gd name="connsiteX3" fmla="*/ 0 w 1711219"/>
              <a:gd name="connsiteY3" fmla="*/ 1825011 h 3151135"/>
              <a:gd name="connsiteX4" fmla="*/ 16235 w 1711219"/>
              <a:gd name="connsiteY4" fmla="*/ 1264991 h 315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1219" h="3151135">
                <a:moveTo>
                  <a:pt x="16235" y="1264991"/>
                </a:moveTo>
                <a:cubicBezTo>
                  <a:pt x="529240" y="1085102"/>
                  <a:pt x="1170783" y="179889"/>
                  <a:pt x="1683788" y="0"/>
                </a:cubicBezTo>
                <a:cubicBezTo>
                  <a:pt x="1686867" y="720628"/>
                  <a:pt x="1708140" y="2430507"/>
                  <a:pt x="1711219" y="3151135"/>
                </a:cubicBezTo>
                <a:cubicBezTo>
                  <a:pt x="1181617" y="2975430"/>
                  <a:pt x="697924" y="2129446"/>
                  <a:pt x="0" y="1825011"/>
                </a:cubicBezTo>
                <a:lnTo>
                  <a:pt x="16235" y="1264991"/>
                </a:lnTo>
                <a:close/>
              </a:path>
            </a:pathLst>
          </a:custGeom>
          <a:gradFill flip="none" rotWithShape="1">
            <a:gsLst>
              <a:gs pos="0">
                <a:srgbClr val="9FFFFF">
                  <a:alpha val="0"/>
                </a:srgbClr>
              </a:gs>
              <a:gs pos="100000">
                <a:srgbClr val="9FFFFF">
                  <a:alpha val="20000"/>
                </a:srgbClr>
              </a:gs>
            </a:gsLst>
            <a:lin ang="10800000" scaled="1"/>
            <a:tileRect/>
          </a:gradFill>
          <a:ln>
            <a:noFill/>
          </a:ln>
          <a:effectLst>
            <a:outerShdw blurRad="635000" dist="863600" dir="5400000" sx="90000" sy="90000" algn="t" rotWithShape="0">
              <a:prstClr val="black">
                <a:alpha val="7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 name="Rectangle 49">
            <a:extLst>
              <a:ext uri="{FF2B5EF4-FFF2-40B4-BE49-F238E27FC236}">
                <a16:creationId xmlns:a16="http://schemas.microsoft.com/office/drawing/2014/main" id="{B9291EF3-0C3D-4E9C-A5C3-775D24F36D91}"/>
              </a:ext>
            </a:extLst>
          </p:cNvPr>
          <p:cNvSpPr/>
          <p:nvPr/>
        </p:nvSpPr>
        <p:spPr>
          <a:xfrm rot="1790161" flipH="1" flipV="1">
            <a:off x="9197054" y="4144131"/>
            <a:ext cx="3815020" cy="3529194"/>
          </a:xfrm>
          <a:custGeom>
            <a:avLst/>
            <a:gdLst>
              <a:gd name="connsiteX0" fmla="*/ 0 w 1662602"/>
              <a:gd name="connsiteY0" fmla="*/ 0 h 1875555"/>
              <a:gd name="connsiteX1" fmla="*/ 1662602 w 1662602"/>
              <a:gd name="connsiteY1" fmla="*/ 0 h 1875555"/>
              <a:gd name="connsiteX2" fmla="*/ 1662602 w 1662602"/>
              <a:gd name="connsiteY2" fmla="*/ 1875555 h 1875555"/>
              <a:gd name="connsiteX3" fmla="*/ 0 w 1662602"/>
              <a:gd name="connsiteY3" fmla="*/ 1875555 h 1875555"/>
              <a:gd name="connsiteX4" fmla="*/ 0 w 1662602"/>
              <a:gd name="connsiteY4" fmla="*/ 0 h 1875555"/>
              <a:gd name="connsiteX0" fmla="*/ 138549 w 1662602"/>
              <a:gd name="connsiteY0" fmla="*/ 83131 h 1875555"/>
              <a:gd name="connsiteX1" fmla="*/ 1662602 w 1662602"/>
              <a:gd name="connsiteY1" fmla="*/ 0 h 1875555"/>
              <a:gd name="connsiteX2" fmla="*/ 1662602 w 1662602"/>
              <a:gd name="connsiteY2" fmla="*/ 1875555 h 1875555"/>
              <a:gd name="connsiteX3" fmla="*/ 0 w 1662602"/>
              <a:gd name="connsiteY3" fmla="*/ 1875555 h 1875555"/>
              <a:gd name="connsiteX4" fmla="*/ 138549 w 1662602"/>
              <a:gd name="connsiteY4" fmla="*/ 83131 h 1875555"/>
              <a:gd name="connsiteX0" fmla="*/ 27710 w 1551763"/>
              <a:gd name="connsiteY0" fmla="*/ 83131 h 1930977"/>
              <a:gd name="connsiteX1" fmla="*/ 1551763 w 1551763"/>
              <a:gd name="connsiteY1" fmla="*/ 0 h 1930977"/>
              <a:gd name="connsiteX2" fmla="*/ 1551763 w 1551763"/>
              <a:gd name="connsiteY2" fmla="*/ 1875555 h 1930977"/>
              <a:gd name="connsiteX3" fmla="*/ 0 w 1551763"/>
              <a:gd name="connsiteY3" fmla="*/ 1930977 h 1930977"/>
              <a:gd name="connsiteX4" fmla="*/ 27710 w 1551763"/>
              <a:gd name="connsiteY4" fmla="*/ 83131 h 1930977"/>
              <a:gd name="connsiteX0" fmla="*/ 27710 w 1560999"/>
              <a:gd name="connsiteY0" fmla="*/ 83131 h 2161883"/>
              <a:gd name="connsiteX1" fmla="*/ 1551763 w 1560999"/>
              <a:gd name="connsiteY1" fmla="*/ 0 h 2161883"/>
              <a:gd name="connsiteX2" fmla="*/ 1560999 w 1560999"/>
              <a:gd name="connsiteY2" fmla="*/ 2161883 h 2161883"/>
              <a:gd name="connsiteX3" fmla="*/ 0 w 1560999"/>
              <a:gd name="connsiteY3" fmla="*/ 1930977 h 2161883"/>
              <a:gd name="connsiteX4" fmla="*/ 27710 w 1560999"/>
              <a:gd name="connsiteY4" fmla="*/ 83131 h 2161883"/>
              <a:gd name="connsiteX0" fmla="*/ 27710 w 1579738"/>
              <a:gd name="connsiteY0" fmla="*/ 295567 h 2374319"/>
              <a:gd name="connsiteX1" fmla="*/ 1579472 w 1579738"/>
              <a:gd name="connsiteY1" fmla="*/ 0 h 2374319"/>
              <a:gd name="connsiteX2" fmla="*/ 1560999 w 1579738"/>
              <a:gd name="connsiteY2" fmla="*/ 2374319 h 2374319"/>
              <a:gd name="connsiteX3" fmla="*/ 0 w 1579738"/>
              <a:gd name="connsiteY3" fmla="*/ 2143413 h 2374319"/>
              <a:gd name="connsiteX4" fmla="*/ 27710 w 1579738"/>
              <a:gd name="connsiteY4" fmla="*/ 295567 h 2374319"/>
              <a:gd name="connsiteX0" fmla="*/ 40457 w 1579738"/>
              <a:gd name="connsiteY0" fmla="*/ 539666 h 2374319"/>
              <a:gd name="connsiteX1" fmla="*/ 1579472 w 1579738"/>
              <a:gd name="connsiteY1" fmla="*/ 0 h 2374319"/>
              <a:gd name="connsiteX2" fmla="*/ 1560999 w 1579738"/>
              <a:gd name="connsiteY2" fmla="*/ 2374319 h 2374319"/>
              <a:gd name="connsiteX3" fmla="*/ 0 w 1579738"/>
              <a:gd name="connsiteY3" fmla="*/ 2143413 h 2374319"/>
              <a:gd name="connsiteX4" fmla="*/ 40457 w 1579738"/>
              <a:gd name="connsiteY4" fmla="*/ 539666 h 2374319"/>
              <a:gd name="connsiteX0" fmla="*/ 27711 w 1566992"/>
              <a:gd name="connsiteY0" fmla="*/ 539666 h 2374319"/>
              <a:gd name="connsiteX1" fmla="*/ 1566726 w 1566992"/>
              <a:gd name="connsiteY1" fmla="*/ 0 h 2374319"/>
              <a:gd name="connsiteX2" fmla="*/ 1548253 w 1566992"/>
              <a:gd name="connsiteY2" fmla="*/ 2374319 h 2374319"/>
              <a:gd name="connsiteX3" fmla="*/ 0 w 1566992"/>
              <a:gd name="connsiteY3" fmla="*/ 1841878 h 2374319"/>
              <a:gd name="connsiteX4" fmla="*/ 27711 w 1566992"/>
              <a:gd name="connsiteY4" fmla="*/ 539666 h 2374319"/>
              <a:gd name="connsiteX0" fmla="*/ 0 w 1729026"/>
              <a:gd name="connsiteY0" fmla="*/ 905436 h 2374319"/>
              <a:gd name="connsiteX1" fmla="*/ 1728760 w 1729026"/>
              <a:gd name="connsiteY1" fmla="*/ 0 h 2374319"/>
              <a:gd name="connsiteX2" fmla="*/ 1710287 w 1729026"/>
              <a:gd name="connsiteY2" fmla="*/ 2374319 h 2374319"/>
              <a:gd name="connsiteX3" fmla="*/ 162034 w 1729026"/>
              <a:gd name="connsiteY3" fmla="*/ 1841878 h 2374319"/>
              <a:gd name="connsiteX4" fmla="*/ 0 w 1729026"/>
              <a:gd name="connsiteY4" fmla="*/ 905436 h 2374319"/>
              <a:gd name="connsiteX0" fmla="*/ 12409 w 1741435"/>
              <a:gd name="connsiteY0" fmla="*/ 905436 h 2374319"/>
              <a:gd name="connsiteX1" fmla="*/ 1741169 w 1741435"/>
              <a:gd name="connsiteY1" fmla="*/ 0 h 2374319"/>
              <a:gd name="connsiteX2" fmla="*/ 1722696 w 1741435"/>
              <a:gd name="connsiteY2" fmla="*/ 2374319 h 2374319"/>
              <a:gd name="connsiteX3" fmla="*/ 0 w 1741435"/>
              <a:gd name="connsiteY3" fmla="*/ 1483212 h 2374319"/>
              <a:gd name="connsiteX4" fmla="*/ 12409 w 1741435"/>
              <a:gd name="connsiteY4" fmla="*/ 905436 h 2374319"/>
              <a:gd name="connsiteX0" fmla="*/ 12409 w 1752832"/>
              <a:gd name="connsiteY0" fmla="*/ 1122944 h 2591827"/>
              <a:gd name="connsiteX1" fmla="*/ 1752646 w 1752832"/>
              <a:gd name="connsiteY1" fmla="*/ 0 h 2591827"/>
              <a:gd name="connsiteX2" fmla="*/ 1722696 w 1752832"/>
              <a:gd name="connsiteY2" fmla="*/ 2591827 h 2591827"/>
              <a:gd name="connsiteX3" fmla="*/ 0 w 1752832"/>
              <a:gd name="connsiteY3" fmla="*/ 1700720 h 2591827"/>
              <a:gd name="connsiteX4" fmla="*/ 12409 w 1752832"/>
              <a:gd name="connsiteY4" fmla="*/ 1122944 h 2591827"/>
              <a:gd name="connsiteX0" fmla="*/ 12409 w 1722696"/>
              <a:gd name="connsiteY0" fmla="*/ 1313819 h 2782702"/>
              <a:gd name="connsiteX1" fmla="*/ 1691438 w 1722696"/>
              <a:gd name="connsiteY1" fmla="*/ 0 h 2782702"/>
              <a:gd name="connsiteX2" fmla="*/ 1722696 w 1722696"/>
              <a:gd name="connsiteY2" fmla="*/ 2782702 h 2782702"/>
              <a:gd name="connsiteX3" fmla="*/ 0 w 1722696"/>
              <a:gd name="connsiteY3" fmla="*/ 1891595 h 2782702"/>
              <a:gd name="connsiteX4" fmla="*/ 12409 w 1722696"/>
              <a:gd name="connsiteY4" fmla="*/ 1313819 h 2782702"/>
              <a:gd name="connsiteX0" fmla="*/ 12409 w 1715045"/>
              <a:gd name="connsiteY0" fmla="*/ 1313819 h 3377521"/>
              <a:gd name="connsiteX1" fmla="*/ 1691438 w 1715045"/>
              <a:gd name="connsiteY1" fmla="*/ 0 h 3377521"/>
              <a:gd name="connsiteX2" fmla="*/ 1715045 w 1715045"/>
              <a:gd name="connsiteY2" fmla="*/ 3377521 h 3377521"/>
              <a:gd name="connsiteX3" fmla="*/ 0 w 1715045"/>
              <a:gd name="connsiteY3" fmla="*/ 1891595 h 3377521"/>
              <a:gd name="connsiteX4" fmla="*/ 12409 w 1715045"/>
              <a:gd name="connsiteY4" fmla="*/ 1313819 h 3377521"/>
              <a:gd name="connsiteX0" fmla="*/ 12409 w 1715045"/>
              <a:gd name="connsiteY0" fmla="*/ 1313819 h 3377521"/>
              <a:gd name="connsiteX1" fmla="*/ 1691438 w 1715045"/>
              <a:gd name="connsiteY1" fmla="*/ 0 h 3377521"/>
              <a:gd name="connsiteX2" fmla="*/ 1715045 w 1715045"/>
              <a:gd name="connsiteY2" fmla="*/ 3377521 h 3377521"/>
              <a:gd name="connsiteX3" fmla="*/ 0 w 1715045"/>
              <a:gd name="connsiteY3" fmla="*/ 1891595 h 3377521"/>
              <a:gd name="connsiteX4" fmla="*/ 12409 w 1715045"/>
              <a:gd name="connsiteY4" fmla="*/ 1313819 h 3377521"/>
              <a:gd name="connsiteX0" fmla="*/ 12409 w 1715045"/>
              <a:gd name="connsiteY0" fmla="*/ 1313819 h 3377521"/>
              <a:gd name="connsiteX1" fmla="*/ 1691438 w 1715045"/>
              <a:gd name="connsiteY1" fmla="*/ 0 h 3377521"/>
              <a:gd name="connsiteX2" fmla="*/ 1715045 w 1715045"/>
              <a:gd name="connsiteY2" fmla="*/ 3377521 h 3377521"/>
              <a:gd name="connsiteX3" fmla="*/ 0 w 1715045"/>
              <a:gd name="connsiteY3" fmla="*/ 1891595 h 3377521"/>
              <a:gd name="connsiteX4" fmla="*/ 12409 w 1715045"/>
              <a:gd name="connsiteY4" fmla="*/ 1313819 h 3377521"/>
              <a:gd name="connsiteX0" fmla="*/ 12409 w 1711219"/>
              <a:gd name="connsiteY0" fmla="*/ 1313819 h 3217719"/>
              <a:gd name="connsiteX1" fmla="*/ 1691438 w 1711219"/>
              <a:gd name="connsiteY1" fmla="*/ 0 h 3217719"/>
              <a:gd name="connsiteX2" fmla="*/ 1711219 w 1711219"/>
              <a:gd name="connsiteY2" fmla="*/ 3217719 h 3217719"/>
              <a:gd name="connsiteX3" fmla="*/ 0 w 1711219"/>
              <a:gd name="connsiteY3" fmla="*/ 1891595 h 3217719"/>
              <a:gd name="connsiteX4" fmla="*/ 12409 w 1711219"/>
              <a:gd name="connsiteY4" fmla="*/ 1313819 h 3217719"/>
              <a:gd name="connsiteX0" fmla="*/ 12409 w 1711219"/>
              <a:gd name="connsiteY0" fmla="*/ 1287185 h 3191085"/>
              <a:gd name="connsiteX1" fmla="*/ 1691438 w 1711219"/>
              <a:gd name="connsiteY1" fmla="*/ 0 h 3191085"/>
              <a:gd name="connsiteX2" fmla="*/ 1711219 w 1711219"/>
              <a:gd name="connsiteY2" fmla="*/ 3191085 h 3191085"/>
              <a:gd name="connsiteX3" fmla="*/ 0 w 1711219"/>
              <a:gd name="connsiteY3" fmla="*/ 1864961 h 3191085"/>
              <a:gd name="connsiteX4" fmla="*/ 12409 w 1711219"/>
              <a:gd name="connsiteY4" fmla="*/ 1287185 h 3191085"/>
              <a:gd name="connsiteX0" fmla="*/ 12409 w 1711219"/>
              <a:gd name="connsiteY0" fmla="*/ 1247235 h 3151135"/>
              <a:gd name="connsiteX1" fmla="*/ 1683788 w 1711219"/>
              <a:gd name="connsiteY1" fmla="*/ 0 h 3151135"/>
              <a:gd name="connsiteX2" fmla="*/ 1711219 w 1711219"/>
              <a:gd name="connsiteY2" fmla="*/ 3151135 h 3151135"/>
              <a:gd name="connsiteX3" fmla="*/ 0 w 1711219"/>
              <a:gd name="connsiteY3" fmla="*/ 1825011 h 3151135"/>
              <a:gd name="connsiteX4" fmla="*/ 12409 w 1711219"/>
              <a:gd name="connsiteY4" fmla="*/ 1247235 h 3151135"/>
              <a:gd name="connsiteX0" fmla="*/ 16235 w 1711219"/>
              <a:gd name="connsiteY0" fmla="*/ 1264991 h 3151135"/>
              <a:gd name="connsiteX1" fmla="*/ 1683788 w 1711219"/>
              <a:gd name="connsiteY1" fmla="*/ 0 h 3151135"/>
              <a:gd name="connsiteX2" fmla="*/ 1711219 w 1711219"/>
              <a:gd name="connsiteY2" fmla="*/ 3151135 h 3151135"/>
              <a:gd name="connsiteX3" fmla="*/ 0 w 1711219"/>
              <a:gd name="connsiteY3" fmla="*/ 1825011 h 3151135"/>
              <a:gd name="connsiteX4" fmla="*/ 16235 w 1711219"/>
              <a:gd name="connsiteY4" fmla="*/ 1264991 h 315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1219" h="3151135">
                <a:moveTo>
                  <a:pt x="16235" y="1264991"/>
                </a:moveTo>
                <a:cubicBezTo>
                  <a:pt x="529240" y="1085102"/>
                  <a:pt x="1170783" y="179889"/>
                  <a:pt x="1683788" y="0"/>
                </a:cubicBezTo>
                <a:cubicBezTo>
                  <a:pt x="1686867" y="720628"/>
                  <a:pt x="1708140" y="2430507"/>
                  <a:pt x="1711219" y="3151135"/>
                </a:cubicBezTo>
                <a:cubicBezTo>
                  <a:pt x="1181617" y="2975430"/>
                  <a:pt x="697924" y="2129446"/>
                  <a:pt x="0" y="1825011"/>
                </a:cubicBezTo>
                <a:lnTo>
                  <a:pt x="16235" y="1264991"/>
                </a:lnTo>
                <a:close/>
              </a:path>
            </a:pathLst>
          </a:custGeom>
          <a:gradFill flip="none" rotWithShape="1">
            <a:gsLst>
              <a:gs pos="0">
                <a:srgbClr val="9FFFFF">
                  <a:alpha val="0"/>
                </a:srgbClr>
              </a:gs>
              <a:gs pos="100000">
                <a:srgbClr val="9FFFFF">
                  <a:alpha val="20000"/>
                </a:srgbClr>
              </a:gs>
            </a:gsLst>
            <a:lin ang="10800000" scaled="1"/>
            <a:tileRect/>
          </a:gradFill>
          <a:ln>
            <a:noFill/>
          </a:ln>
          <a:effectLst>
            <a:outerShdw blurRad="635000" dist="863600" dir="5400000" sx="90000" sy="90000" algn="t" rotWithShape="0">
              <a:prstClr val="black">
                <a:alpha val="7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TextBox 12">
            <a:extLst>
              <a:ext uri="{FF2B5EF4-FFF2-40B4-BE49-F238E27FC236}">
                <a16:creationId xmlns:a16="http://schemas.microsoft.com/office/drawing/2014/main" id="{792A5914-D35B-49C3-90FA-1CC3534405D1}"/>
              </a:ext>
            </a:extLst>
          </p:cNvPr>
          <p:cNvSpPr txBox="1"/>
          <p:nvPr/>
        </p:nvSpPr>
        <p:spPr>
          <a:xfrm>
            <a:off x="10958747" y="185647"/>
            <a:ext cx="1419726" cy="138499"/>
          </a:xfrm>
          <a:prstGeom prst="rect">
            <a:avLst/>
          </a:prstGeom>
          <a:noFill/>
        </p:spPr>
        <p:txBody>
          <a:bodyPr wrap="square" lIns="0" tIns="0" rIns="0" bIns="0" rtlCol="0" anchor="ctr">
            <a:spAutoFit/>
          </a:bodyPr>
          <a:lstStyle/>
          <a:p>
            <a:r>
              <a:rPr lang="en-US" sz="900" dirty="0">
                <a:solidFill>
                  <a:srgbClr val="1D1F3A"/>
                </a:solidFill>
              </a:rPr>
              <a:t>An Initiative by </a:t>
            </a:r>
          </a:p>
        </p:txBody>
      </p:sp>
      <p:pic>
        <p:nvPicPr>
          <p:cNvPr id="14" name="Picture 13">
            <a:extLst>
              <a:ext uri="{FF2B5EF4-FFF2-40B4-BE49-F238E27FC236}">
                <a16:creationId xmlns:a16="http://schemas.microsoft.com/office/drawing/2014/main" id="{6A1467F8-89EE-4B91-910C-D7AA781024B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211" t="29158" r="6947" b="28526"/>
          <a:stretch/>
        </p:blipFill>
        <p:spPr>
          <a:xfrm>
            <a:off x="10792328" y="350783"/>
            <a:ext cx="992856" cy="483792"/>
          </a:xfrm>
          <a:prstGeom prst="rect">
            <a:avLst/>
          </a:prstGeom>
        </p:spPr>
      </p:pic>
    </p:spTree>
    <p:extLst>
      <p:ext uri="{BB962C8B-B14F-4D97-AF65-F5344CB8AC3E}">
        <p14:creationId xmlns:p14="http://schemas.microsoft.com/office/powerpoint/2010/main" val="35078639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46969EBC-E8D3-4914-9A82-8E88F816E77E}"/>
              </a:ext>
            </a:extLst>
          </p:cNvPr>
          <p:cNvSpPr/>
          <p:nvPr/>
        </p:nvSpPr>
        <p:spPr>
          <a:xfrm>
            <a:off x="4093646" y="5899455"/>
            <a:ext cx="3597344" cy="369332"/>
          </a:xfrm>
          <a:prstGeom prst="rect">
            <a:avLst/>
          </a:prstGeom>
        </p:spPr>
        <p:txBody>
          <a:bodyPr wrap="square" lIns="0" tIns="0" rIns="0" bIns="0">
            <a:spAutoFit/>
          </a:bodyPr>
          <a:lstStyle/>
          <a:p>
            <a:pPr algn="ctr"/>
            <a:r>
              <a:rPr lang="en-IN" sz="2400" b="1" dirty="0">
                <a:solidFill>
                  <a:srgbClr val="002060"/>
                </a:solidFill>
                <a:latin typeface="Segoe UI" panose="020B0502040204020203" pitchFamily="34" charset="0"/>
                <a:cs typeface="Segoe UI" panose="020B0502040204020203" pitchFamily="34" charset="0"/>
              </a:rPr>
              <a:t>Single Window Support</a:t>
            </a:r>
            <a:endParaRPr lang="en-US" sz="2400" dirty="0">
              <a:solidFill>
                <a:srgbClr val="002060"/>
              </a:solidFill>
            </a:endParaRPr>
          </a:p>
        </p:txBody>
      </p:sp>
      <p:grpSp>
        <p:nvGrpSpPr>
          <p:cNvPr id="27" name="Group 26">
            <a:extLst>
              <a:ext uri="{FF2B5EF4-FFF2-40B4-BE49-F238E27FC236}">
                <a16:creationId xmlns:a16="http://schemas.microsoft.com/office/drawing/2014/main" id="{ABC2A172-1C05-4D6F-B5FB-5CEBE6B7E962}"/>
              </a:ext>
            </a:extLst>
          </p:cNvPr>
          <p:cNvGrpSpPr/>
          <p:nvPr/>
        </p:nvGrpSpPr>
        <p:grpSpPr>
          <a:xfrm>
            <a:off x="4558025" y="3176362"/>
            <a:ext cx="2668588" cy="2679700"/>
            <a:chOff x="4832350" y="3127375"/>
            <a:chExt cx="2668588" cy="2679700"/>
          </a:xfrm>
        </p:grpSpPr>
        <p:sp>
          <p:nvSpPr>
            <p:cNvPr id="5" name="Freeform 5">
              <a:extLst>
                <a:ext uri="{FF2B5EF4-FFF2-40B4-BE49-F238E27FC236}">
                  <a16:creationId xmlns:a16="http://schemas.microsoft.com/office/drawing/2014/main" id="{A113113D-0844-4CD7-B171-8F00F9D68757}"/>
                </a:ext>
              </a:extLst>
            </p:cNvPr>
            <p:cNvSpPr>
              <a:spLocks/>
            </p:cNvSpPr>
            <p:nvPr/>
          </p:nvSpPr>
          <p:spPr bwMode="auto">
            <a:xfrm>
              <a:off x="6364288" y="3810000"/>
              <a:ext cx="1004888" cy="1736725"/>
            </a:xfrm>
            <a:custGeom>
              <a:avLst/>
              <a:gdLst>
                <a:gd name="T0" fmla="*/ 82 w 175"/>
                <a:gd name="T1" fmla="*/ 75 h 303"/>
                <a:gd name="T2" fmla="*/ 172 w 175"/>
                <a:gd name="T3" fmla="*/ 242 h 303"/>
                <a:gd name="T4" fmla="*/ 103 w 175"/>
                <a:gd name="T5" fmla="*/ 242 h 303"/>
                <a:gd name="T6" fmla="*/ 49 w 175"/>
                <a:gd name="T7" fmla="*/ 89 h 303"/>
                <a:gd name="T8" fmla="*/ 22 w 175"/>
                <a:gd name="T9" fmla="*/ 67 h 303"/>
                <a:gd name="T10" fmla="*/ 7 w 175"/>
                <a:gd name="T11" fmla="*/ 36 h 303"/>
                <a:gd name="T12" fmla="*/ 23 w 175"/>
                <a:gd name="T13" fmla="*/ 36 h 303"/>
                <a:gd name="T14" fmla="*/ 35 w 175"/>
                <a:gd name="T15" fmla="*/ 54 h 303"/>
                <a:gd name="T16" fmla="*/ 8 w 175"/>
                <a:gd name="T17" fmla="*/ 5 h 303"/>
                <a:gd name="T18" fmla="*/ 30 w 175"/>
                <a:gd name="T19" fmla="*/ 21 h 303"/>
                <a:gd name="T20" fmla="*/ 51 w 175"/>
                <a:gd name="T21" fmla="*/ 25 h 303"/>
                <a:gd name="T22" fmla="*/ 70 w 175"/>
                <a:gd name="T23" fmla="*/ 49 h 303"/>
                <a:gd name="T24" fmla="*/ 82 w 175"/>
                <a:gd name="T25" fmla="*/ 75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 h="303">
                  <a:moveTo>
                    <a:pt x="82" y="75"/>
                  </a:moveTo>
                  <a:cubicBezTo>
                    <a:pt x="82" y="75"/>
                    <a:pt x="175" y="184"/>
                    <a:pt x="172" y="242"/>
                  </a:cubicBezTo>
                  <a:cubicBezTo>
                    <a:pt x="169" y="299"/>
                    <a:pt x="126" y="303"/>
                    <a:pt x="103" y="242"/>
                  </a:cubicBezTo>
                  <a:cubicBezTo>
                    <a:pt x="81" y="180"/>
                    <a:pt x="49" y="89"/>
                    <a:pt x="49" y="89"/>
                  </a:cubicBezTo>
                  <a:cubicBezTo>
                    <a:pt x="49" y="89"/>
                    <a:pt x="27" y="74"/>
                    <a:pt x="22" y="67"/>
                  </a:cubicBezTo>
                  <a:cubicBezTo>
                    <a:pt x="17" y="61"/>
                    <a:pt x="13" y="39"/>
                    <a:pt x="7" y="36"/>
                  </a:cubicBezTo>
                  <a:cubicBezTo>
                    <a:pt x="0" y="33"/>
                    <a:pt x="12" y="26"/>
                    <a:pt x="23" y="36"/>
                  </a:cubicBezTo>
                  <a:cubicBezTo>
                    <a:pt x="33" y="46"/>
                    <a:pt x="30" y="57"/>
                    <a:pt x="35" y="54"/>
                  </a:cubicBezTo>
                  <a:cubicBezTo>
                    <a:pt x="40" y="50"/>
                    <a:pt x="8" y="10"/>
                    <a:pt x="8" y="5"/>
                  </a:cubicBezTo>
                  <a:cubicBezTo>
                    <a:pt x="9" y="0"/>
                    <a:pt x="30" y="21"/>
                    <a:pt x="30" y="21"/>
                  </a:cubicBezTo>
                  <a:cubicBezTo>
                    <a:pt x="30" y="21"/>
                    <a:pt x="44" y="19"/>
                    <a:pt x="51" y="25"/>
                  </a:cubicBezTo>
                  <a:cubicBezTo>
                    <a:pt x="58" y="30"/>
                    <a:pt x="67" y="43"/>
                    <a:pt x="70" y="49"/>
                  </a:cubicBezTo>
                  <a:cubicBezTo>
                    <a:pt x="72" y="55"/>
                    <a:pt x="75" y="66"/>
                    <a:pt x="82" y="75"/>
                  </a:cubicBezTo>
                  <a:close/>
                </a:path>
              </a:pathLst>
            </a:custGeom>
            <a:solidFill>
              <a:srgbClr val="F8F3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AutoShape 3">
              <a:extLst>
                <a:ext uri="{FF2B5EF4-FFF2-40B4-BE49-F238E27FC236}">
                  <a16:creationId xmlns:a16="http://schemas.microsoft.com/office/drawing/2014/main" id="{CBAFF68D-D572-4371-A91E-AC6024B691FF}"/>
                </a:ext>
              </a:extLst>
            </p:cNvPr>
            <p:cNvSpPr>
              <a:spLocks noChangeAspect="1" noChangeArrowheads="1" noTextEdit="1"/>
            </p:cNvSpPr>
            <p:nvPr/>
          </p:nvSpPr>
          <p:spPr bwMode="auto">
            <a:xfrm>
              <a:off x="4905375" y="3141662"/>
              <a:ext cx="2479675" cy="266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6">
              <a:extLst>
                <a:ext uri="{FF2B5EF4-FFF2-40B4-BE49-F238E27FC236}">
                  <a16:creationId xmlns:a16="http://schemas.microsoft.com/office/drawing/2014/main" id="{48C4C649-8470-4879-B490-47F99A11E63F}"/>
                </a:ext>
              </a:extLst>
            </p:cNvPr>
            <p:cNvSpPr>
              <a:spLocks/>
            </p:cNvSpPr>
            <p:nvPr/>
          </p:nvSpPr>
          <p:spPr bwMode="auto">
            <a:xfrm>
              <a:off x="6610350" y="4210050"/>
              <a:ext cx="752475" cy="1301750"/>
            </a:xfrm>
            <a:custGeom>
              <a:avLst/>
              <a:gdLst>
                <a:gd name="T0" fmla="*/ 36 w 131"/>
                <a:gd name="T1" fmla="*/ 0 h 227"/>
                <a:gd name="T2" fmla="*/ 0 w 131"/>
                <a:gd name="T3" fmla="*/ 22 h 227"/>
                <a:gd name="T4" fmla="*/ 94 w 131"/>
                <a:gd name="T5" fmla="*/ 215 h 227"/>
                <a:gd name="T6" fmla="*/ 130 w 131"/>
                <a:gd name="T7" fmla="*/ 168 h 227"/>
                <a:gd name="T8" fmla="*/ 36 w 131"/>
                <a:gd name="T9" fmla="*/ 0 h 227"/>
              </a:gdLst>
              <a:ahLst/>
              <a:cxnLst>
                <a:cxn ang="0">
                  <a:pos x="T0" y="T1"/>
                </a:cxn>
                <a:cxn ang="0">
                  <a:pos x="T2" y="T3"/>
                </a:cxn>
                <a:cxn ang="0">
                  <a:pos x="T4" y="T5"/>
                </a:cxn>
                <a:cxn ang="0">
                  <a:pos x="T6" y="T7"/>
                </a:cxn>
                <a:cxn ang="0">
                  <a:pos x="T8" y="T9"/>
                </a:cxn>
              </a:cxnLst>
              <a:rect l="0" t="0" r="r" b="b"/>
              <a:pathLst>
                <a:path w="131" h="227">
                  <a:moveTo>
                    <a:pt x="36" y="0"/>
                  </a:moveTo>
                  <a:cubicBezTo>
                    <a:pt x="36" y="0"/>
                    <a:pt x="5" y="19"/>
                    <a:pt x="0" y="22"/>
                  </a:cubicBezTo>
                  <a:cubicBezTo>
                    <a:pt x="0" y="22"/>
                    <a:pt x="64" y="203"/>
                    <a:pt x="94" y="215"/>
                  </a:cubicBezTo>
                  <a:cubicBezTo>
                    <a:pt x="124" y="227"/>
                    <a:pt x="131" y="194"/>
                    <a:pt x="130" y="168"/>
                  </a:cubicBezTo>
                  <a:cubicBezTo>
                    <a:pt x="129" y="138"/>
                    <a:pt x="99" y="55"/>
                    <a:pt x="36" y="0"/>
                  </a:cubicBezTo>
                  <a:close/>
                </a:path>
              </a:pathLst>
            </a:custGeom>
            <a:solidFill>
              <a:srgbClr val="E5E1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7">
              <a:extLst>
                <a:ext uri="{FF2B5EF4-FFF2-40B4-BE49-F238E27FC236}">
                  <a16:creationId xmlns:a16="http://schemas.microsoft.com/office/drawing/2014/main" id="{A6D0BE20-D8F3-4E9A-9E7A-BC6FFF63D4D3}"/>
                </a:ext>
              </a:extLst>
            </p:cNvPr>
            <p:cNvSpPr>
              <a:spLocks/>
            </p:cNvSpPr>
            <p:nvPr/>
          </p:nvSpPr>
          <p:spPr bwMode="auto">
            <a:xfrm>
              <a:off x="4883150" y="5529263"/>
              <a:ext cx="2451100" cy="257175"/>
            </a:xfrm>
            <a:custGeom>
              <a:avLst/>
              <a:gdLst>
                <a:gd name="T0" fmla="*/ 1544 w 1544"/>
                <a:gd name="T1" fmla="*/ 162 h 162"/>
                <a:gd name="T2" fmla="*/ 0 w 1544"/>
                <a:gd name="T3" fmla="*/ 162 h 162"/>
                <a:gd name="T4" fmla="*/ 156 w 1544"/>
                <a:gd name="T5" fmla="*/ 0 h 162"/>
                <a:gd name="T6" fmla="*/ 1436 w 1544"/>
                <a:gd name="T7" fmla="*/ 0 h 162"/>
                <a:gd name="T8" fmla="*/ 1544 w 1544"/>
                <a:gd name="T9" fmla="*/ 162 h 162"/>
              </a:gdLst>
              <a:ahLst/>
              <a:cxnLst>
                <a:cxn ang="0">
                  <a:pos x="T0" y="T1"/>
                </a:cxn>
                <a:cxn ang="0">
                  <a:pos x="T2" y="T3"/>
                </a:cxn>
                <a:cxn ang="0">
                  <a:pos x="T4" y="T5"/>
                </a:cxn>
                <a:cxn ang="0">
                  <a:pos x="T6" y="T7"/>
                </a:cxn>
                <a:cxn ang="0">
                  <a:pos x="T8" y="T9"/>
                </a:cxn>
              </a:cxnLst>
              <a:rect l="0" t="0" r="r" b="b"/>
              <a:pathLst>
                <a:path w="1544" h="162">
                  <a:moveTo>
                    <a:pt x="1544" y="162"/>
                  </a:moveTo>
                  <a:lnTo>
                    <a:pt x="0" y="162"/>
                  </a:lnTo>
                  <a:lnTo>
                    <a:pt x="156" y="0"/>
                  </a:lnTo>
                  <a:lnTo>
                    <a:pt x="1436" y="0"/>
                  </a:lnTo>
                  <a:lnTo>
                    <a:pt x="1544" y="162"/>
                  </a:lnTo>
                  <a:close/>
                </a:path>
              </a:pathLst>
            </a:custGeom>
            <a:gradFill flip="none" rotWithShape="1">
              <a:gsLst>
                <a:gs pos="0">
                  <a:srgbClr val="6FC9E0"/>
                </a:gs>
                <a:gs pos="39000">
                  <a:srgbClr val="4BC3E2"/>
                </a:gs>
                <a:gs pos="85000">
                  <a:srgbClr val="030341"/>
                </a:gs>
              </a:gsLst>
              <a:path path="circle">
                <a:fillToRect l="50000" t="130000" r="50000" b="-30000"/>
              </a:path>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8">
              <a:extLst>
                <a:ext uri="{FF2B5EF4-FFF2-40B4-BE49-F238E27FC236}">
                  <a16:creationId xmlns:a16="http://schemas.microsoft.com/office/drawing/2014/main" id="{91E2CD51-2ACF-4F68-863C-840F1804E8B5}"/>
                </a:ext>
              </a:extLst>
            </p:cNvPr>
            <p:cNvSpPr>
              <a:spLocks/>
            </p:cNvSpPr>
            <p:nvPr/>
          </p:nvSpPr>
          <p:spPr bwMode="auto">
            <a:xfrm>
              <a:off x="5313363" y="4187825"/>
              <a:ext cx="1520825" cy="1598613"/>
            </a:xfrm>
            <a:custGeom>
              <a:avLst/>
              <a:gdLst>
                <a:gd name="T0" fmla="*/ 265 w 265"/>
                <a:gd name="T1" fmla="*/ 279 h 279"/>
                <a:gd name="T2" fmla="*/ 25 w 265"/>
                <a:gd name="T3" fmla="*/ 279 h 279"/>
                <a:gd name="T4" fmla="*/ 20 w 265"/>
                <a:gd name="T5" fmla="*/ 234 h 279"/>
                <a:gd name="T6" fmla="*/ 20 w 265"/>
                <a:gd name="T7" fmla="*/ 230 h 279"/>
                <a:gd name="T8" fmla="*/ 13 w 265"/>
                <a:gd name="T9" fmla="*/ 171 h 279"/>
                <a:gd name="T10" fmla="*/ 11 w 265"/>
                <a:gd name="T11" fmla="*/ 150 h 279"/>
                <a:gd name="T12" fmla="*/ 10 w 265"/>
                <a:gd name="T13" fmla="*/ 129 h 279"/>
                <a:gd name="T14" fmla="*/ 10 w 265"/>
                <a:gd name="T15" fmla="*/ 34 h 279"/>
                <a:gd name="T16" fmla="*/ 10 w 265"/>
                <a:gd name="T17" fmla="*/ 34 h 279"/>
                <a:gd name="T18" fmla="*/ 65 w 265"/>
                <a:gd name="T19" fmla="*/ 17 h 279"/>
                <a:gd name="T20" fmla="*/ 86 w 265"/>
                <a:gd name="T21" fmla="*/ 1 h 279"/>
                <a:gd name="T22" fmla="*/ 131 w 265"/>
                <a:gd name="T23" fmla="*/ 3 h 279"/>
                <a:gd name="T24" fmla="*/ 132 w 265"/>
                <a:gd name="T25" fmla="*/ 3 h 279"/>
                <a:gd name="T26" fmla="*/ 132 w 265"/>
                <a:gd name="T27" fmla="*/ 3 h 279"/>
                <a:gd name="T28" fmla="*/ 133 w 265"/>
                <a:gd name="T29" fmla="*/ 3 h 279"/>
                <a:gd name="T30" fmla="*/ 169 w 265"/>
                <a:gd name="T31" fmla="*/ 12 h 279"/>
                <a:gd name="T32" fmla="*/ 170 w 265"/>
                <a:gd name="T33" fmla="*/ 13 h 279"/>
                <a:gd name="T34" fmla="*/ 170 w 265"/>
                <a:gd name="T35" fmla="*/ 13 h 279"/>
                <a:gd name="T36" fmla="*/ 171 w 265"/>
                <a:gd name="T37" fmla="*/ 26 h 279"/>
                <a:gd name="T38" fmla="*/ 197 w 265"/>
                <a:gd name="T39" fmla="*/ 31 h 279"/>
                <a:gd name="T40" fmla="*/ 201 w 265"/>
                <a:gd name="T41" fmla="*/ 32 h 279"/>
                <a:gd name="T42" fmla="*/ 251 w 265"/>
                <a:gd name="T43" fmla="*/ 105 h 279"/>
                <a:gd name="T44" fmla="*/ 255 w 265"/>
                <a:gd name="T45" fmla="*/ 151 h 279"/>
                <a:gd name="T46" fmla="*/ 259 w 265"/>
                <a:gd name="T47" fmla="*/ 192 h 279"/>
                <a:gd name="T48" fmla="*/ 262 w 265"/>
                <a:gd name="T49" fmla="*/ 234 h 279"/>
                <a:gd name="T50" fmla="*/ 264 w 265"/>
                <a:gd name="T51" fmla="*/ 266 h 279"/>
                <a:gd name="T52" fmla="*/ 264 w 265"/>
                <a:gd name="T53" fmla="*/ 266 h 279"/>
                <a:gd name="T54" fmla="*/ 265 w 265"/>
                <a:gd name="T55"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5" h="279">
                  <a:moveTo>
                    <a:pt x="265" y="279"/>
                  </a:moveTo>
                  <a:cubicBezTo>
                    <a:pt x="25" y="279"/>
                    <a:pt x="25" y="279"/>
                    <a:pt x="25" y="279"/>
                  </a:cubicBezTo>
                  <a:cubicBezTo>
                    <a:pt x="25" y="273"/>
                    <a:pt x="23" y="256"/>
                    <a:pt x="20" y="234"/>
                  </a:cubicBezTo>
                  <a:cubicBezTo>
                    <a:pt x="20" y="232"/>
                    <a:pt x="20" y="231"/>
                    <a:pt x="20" y="230"/>
                  </a:cubicBezTo>
                  <a:cubicBezTo>
                    <a:pt x="17" y="211"/>
                    <a:pt x="15" y="191"/>
                    <a:pt x="13" y="171"/>
                  </a:cubicBezTo>
                  <a:cubicBezTo>
                    <a:pt x="13" y="164"/>
                    <a:pt x="12" y="157"/>
                    <a:pt x="11" y="150"/>
                  </a:cubicBezTo>
                  <a:cubicBezTo>
                    <a:pt x="11" y="143"/>
                    <a:pt x="11" y="136"/>
                    <a:pt x="10" y="129"/>
                  </a:cubicBezTo>
                  <a:cubicBezTo>
                    <a:pt x="8" y="78"/>
                    <a:pt x="0" y="42"/>
                    <a:pt x="10" y="34"/>
                  </a:cubicBezTo>
                  <a:cubicBezTo>
                    <a:pt x="10" y="34"/>
                    <a:pt x="10" y="34"/>
                    <a:pt x="10" y="34"/>
                  </a:cubicBezTo>
                  <a:cubicBezTo>
                    <a:pt x="19" y="26"/>
                    <a:pt x="65" y="17"/>
                    <a:pt x="65" y="17"/>
                  </a:cubicBezTo>
                  <a:cubicBezTo>
                    <a:pt x="65" y="17"/>
                    <a:pt x="70" y="2"/>
                    <a:pt x="86" y="1"/>
                  </a:cubicBezTo>
                  <a:cubicBezTo>
                    <a:pt x="102" y="0"/>
                    <a:pt x="118" y="1"/>
                    <a:pt x="131" y="3"/>
                  </a:cubicBezTo>
                  <a:cubicBezTo>
                    <a:pt x="131" y="3"/>
                    <a:pt x="132" y="3"/>
                    <a:pt x="132" y="3"/>
                  </a:cubicBezTo>
                  <a:cubicBezTo>
                    <a:pt x="132" y="3"/>
                    <a:pt x="132" y="3"/>
                    <a:pt x="132" y="3"/>
                  </a:cubicBezTo>
                  <a:cubicBezTo>
                    <a:pt x="132" y="3"/>
                    <a:pt x="133" y="3"/>
                    <a:pt x="133" y="3"/>
                  </a:cubicBezTo>
                  <a:cubicBezTo>
                    <a:pt x="152" y="6"/>
                    <a:pt x="167" y="10"/>
                    <a:pt x="169" y="12"/>
                  </a:cubicBezTo>
                  <a:cubicBezTo>
                    <a:pt x="170" y="12"/>
                    <a:pt x="170" y="13"/>
                    <a:pt x="170" y="13"/>
                  </a:cubicBezTo>
                  <a:cubicBezTo>
                    <a:pt x="170" y="13"/>
                    <a:pt x="170" y="13"/>
                    <a:pt x="170" y="13"/>
                  </a:cubicBezTo>
                  <a:cubicBezTo>
                    <a:pt x="171" y="22"/>
                    <a:pt x="171" y="26"/>
                    <a:pt x="171" y="26"/>
                  </a:cubicBezTo>
                  <a:cubicBezTo>
                    <a:pt x="171" y="26"/>
                    <a:pt x="184" y="32"/>
                    <a:pt x="197" y="31"/>
                  </a:cubicBezTo>
                  <a:cubicBezTo>
                    <a:pt x="198" y="31"/>
                    <a:pt x="199" y="31"/>
                    <a:pt x="201" y="32"/>
                  </a:cubicBezTo>
                  <a:cubicBezTo>
                    <a:pt x="216" y="35"/>
                    <a:pt x="247" y="62"/>
                    <a:pt x="251" y="105"/>
                  </a:cubicBezTo>
                  <a:cubicBezTo>
                    <a:pt x="252" y="117"/>
                    <a:pt x="254" y="133"/>
                    <a:pt x="255" y="151"/>
                  </a:cubicBezTo>
                  <a:cubicBezTo>
                    <a:pt x="256" y="164"/>
                    <a:pt x="257" y="178"/>
                    <a:pt x="259" y="192"/>
                  </a:cubicBezTo>
                  <a:cubicBezTo>
                    <a:pt x="260" y="207"/>
                    <a:pt x="261" y="221"/>
                    <a:pt x="262" y="234"/>
                  </a:cubicBezTo>
                  <a:cubicBezTo>
                    <a:pt x="263" y="246"/>
                    <a:pt x="263" y="258"/>
                    <a:pt x="264" y="266"/>
                  </a:cubicBezTo>
                  <a:cubicBezTo>
                    <a:pt x="264" y="266"/>
                    <a:pt x="264" y="266"/>
                    <a:pt x="264" y="266"/>
                  </a:cubicBezTo>
                  <a:cubicBezTo>
                    <a:pt x="264" y="272"/>
                    <a:pt x="265" y="277"/>
                    <a:pt x="265" y="279"/>
                  </a:cubicBezTo>
                  <a:close/>
                </a:path>
              </a:pathLst>
            </a:custGeom>
            <a:solidFill>
              <a:srgbClr val="E5E1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9">
              <a:extLst>
                <a:ext uri="{FF2B5EF4-FFF2-40B4-BE49-F238E27FC236}">
                  <a16:creationId xmlns:a16="http://schemas.microsoft.com/office/drawing/2014/main" id="{319F10DD-B9D3-4B3A-8314-9802E27DC1C4}"/>
                </a:ext>
              </a:extLst>
            </p:cNvPr>
            <p:cNvSpPr>
              <a:spLocks/>
            </p:cNvSpPr>
            <p:nvPr/>
          </p:nvSpPr>
          <p:spPr bwMode="auto">
            <a:xfrm>
              <a:off x="4832350" y="4359275"/>
              <a:ext cx="1382713" cy="1152525"/>
            </a:xfrm>
            <a:custGeom>
              <a:avLst/>
              <a:gdLst>
                <a:gd name="T0" fmla="*/ 227 w 241"/>
                <a:gd name="T1" fmla="*/ 194 h 201"/>
                <a:gd name="T2" fmla="*/ 104 w 241"/>
                <a:gd name="T3" fmla="*/ 200 h 201"/>
                <a:gd name="T4" fmla="*/ 23 w 241"/>
                <a:gd name="T5" fmla="*/ 199 h 201"/>
                <a:gd name="T6" fmla="*/ 38 w 241"/>
                <a:gd name="T7" fmla="*/ 83 h 201"/>
                <a:gd name="T8" fmla="*/ 94 w 241"/>
                <a:gd name="T9" fmla="*/ 4 h 201"/>
                <a:gd name="T10" fmla="*/ 94 w 241"/>
                <a:gd name="T11" fmla="*/ 4 h 201"/>
                <a:gd name="T12" fmla="*/ 106 w 241"/>
                <a:gd name="T13" fmla="*/ 1 h 201"/>
                <a:gd name="T14" fmla="*/ 143 w 241"/>
                <a:gd name="T15" fmla="*/ 57 h 201"/>
                <a:gd name="T16" fmla="*/ 95 w 241"/>
                <a:gd name="T17" fmla="*/ 120 h 201"/>
                <a:gd name="T18" fmla="*/ 76 w 241"/>
                <a:gd name="T19" fmla="*/ 141 h 201"/>
                <a:gd name="T20" fmla="*/ 97 w 241"/>
                <a:gd name="T21" fmla="*/ 141 h 201"/>
                <a:gd name="T22" fmla="*/ 239 w 241"/>
                <a:gd name="T23" fmla="*/ 164 h 201"/>
                <a:gd name="T24" fmla="*/ 227 w 241"/>
                <a:gd name="T25" fmla="*/ 19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201">
                  <a:moveTo>
                    <a:pt x="227" y="194"/>
                  </a:moveTo>
                  <a:cubicBezTo>
                    <a:pt x="224" y="194"/>
                    <a:pt x="160" y="198"/>
                    <a:pt x="104" y="200"/>
                  </a:cubicBezTo>
                  <a:cubicBezTo>
                    <a:pt x="66" y="201"/>
                    <a:pt x="32" y="201"/>
                    <a:pt x="23" y="199"/>
                  </a:cubicBezTo>
                  <a:cubicBezTo>
                    <a:pt x="0" y="193"/>
                    <a:pt x="5" y="167"/>
                    <a:pt x="38" y="83"/>
                  </a:cubicBezTo>
                  <a:cubicBezTo>
                    <a:pt x="59" y="29"/>
                    <a:pt x="80" y="10"/>
                    <a:pt x="94" y="4"/>
                  </a:cubicBezTo>
                  <a:cubicBezTo>
                    <a:pt x="94" y="4"/>
                    <a:pt x="94" y="4"/>
                    <a:pt x="94" y="4"/>
                  </a:cubicBezTo>
                  <a:cubicBezTo>
                    <a:pt x="101" y="0"/>
                    <a:pt x="106" y="1"/>
                    <a:pt x="106" y="1"/>
                  </a:cubicBezTo>
                  <a:cubicBezTo>
                    <a:pt x="123" y="0"/>
                    <a:pt x="145" y="42"/>
                    <a:pt x="143" y="57"/>
                  </a:cubicBezTo>
                  <a:cubicBezTo>
                    <a:pt x="142" y="66"/>
                    <a:pt x="115" y="98"/>
                    <a:pt x="95" y="120"/>
                  </a:cubicBezTo>
                  <a:cubicBezTo>
                    <a:pt x="85" y="132"/>
                    <a:pt x="76" y="141"/>
                    <a:pt x="76" y="141"/>
                  </a:cubicBezTo>
                  <a:cubicBezTo>
                    <a:pt x="76" y="141"/>
                    <a:pt x="85" y="141"/>
                    <a:pt x="97" y="141"/>
                  </a:cubicBezTo>
                  <a:cubicBezTo>
                    <a:pt x="139" y="142"/>
                    <a:pt x="228" y="145"/>
                    <a:pt x="239" y="164"/>
                  </a:cubicBezTo>
                  <a:cubicBezTo>
                    <a:pt x="241" y="169"/>
                    <a:pt x="233" y="194"/>
                    <a:pt x="227" y="194"/>
                  </a:cubicBezTo>
                  <a:close/>
                </a:path>
              </a:pathLst>
            </a:custGeom>
            <a:solidFill>
              <a:srgbClr val="E5E1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0">
              <a:extLst>
                <a:ext uri="{FF2B5EF4-FFF2-40B4-BE49-F238E27FC236}">
                  <a16:creationId xmlns:a16="http://schemas.microsoft.com/office/drawing/2014/main" id="{5849D18F-42AB-4436-A00E-CCB48479C93C}"/>
                </a:ext>
              </a:extLst>
            </p:cNvPr>
            <p:cNvSpPr>
              <a:spLocks/>
            </p:cNvSpPr>
            <p:nvPr/>
          </p:nvSpPr>
          <p:spPr bwMode="auto">
            <a:xfrm>
              <a:off x="6450013" y="4960938"/>
              <a:ext cx="333375" cy="750888"/>
            </a:xfrm>
            <a:custGeom>
              <a:avLst/>
              <a:gdLst>
                <a:gd name="T0" fmla="*/ 66 w 66"/>
                <a:gd name="T1" fmla="*/ 131 h 131"/>
                <a:gd name="T2" fmla="*/ 23 w 66"/>
                <a:gd name="T3" fmla="*/ 68 h 131"/>
                <a:gd name="T4" fmla="*/ 4 w 66"/>
                <a:gd name="T5" fmla="*/ 25 h 131"/>
                <a:gd name="T6" fmla="*/ 57 w 66"/>
                <a:gd name="T7" fmla="*/ 16 h 131"/>
                <a:gd name="T8" fmla="*/ 64 w 66"/>
                <a:gd name="T9" fmla="*/ 99 h 131"/>
                <a:gd name="T10" fmla="*/ 66 w 66"/>
                <a:gd name="T11" fmla="*/ 131 h 131"/>
              </a:gdLst>
              <a:ahLst/>
              <a:cxnLst>
                <a:cxn ang="0">
                  <a:pos x="T0" y="T1"/>
                </a:cxn>
                <a:cxn ang="0">
                  <a:pos x="T2" y="T3"/>
                </a:cxn>
                <a:cxn ang="0">
                  <a:pos x="T4" y="T5"/>
                </a:cxn>
                <a:cxn ang="0">
                  <a:pos x="T6" y="T7"/>
                </a:cxn>
                <a:cxn ang="0">
                  <a:pos x="T8" y="T9"/>
                </a:cxn>
                <a:cxn ang="0">
                  <a:pos x="T10" y="T11"/>
                </a:cxn>
              </a:cxnLst>
              <a:rect l="0" t="0" r="r" b="b"/>
              <a:pathLst>
                <a:path w="66" h="131">
                  <a:moveTo>
                    <a:pt x="66" y="131"/>
                  </a:moveTo>
                  <a:cubicBezTo>
                    <a:pt x="61" y="107"/>
                    <a:pt x="42" y="83"/>
                    <a:pt x="23" y="68"/>
                  </a:cubicBezTo>
                  <a:cubicBezTo>
                    <a:pt x="0" y="51"/>
                    <a:pt x="4" y="25"/>
                    <a:pt x="4" y="25"/>
                  </a:cubicBezTo>
                  <a:cubicBezTo>
                    <a:pt x="21" y="0"/>
                    <a:pt x="41" y="5"/>
                    <a:pt x="57" y="16"/>
                  </a:cubicBezTo>
                  <a:cubicBezTo>
                    <a:pt x="59" y="43"/>
                    <a:pt x="62" y="74"/>
                    <a:pt x="64" y="99"/>
                  </a:cubicBezTo>
                  <a:cubicBezTo>
                    <a:pt x="65" y="111"/>
                    <a:pt x="65" y="123"/>
                    <a:pt x="66" y="131"/>
                  </a:cubicBezTo>
                  <a:close/>
                </a:path>
              </a:pathLst>
            </a:custGeom>
            <a:gradFill flip="none" rotWithShape="1">
              <a:gsLst>
                <a:gs pos="100000">
                  <a:srgbClr val="7289F2">
                    <a:alpha val="0"/>
                  </a:srgbClr>
                </a:gs>
                <a:gs pos="26000">
                  <a:srgbClr val="7289F2">
                    <a:alpha val="54000"/>
                  </a:srgbClr>
                </a:gs>
              </a:gsLst>
              <a:lin ang="7800000" scaled="0"/>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Shape 21">
              <a:extLst>
                <a:ext uri="{FF2B5EF4-FFF2-40B4-BE49-F238E27FC236}">
                  <a16:creationId xmlns:a16="http://schemas.microsoft.com/office/drawing/2014/main" id="{D1D8B039-3C85-439E-9B4E-0AE3B0227E37}"/>
                </a:ext>
              </a:extLst>
            </p:cNvPr>
            <p:cNvSpPr/>
            <p:nvPr/>
          </p:nvSpPr>
          <p:spPr>
            <a:xfrm rot="20364014">
              <a:off x="6924390" y="4583236"/>
              <a:ext cx="305126" cy="641501"/>
            </a:xfrm>
            <a:custGeom>
              <a:avLst/>
              <a:gdLst>
                <a:gd name="connsiteX0" fmla="*/ 793 w 453638"/>
                <a:gd name="connsiteY0" fmla="*/ 10752 h 953733"/>
                <a:gd name="connsiteX1" fmla="*/ 331787 w 453638"/>
                <a:gd name="connsiteY1" fmla="*/ 467952 h 953733"/>
                <a:gd name="connsiteX2" fmla="*/ 436562 w 453638"/>
                <a:gd name="connsiteY2" fmla="*/ 944202 h 953733"/>
                <a:gd name="connsiteX3" fmla="*/ 793 w 453638"/>
                <a:gd name="connsiteY3" fmla="*/ 10752 h 953733"/>
              </a:gdLst>
              <a:ahLst/>
              <a:cxnLst>
                <a:cxn ang="0">
                  <a:pos x="connsiteX0" y="connsiteY0"/>
                </a:cxn>
                <a:cxn ang="0">
                  <a:pos x="connsiteX1" y="connsiteY1"/>
                </a:cxn>
                <a:cxn ang="0">
                  <a:pos x="connsiteX2" y="connsiteY2"/>
                </a:cxn>
                <a:cxn ang="0">
                  <a:pos x="connsiteX3" y="connsiteY3"/>
                </a:cxn>
              </a:cxnLst>
              <a:rect l="l" t="t" r="r" b="b"/>
              <a:pathLst>
                <a:path w="453638" h="953733">
                  <a:moveTo>
                    <a:pt x="793" y="10752"/>
                  </a:moveTo>
                  <a:cubicBezTo>
                    <a:pt x="-16669" y="-68623"/>
                    <a:pt x="259159" y="312377"/>
                    <a:pt x="331787" y="467952"/>
                  </a:cubicBezTo>
                  <a:cubicBezTo>
                    <a:pt x="404415" y="623527"/>
                    <a:pt x="490934" y="1020005"/>
                    <a:pt x="436562" y="944202"/>
                  </a:cubicBezTo>
                  <a:cubicBezTo>
                    <a:pt x="382190" y="868399"/>
                    <a:pt x="18255" y="90127"/>
                    <a:pt x="793" y="10752"/>
                  </a:cubicBezTo>
                  <a:close/>
                </a:path>
              </a:pathLst>
            </a:custGeom>
            <a:gradFill flip="none" rotWithShape="1">
              <a:gsLst>
                <a:gs pos="100000">
                  <a:srgbClr val="7289F2">
                    <a:alpha val="0"/>
                  </a:srgbClr>
                </a:gs>
                <a:gs pos="26000">
                  <a:srgbClr val="7289F2">
                    <a:alpha val="54000"/>
                  </a:srgbClr>
                </a:gs>
              </a:gsLst>
              <a:lin ang="7800000" scaled="0"/>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1" name="Freeform 11">
              <a:extLst>
                <a:ext uri="{FF2B5EF4-FFF2-40B4-BE49-F238E27FC236}">
                  <a16:creationId xmlns:a16="http://schemas.microsoft.com/office/drawing/2014/main" id="{9C6C3AB2-1F41-4F9F-A40A-34C6948A2EEB}"/>
                </a:ext>
              </a:extLst>
            </p:cNvPr>
            <p:cNvSpPr>
              <a:spLocks/>
            </p:cNvSpPr>
            <p:nvPr/>
          </p:nvSpPr>
          <p:spPr bwMode="auto">
            <a:xfrm>
              <a:off x="6065838" y="4297363"/>
              <a:ext cx="1435100" cy="1168400"/>
            </a:xfrm>
            <a:custGeom>
              <a:avLst/>
              <a:gdLst>
                <a:gd name="T0" fmla="*/ 11 w 250"/>
                <a:gd name="T1" fmla="*/ 49 h 204"/>
                <a:gd name="T2" fmla="*/ 103 w 250"/>
                <a:gd name="T3" fmla="*/ 27 h 204"/>
                <a:gd name="T4" fmla="*/ 211 w 250"/>
                <a:gd name="T5" fmla="*/ 135 h 204"/>
                <a:gd name="T6" fmla="*/ 179 w 250"/>
                <a:gd name="T7" fmla="*/ 196 h 204"/>
                <a:gd name="T8" fmla="*/ 10 w 250"/>
                <a:gd name="T9" fmla="*/ 49 h 204"/>
                <a:gd name="T10" fmla="*/ 11 w 250"/>
                <a:gd name="T11" fmla="*/ 49 h 204"/>
              </a:gdLst>
              <a:ahLst/>
              <a:cxnLst>
                <a:cxn ang="0">
                  <a:pos x="T0" y="T1"/>
                </a:cxn>
                <a:cxn ang="0">
                  <a:pos x="T2" y="T3"/>
                </a:cxn>
                <a:cxn ang="0">
                  <a:pos x="T4" y="T5"/>
                </a:cxn>
                <a:cxn ang="0">
                  <a:pos x="T6" y="T7"/>
                </a:cxn>
                <a:cxn ang="0">
                  <a:pos x="T8" y="T9"/>
                </a:cxn>
                <a:cxn ang="0">
                  <a:pos x="T10" y="T11"/>
                </a:cxn>
              </a:cxnLst>
              <a:rect l="0" t="0" r="r" b="b"/>
              <a:pathLst>
                <a:path w="250" h="204">
                  <a:moveTo>
                    <a:pt x="11" y="49"/>
                  </a:moveTo>
                  <a:cubicBezTo>
                    <a:pt x="25" y="11"/>
                    <a:pt x="73" y="0"/>
                    <a:pt x="103" y="27"/>
                  </a:cubicBezTo>
                  <a:cubicBezTo>
                    <a:pt x="136" y="58"/>
                    <a:pt x="187" y="105"/>
                    <a:pt x="211" y="135"/>
                  </a:cubicBezTo>
                  <a:cubicBezTo>
                    <a:pt x="250" y="180"/>
                    <a:pt x="199" y="204"/>
                    <a:pt x="179" y="196"/>
                  </a:cubicBezTo>
                  <a:cubicBezTo>
                    <a:pt x="117" y="171"/>
                    <a:pt x="0" y="117"/>
                    <a:pt x="10" y="49"/>
                  </a:cubicBezTo>
                  <a:cubicBezTo>
                    <a:pt x="10" y="49"/>
                    <a:pt x="11" y="49"/>
                    <a:pt x="11" y="49"/>
                  </a:cubicBezTo>
                  <a:close/>
                </a:path>
              </a:pathLst>
            </a:custGeom>
            <a:solidFill>
              <a:srgbClr val="E5E1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2">
              <a:extLst>
                <a:ext uri="{FF2B5EF4-FFF2-40B4-BE49-F238E27FC236}">
                  <a16:creationId xmlns:a16="http://schemas.microsoft.com/office/drawing/2014/main" id="{53D9C9B8-8241-4452-98F4-6F4696E0228C}"/>
                </a:ext>
              </a:extLst>
            </p:cNvPr>
            <p:cNvSpPr>
              <a:spLocks/>
            </p:cNvSpPr>
            <p:nvPr/>
          </p:nvSpPr>
          <p:spPr bwMode="auto">
            <a:xfrm>
              <a:off x="5664200" y="3127375"/>
              <a:ext cx="809625" cy="1135063"/>
            </a:xfrm>
            <a:custGeom>
              <a:avLst/>
              <a:gdLst>
                <a:gd name="T0" fmla="*/ 138 w 141"/>
                <a:gd name="T1" fmla="*/ 142 h 198"/>
                <a:gd name="T2" fmla="*/ 136 w 141"/>
                <a:gd name="T3" fmla="*/ 150 h 198"/>
                <a:gd name="T4" fmla="*/ 134 w 141"/>
                <a:gd name="T5" fmla="*/ 170 h 198"/>
                <a:gd name="T6" fmla="*/ 128 w 141"/>
                <a:gd name="T7" fmla="*/ 178 h 198"/>
                <a:gd name="T8" fmla="*/ 125 w 141"/>
                <a:gd name="T9" fmla="*/ 179 h 198"/>
                <a:gd name="T10" fmla="*/ 115 w 141"/>
                <a:gd name="T11" fmla="*/ 178 h 198"/>
                <a:gd name="T12" fmla="*/ 109 w 141"/>
                <a:gd name="T13" fmla="*/ 198 h 198"/>
                <a:gd name="T14" fmla="*/ 108 w 141"/>
                <a:gd name="T15" fmla="*/ 197 h 198"/>
                <a:gd name="T16" fmla="*/ 71 w 141"/>
                <a:gd name="T17" fmla="*/ 188 h 198"/>
                <a:gd name="T18" fmla="*/ 71 w 141"/>
                <a:gd name="T19" fmla="*/ 188 h 198"/>
                <a:gd name="T20" fmla="*/ 70 w 141"/>
                <a:gd name="T21" fmla="*/ 188 h 198"/>
                <a:gd name="T22" fmla="*/ 25 w 141"/>
                <a:gd name="T23" fmla="*/ 186 h 198"/>
                <a:gd name="T24" fmla="*/ 26 w 141"/>
                <a:gd name="T25" fmla="*/ 157 h 198"/>
                <a:gd name="T26" fmla="*/ 19 w 141"/>
                <a:gd name="T27" fmla="*/ 125 h 198"/>
                <a:gd name="T28" fmla="*/ 9 w 141"/>
                <a:gd name="T29" fmla="*/ 99 h 198"/>
                <a:gd name="T30" fmla="*/ 0 w 141"/>
                <a:gd name="T31" fmla="*/ 72 h 198"/>
                <a:gd name="T32" fmla="*/ 34 w 141"/>
                <a:gd name="T33" fmla="*/ 18 h 198"/>
                <a:gd name="T34" fmla="*/ 57 w 141"/>
                <a:gd name="T35" fmla="*/ 7 h 198"/>
                <a:gd name="T36" fmla="*/ 76 w 141"/>
                <a:gd name="T37" fmla="*/ 0 h 198"/>
                <a:gd name="T38" fmla="*/ 92 w 141"/>
                <a:gd name="T39" fmla="*/ 9 h 198"/>
                <a:gd name="T40" fmla="*/ 112 w 141"/>
                <a:gd name="T41" fmla="*/ 11 h 198"/>
                <a:gd name="T42" fmla="*/ 124 w 141"/>
                <a:gd name="T43" fmla="*/ 24 h 198"/>
                <a:gd name="T44" fmla="*/ 134 w 141"/>
                <a:gd name="T45" fmla="*/ 37 h 198"/>
                <a:gd name="T46" fmla="*/ 134 w 141"/>
                <a:gd name="T47" fmla="*/ 38 h 198"/>
                <a:gd name="T48" fmla="*/ 134 w 141"/>
                <a:gd name="T49" fmla="*/ 38 h 198"/>
                <a:gd name="T50" fmla="*/ 133 w 141"/>
                <a:gd name="T51" fmla="*/ 39 h 198"/>
                <a:gd name="T52" fmla="*/ 132 w 141"/>
                <a:gd name="T53" fmla="*/ 41 h 198"/>
                <a:gd name="T54" fmla="*/ 131 w 141"/>
                <a:gd name="T55" fmla="*/ 42 h 198"/>
                <a:gd name="T56" fmla="*/ 130 w 141"/>
                <a:gd name="T57" fmla="*/ 42 h 198"/>
                <a:gd name="T58" fmla="*/ 129 w 141"/>
                <a:gd name="T59" fmla="*/ 43 h 198"/>
                <a:gd name="T60" fmla="*/ 129 w 141"/>
                <a:gd name="T61" fmla="*/ 43 h 198"/>
                <a:gd name="T62" fmla="*/ 138 w 141"/>
                <a:gd name="T63" fmla="*/ 90 h 198"/>
                <a:gd name="T64" fmla="*/ 139 w 141"/>
                <a:gd name="T65" fmla="*/ 113 h 198"/>
                <a:gd name="T66" fmla="*/ 138 w 141"/>
                <a:gd name="T67" fmla="*/ 14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 h="198">
                  <a:moveTo>
                    <a:pt x="138" y="142"/>
                  </a:moveTo>
                  <a:cubicBezTo>
                    <a:pt x="138" y="145"/>
                    <a:pt x="137" y="147"/>
                    <a:pt x="136" y="150"/>
                  </a:cubicBezTo>
                  <a:cubicBezTo>
                    <a:pt x="136" y="151"/>
                    <a:pt x="135" y="166"/>
                    <a:pt x="134" y="170"/>
                  </a:cubicBezTo>
                  <a:cubicBezTo>
                    <a:pt x="134" y="172"/>
                    <a:pt x="132" y="177"/>
                    <a:pt x="128" y="178"/>
                  </a:cubicBezTo>
                  <a:cubicBezTo>
                    <a:pt x="127" y="179"/>
                    <a:pt x="126" y="179"/>
                    <a:pt x="125" y="179"/>
                  </a:cubicBezTo>
                  <a:cubicBezTo>
                    <a:pt x="118" y="178"/>
                    <a:pt x="115" y="178"/>
                    <a:pt x="115" y="178"/>
                  </a:cubicBezTo>
                  <a:cubicBezTo>
                    <a:pt x="115" y="178"/>
                    <a:pt x="108" y="189"/>
                    <a:pt x="109" y="198"/>
                  </a:cubicBezTo>
                  <a:cubicBezTo>
                    <a:pt x="109" y="198"/>
                    <a:pt x="109" y="197"/>
                    <a:pt x="108" y="197"/>
                  </a:cubicBezTo>
                  <a:cubicBezTo>
                    <a:pt x="106" y="195"/>
                    <a:pt x="91" y="191"/>
                    <a:pt x="71" y="188"/>
                  </a:cubicBezTo>
                  <a:cubicBezTo>
                    <a:pt x="71" y="188"/>
                    <a:pt x="71" y="188"/>
                    <a:pt x="71" y="188"/>
                  </a:cubicBezTo>
                  <a:cubicBezTo>
                    <a:pt x="71" y="188"/>
                    <a:pt x="70" y="188"/>
                    <a:pt x="70" y="188"/>
                  </a:cubicBezTo>
                  <a:cubicBezTo>
                    <a:pt x="57" y="186"/>
                    <a:pt x="41" y="185"/>
                    <a:pt x="25" y="186"/>
                  </a:cubicBezTo>
                  <a:cubicBezTo>
                    <a:pt x="25" y="186"/>
                    <a:pt x="27" y="173"/>
                    <a:pt x="26" y="157"/>
                  </a:cubicBezTo>
                  <a:cubicBezTo>
                    <a:pt x="25" y="147"/>
                    <a:pt x="23" y="135"/>
                    <a:pt x="19" y="125"/>
                  </a:cubicBezTo>
                  <a:cubicBezTo>
                    <a:pt x="15" y="116"/>
                    <a:pt x="12" y="107"/>
                    <a:pt x="9" y="99"/>
                  </a:cubicBezTo>
                  <a:cubicBezTo>
                    <a:pt x="4" y="84"/>
                    <a:pt x="0" y="73"/>
                    <a:pt x="0" y="72"/>
                  </a:cubicBezTo>
                  <a:cubicBezTo>
                    <a:pt x="0" y="71"/>
                    <a:pt x="4" y="33"/>
                    <a:pt x="34" y="18"/>
                  </a:cubicBezTo>
                  <a:cubicBezTo>
                    <a:pt x="34" y="18"/>
                    <a:pt x="49" y="6"/>
                    <a:pt x="57" y="7"/>
                  </a:cubicBezTo>
                  <a:cubicBezTo>
                    <a:pt x="66" y="8"/>
                    <a:pt x="72" y="0"/>
                    <a:pt x="76" y="0"/>
                  </a:cubicBezTo>
                  <a:cubicBezTo>
                    <a:pt x="80" y="0"/>
                    <a:pt x="85" y="7"/>
                    <a:pt x="92" y="9"/>
                  </a:cubicBezTo>
                  <a:cubicBezTo>
                    <a:pt x="100" y="12"/>
                    <a:pt x="107" y="7"/>
                    <a:pt x="112" y="11"/>
                  </a:cubicBezTo>
                  <a:cubicBezTo>
                    <a:pt x="116" y="14"/>
                    <a:pt x="121" y="24"/>
                    <a:pt x="124" y="24"/>
                  </a:cubicBezTo>
                  <a:cubicBezTo>
                    <a:pt x="127" y="24"/>
                    <a:pt x="136" y="31"/>
                    <a:pt x="134" y="37"/>
                  </a:cubicBezTo>
                  <a:cubicBezTo>
                    <a:pt x="134" y="38"/>
                    <a:pt x="134" y="38"/>
                    <a:pt x="134" y="38"/>
                  </a:cubicBezTo>
                  <a:cubicBezTo>
                    <a:pt x="134" y="38"/>
                    <a:pt x="134" y="38"/>
                    <a:pt x="134" y="38"/>
                  </a:cubicBezTo>
                  <a:cubicBezTo>
                    <a:pt x="134" y="39"/>
                    <a:pt x="134" y="39"/>
                    <a:pt x="133" y="39"/>
                  </a:cubicBezTo>
                  <a:cubicBezTo>
                    <a:pt x="133" y="40"/>
                    <a:pt x="133" y="40"/>
                    <a:pt x="132" y="41"/>
                  </a:cubicBezTo>
                  <a:cubicBezTo>
                    <a:pt x="132" y="41"/>
                    <a:pt x="131" y="41"/>
                    <a:pt x="131" y="42"/>
                  </a:cubicBezTo>
                  <a:cubicBezTo>
                    <a:pt x="131" y="42"/>
                    <a:pt x="130" y="42"/>
                    <a:pt x="130" y="42"/>
                  </a:cubicBezTo>
                  <a:cubicBezTo>
                    <a:pt x="130" y="43"/>
                    <a:pt x="130" y="43"/>
                    <a:pt x="129" y="43"/>
                  </a:cubicBezTo>
                  <a:cubicBezTo>
                    <a:pt x="129" y="43"/>
                    <a:pt x="129" y="43"/>
                    <a:pt x="129" y="43"/>
                  </a:cubicBezTo>
                  <a:cubicBezTo>
                    <a:pt x="129" y="43"/>
                    <a:pt x="139" y="82"/>
                    <a:pt x="138" y="90"/>
                  </a:cubicBezTo>
                  <a:cubicBezTo>
                    <a:pt x="138" y="97"/>
                    <a:pt x="137" y="106"/>
                    <a:pt x="139" y="113"/>
                  </a:cubicBezTo>
                  <a:cubicBezTo>
                    <a:pt x="141" y="118"/>
                    <a:pt x="141" y="129"/>
                    <a:pt x="138" y="142"/>
                  </a:cubicBezTo>
                  <a:close/>
                </a:path>
              </a:pathLst>
            </a:custGeom>
            <a:solidFill>
              <a:srgbClr val="F8F3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3">
              <a:extLst>
                <a:ext uri="{FF2B5EF4-FFF2-40B4-BE49-F238E27FC236}">
                  <a16:creationId xmlns:a16="http://schemas.microsoft.com/office/drawing/2014/main" id="{104737AB-59A7-4247-842C-6F97799DA28F}"/>
                </a:ext>
              </a:extLst>
            </p:cNvPr>
            <p:cNvSpPr>
              <a:spLocks/>
            </p:cNvSpPr>
            <p:nvPr/>
          </p:nvSpPr>
          <p:spPr bwMode="auto">
            <a:xfrm>
              <a:off x="5664200" y="3127375"/>
              <a:ext cx="781050" cy="900113"/>
            </a:xfrm>
            <a:custGeom>
              <a:avLst/>
              <a:gdLst>
                <a:gd name="T0" fmla="*/ 134 w 136"/>
                <a:gd name="T1" fmla="*/ 37 h 157"/>
                <a:gd name="T2" fmla="*/ 134 w 136"/>
                <a:gd name="T3" fmla="*/ 38 h 157"/>
                <a:gd name="T4" fmla="*/ 134 w 136"/>
                <a:gd name="T5" fmla="*/ 38 h 157"/>
                <a:gd name="T6" fmla="*/ 133 w 136"/>
                <a:gd name="T7" fmla="*/ 39 h 157"/>
                <a:gd name="T8" fmla="*/ 132 w 136"/>
                <a:gd name="T9" fmla="*/ 41 h 157"/>
                <a:gd name="T10" fmla="*/ 129 w 136"/>
                <a:gd name="T11" fmla="*/ 43 h 157"/>
                <a:gd name="T12" fmla="*/ 129 w 136"/>
                <a:gd name="T13" fmla="*/ 43 h 157"/>
                <a:gd name="T14" fmla="*/ 127 w 136"/>
                <a:gd name="T15" fmla="*/ 79 h 157"/>
                <a:gd name="T16" fmla="*/ 97 w 136"/>
                <a:gd name="T17" fmla="*/ 111 h 157"/>
                <a:gd name="T18" fmla="*/ 85 w 136"/>
                <a:gd name="T19" fmla="*/ 140 h 157"/>
                <a:gd name="T20" fmla="*/ 85 w 136"/>
                <a:gd name="T21" fmla="*/ 157 h 157"/>
                <a:gd name="T22" fmla="*/ 26 w 136"/>
                <a:gd name="T23" fmla="*/ 157 h 157"/>
                <a:gd name="T24" fmla="*/ 19 w 136"/>
                <a:gd name="T25" fmla="*/ 125 h 157"/>
                <a:gd name="T26" fmla="*/ 9 w 136"/>
                <a:gd name="T27" fmla="*/ 99 h 157"/>
                <a:gd name="T28" fmla="*/ 0 w 136"/>
                <a:gd name="T29" fmla="*/ 72 h 157"/>
                <a:gd name="T30" fmla="*/ 34 w 136"/>
                <a:gd name="T31" fmla="*/ 18 h 157"/>
                <a:gd name="T32" fmla="*/ 57 w 136"/>
                <a:gd name="T33" fmla="*/ 7 h 157"/>
                <a:gd name="T34" fmla="*/ 76 w 136"/>
                <a:gd name="T35" fmla="*/ 0 h 157"/>
                <a:gd name="T36" fmla="*/ 92 w 136"/>
                <a:gd name="T37" fmla="*/ 9 h 157"/>
                <a:gd name="T38" fmla="*/ 112 w 136"/>
                <a:gd name="T39" fmla="*/ 11 h 157"/>
                <a:gd name="T40" fmla="*/ 124 w 136"/>
                <a:gd name="T41" fmla="*/ 24 h 157"/>
                <a:gd name="T42" fmla="*/ 134 w 136"/>
                <a:gd name="T43" fmla="*/ 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157">
                  <a:moveTo>
                    <a:pt x="134" y="37"/>
                  </a:moveTo>
                  <a:cubicBezTo>
                    <a:pt x="134" y="38"/>
                    <a:pt x="134" y="38"/>
                    <a:pt x="134" y="38"/>
                  </a:cubicBezTo>
                  <a:cubicBezTo>
                    <a:pt x="134" y="38"/>
                    <a:pt x="134" y="38"/>
                    <a:pt x="134" y="38"/>
                  </a:cubicBezTo>
                  <a:cubicBezTo>
                    <a:pt x="134" y="39"/>
                    <a:pt x="134" y="39"/>
                    <a:pt x="133" y="39"/>
                  </a:cubicBezTo>
                  <a:cubicBezTo>
                    <a:pt x="133" y="40"/>
                    <a:pt x="133" y="40"/>
                    <a:pt x="132" y="41"/>
                  </a:cubicBezTo>
                  <a:cubicBezTo>
                    <a:pt x="131" y="42"/>
                    <a:pt x="130" y="43"/>
                    <a:pt x="129" y="43"/>
                  </a:cubicBezTo>
                  <a:cubicBezTo>
                    <a:pt x="129" y="43"/>
                    <a:pt x="129" y="43"/>
                    <a:pt x="129" y="43"/>
                  </a:cubicBezTo>
                  <a:cubicBezTo>
                    <a:pt x="127" y="79"/>
                    <a:pt x="127" y="79"/>
                    <a:pt x="127" y="79"/>
                  </a:cubicBezTo>
                  <a:cubicBezTo>
                    <a:pt x="97" y="111"/>
                    <a:pt x="97" y="111"/>
                    <a:pt x="97" y="111"/>
                  </a:cubicBezTo>
                  <a:cubicBezTo>
                    <a:pt x="89" y="119"/>
                    <a:pt x="85" y="129"/>
                    <a:pt x="85" y="140"/>
                  </a:cubicBezTo>
                  <a:cubicBezTo>
                    <a:pt x="85" y="157"/>
                    <a:pt x="85" y="157"/>
                    <a:pt x="85" y="157"/>
                  </a:cubicBezTo>
                  <a:cubicBezTo>
                    <a:pt x="26" y="157"/>
                    <a:pt x="26" y="157"/>
                    <a:pt x="26" y="157"/>
                  </a:cubicBezTo>
                  <a:cubicBezTo>
                    <a:pt x="25" y="147"/>
                    <a:pt x="23" y="135"/>
                    <a:pt x="19" y="125"/>
                  </a:cubicBezTo>
                  <a:cubicBezTo>
                    <a:pt x="15" y="116"/>
                    <a:pt x="12" y="107"/>
                    <a:pt x="9" y="99"/>
                  </a:cubicBezTo>
                  <a:cubicBezTo>
                    <a:pt x="4" y="84"/>
                    <a:pt x="0" y="73"/>
                    <a:pt x="0" y="72"/>
                  </a:cubicBezTo>
                  <a:cubicBezTo>
                    <a:pt x="0" y="71"/>
                    <a:pt x="4" y="33"/>
                    <a:pt x="34" y="18"/>
                  </a:cubicBezTo>
                  <a:cubicBezTo>
                    <a:pt x="34" y="18"/>
                    <a:pt x="49" y="6"/>
                    <a:pt x="57" y="7"/>
                  </a:cubicBezTo>
                  <a:cubicBezTo>
                    <a:pt x="66" y="8"/>
                    <a:pt x="72" y="0"/>
                    <a:pt x="76" y="0"/>
                  </a:cubicBezTo>
                  <a:cubicBezTo>
                    <a:pt x="80" y="0"/>
                    <a:pt x="85" y="7"/>
                    <a:pt x="92" y="9"/>
                  </a:cubicBezTo>
                  <a:cubicBezTo>
                    <a:pt x="100" y="12"/>
                    <a:pt x="107" y="7"/>
                    <a:pt x="112" y="11"/>
                  </a:cubicBezTo>
                  <a:cubicBezTo>
                    <a:pt x="116" y="14"/>
                    <a:pt x="121" y="24"/>
                    <a:pt x="124" y="24"/>
                  </a:cubicBezTo>
                  <a:cubicBezTo>
                    <a:pt x="127" y="24"/>
                    <a:pt x="136" y="31"/>
                    <a:pt x="134" y="37"/>
                  </a:cubicBezTo>
                  <a:close/>
                </a:path>
              </a:pathLst>
            </a:custGeom>
            <a:gradFill>
              <a:gsLst>
                <a:gs pos="75000">
                  <a:srgbClr val="F7BDBB"/>
                </a:gs>
                <a:gs pos="100000">
                  <a:srgbClr val="F7BDBB">
                    <a:alpha val="0"/>
                  </a:srgbClr>
                </a:gs>
              </a:gsLst>
              <a:lin ang="54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4">
              <a:extLst>
                <a:ext uri="{FF2B5EF4-FFF2-40B4-BE49-F238E27FC236}">
                  <a16:creationId xmlns:a16="http://schemas.microsoft.com/office/drawing/2014/main" id="{A4EE508E-C139-4549-AD46-4E5E82F754BB}"/>
                </a:ext>
              </a:extLst>
            </p:cNvPr>
            <p:cNvSpPr>
              <a:spLocks/>
            </p:cNvSpPr>
            <p:nvPr/>
          </p:nvSpPr>
          <p:spPr bwMode="auto">
            <a:xfrm>
              <a:off x="5664200" y="3127375"/>
              <a:ext cx="781050" cy="566738"/>
            </a:xfrm>
            <a:custGeom>
              <a:avLst/>
              <a:gdLst>
                <a:gd name="T0" fmla="*/ 134 w 136"/>
                <a:gd name="T1" fmla="*/ 37 h 99"/>
                <a:gd name="T2" fmla="*/ 134 w 136"/>
                <a:gd name="T3" fmla="*/ 38 h 99"/>
                <a:gd name="T4" fmla="*/ 134 w 136"/>
                <a:gd name="T5" fmla="*/ 38 h 99"/>
                <a:gd name="T6" fmla="*/ 133 w 136"/>
                <a:gd name="T7" fmla="*/ 39 h 99"/>
                <a:gd name="T8" fmla="*/ 132 w 136"/>
                <a:gd name="T9" fmla="*/ 41 h 99"/>
                <a:gd name="T10" fmla="*/ 131 w 136"/>
                <a:gd name="T11" fmla="*/ 42 h 99"/>
                <a:gd name="T12" fmla="*/ 130 w 136"/>
                <a:gd name="T13" fmla="*/ 42 h 99"/>
                <a:gd name="T14" fmla="*/ 129 w 136"/>
                <a:gd name="T15" fmla="*/ 43 h 99"/>
                <a:gd name="T16" fmla="*/ 129 w 136"/>
                <a:gd name="T17" fmla="*/ 43 h 99"/>
                <a:gd name="T18" fmla="*/ 72 w 136"/>
                <a:gd name="T19" fmla="*/ 96 h 99"/>
                <a:gd name="T20" fmla="*/ 70 w 136"/>
                <a:gd name="T21" fmla="*/ 99 h 99"/>
                <a:gd name="T22" fmla="*/ 9 w 136"/>
                <a:gd name="T23" fmla="*/ 99 h 99"/>
                <a:gd name="T24" fmla="*/ 0 w 136"/>
                <a:gd name="T25" fmla="*/ 72 h 99"/>
                <a:gd name="T26" fmla="*/ 34 w 136"/>
                <a:gd name="T27" fmla="*/ 18 h 99"/>
                <a:gd name="T28" fmla="*/ 57 w 136"/>
                <a:gd name="T29" fmla="*/ 7 h 99"/>
                <a:gd name="T30" fmla="*/ 76 w 136"/>
                <a:gd name="T31" fmla="*/ 0 h 99"/>
                <a:gd name="T32" fmla="*/ 92 w 136"/>
                <a:gd name="T33" fmla="*/ 9 h 99"/>
                <a:gd name="T34" fmla="*/ 112 w 136"/>
                <a:gd name="T35" fmla="*/ 11 h 99"/>
                <a:gd name="T36" fmla="*/ 124 w 136"/>
                <a:gd name="T37" fmla="*/ 24 h 99"/>
                <a:gd name="T38" fmla="*/ 134 w 136"/>
                <a:gd name="T39" fmla="*/ 3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6" h="99">
                  <a:moveTo>
                    <a:pt x="134" y="37"/>
                  </a:moveTo>
                  <a:cubicBezTo>
                    <a:pt x="134" y="38"/>
                    <a:pt x="134" y="38"/>
                    <a:pt x="134" y="38"/>
                  </a:cubicBezTo>
                  <a:cubicBezTo>
                    <a:pt x="134" y="38"/>
                    <a:pt x="134" y="38"/>
                    <a:pt x="134" y="38"/>
                  </a:cubicBezTo>
                  <a:cubicBezTo>
                    <a:pt x="134" y="39"/>
                    <a:pt x="134" y="39"/>
                    <a:pt x="133" y="39"/>
                  </a:cubicBezTo>
                  <a:cubicBezTo>
                    <a:pt x="133" y="40"/>
                    <a:pt x="133" y="40"/>
                    <a:pt x="132" y="41"/>
                  </a:cubicBezTo>
                  <a:cubicBezTo>
                    <a:pt x="132" y="41"/>
                    <a:pt x="131" y="41"/>
                    <a:pt x="131" y="42"/>
                  </a:cubicBezTo>
                  <a:cubicBezTo>
                    <a:pt x="131" y="42"/>
                    <a:pt x="130" y="42"/>
                    <a:pt x="130" y="42"/>
                  </a:cubicBezTo>
                  <a:cubicBezTo>
                    <a:pt x="130" y="43"/>
                    <a:pt x="130" y="43"/>
                    <a:pt x="129" y="43"/>
                  </a:cubicBezTo>
                  <a:cubicBezTo>
                    <a:pt x="129" y="43"/>
                    <a:pt x="129" y="43"/>
                    <a:pt x="129" y="43"/>
                  </a:cubicBezTo>
                  <a:cubicBezTo>
                    <a:pt x="124" y="45"/>
                    <a:pt x="107" y="51"/>
                    <a:pt x="72" y="96"/>
                  </a:cubicBezTo>
                  <a:cubicBezTo>
                    <a:pt x="72" y="97"/>
                    <a:pt x="71" y="98"/>
                    <a:pt x="70" y="99"/>
                  </a:cubicBezTo>
                  <a:cubicBezTo>
                    <a:pt x="9" y="99"/>
                    <a:pt x="9" y="99"/>
                    <a:pt x="9" y="99"/>
                  </a:cubicBezTo>
                  <a:cubicBezTo>
                    <a:pt x="4" y="84"/>
                    <a:pt x="0" y="73"/>
                    <a:pt x="0" y="72"/>
                  </a:cubicBezTo>
                  <a:cubicBezTo>
                    <a:pt x="0" y="71"/>
                    <a:pt x="4" y="33"/>
                    <a:pt x="34" y="18"/>
                  </a:cubicBezTo>
                  <a:cubicBezTo>
                    <a:pt x="34" y="18"/>
                    <a:pt x="49" y="6"/>
                    <a:pt x="57" y="7"/>
                  </a:cubicBezTo>
                  <a:cubicBezTo>
                    <a:pt x="66" y="8"/>
                    <a:pt x="72" y="0"/>
                    <a:pt x="76" y="0"/>
                  </a:cubicBezTo>
                  <a:cubicBezTo>
                    <a:pt x="80" y="0"/>
                    <a:pt x="85" y="7"/>
                    <a:pt x="92" y="9"/>
                  </a:cubicBezTo>
                  <a:cubicBezTo>
                    <a:pt x="100" y="12"/>
                    <a:pt x="107" y="7"/>
                    <a:pt x="112" y="11"/>
                  </a:cubicBezTo>
                  <a:cubicBezTo>
                    <a:pt x="116" y="14"/>
                    <a:pt x="121" y="24"/>
                    <a:pt x="124" y="24"/>
                  </a:cubicBezTo>
                  <a:cubicBezTo>
                    <a:pt x="127" y="24"/>
                    <a:pt x="136" y="31"/>
                    <a:pt x="134" y="37"/>
                  </a:cubicBezTo>
                  <a:close/>
                </a:path>
              </a:pathLst>
            </a:custGeom>
            <a:solidFill>
              <a:srgbClr val="FA9F9C"/>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5">
              <a:extLst>
                <a:ext uri="{FF2B5EF4-FFF2-40B4-BE49-F238E27FC236}">
                  <a16:creationId xmlns:a16="http://schemas.microsoft.com/office/drawing/2014/main" id="{59F122DD-9773-48CA-B36A-41383E8FF7A4}"/>
                </a:ext>
              </a:extLst>
            </p:cNvPr>
            <p:cNvSpPr>
              <a:spLocks/>
            </p:cNvSpPr>
            <p:nvPr/>
          </p:nvSpPr>
          <p:spPr bwMode="auto">
            <a:xfrm>
              <a:off x="6289675" y="3775075"/>
              <a:ext cx="68263" cy="92075"/>
            </a:xfrm>
            <a:custGeom>
              <a:avLst/>
              <a:gdLst>
                <a:gd name="T0" fmla="*/ 0 w 12"/>
                <a:gd name="T1" fmla="*/ 4 h 16"/>
                <a:gd name="T2" fmla="*/ 6 w 12"/>
                <a:gd name="T3" fmla="*/ 8 h 16"/>
                <a:gd name="T4" fmla="*/ 12 w 12"/>
                <a:gd name="T5" fmla="*/ 16 h 16"/>
                <a:gd name="T6" fmla="*/ 0 w 12"/>
                <a:gd name="T7" fmla="*/ 4 h 16"/>
              </a:gdLst>
              <a:ahLst/>
              <a:cxnLst>
                <a:cxn ang="0">
                  <a:pos x="T0" y="T1"/>
                </a:cxn>
                <a:cxn ang="0">
                  <a:pos x="T2" y="T3"/>
                </a:cxn>
                <a:cxn ang="0">
                  <a:pos x="T4" y="T5"/>
                </a:cxn>
                <a:cxn ang="0">
                  <a:pos x="T6" y="T7"/>
                </a:cxn>
              </a:cxnLst>
              <a:rect l="0" t="0" r="r" b="b"/>
              <a:pathLst>
                <a:path w="12" h="16">
                  <a:moveTo>
                    <a:pt x="0" y="4"/>
                  </a:moveTo>
                  <a:cubicBezTo>
                    <a:pt x="0" y="0"/>
                    <a:pt x="4" y="3"/>
                    <a:pt x="6" y="8"/>
                  </a:cubicBezTo>
                  <a:cubicBezTo>
                    <a:pt x="7" y="13"/>
                    <a:pt x="11" y="16"/>
                    <a:pt x="12" y="16"/>
                  </a:cubicBezTo>
                  <a:cubicBezTo>
                    <a:pt x="12" y="16"/>
                    <a:pt x="1" y="14"/>
                    <a:pt x="0" y="4"/>
                  </a:cubicBezTo>
                  <a:close/>
                </a:path>
              </a:pathLst>
            </a:custGeom>
            <a:solidFill>
              <a:srgbClr val="0A00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6">
              <a:extLst>
                <a:ext uri="{FF2B5EF4-FFF2-40B4-BE49-F238E27FC236}">
                  <a16:creationId xmlns:a16="http://schemas.microsoft.com/office/drawing/2014/main" id="{0FEF4D20-2077-46B3-889D-C3694814510E}"/>
                </a:ext>
              </a:extLst>
            </p:cNvPr>
            <p:cNvSpPr>
              <a:spLocks/>
            </p:cNvSpPr>
            <p:nvPr/>
          </p:nvSpPr>
          <p:spPr bwMode="auto">
            <a:xfrm>
              <a:off x="6324600" y="3792538"/>
              <a:ext cx="131763" cy="360363"/>
            </a:xfrm>
            <a:custGeom>
              <a:avLst/>
              <a:gdLst>
                <a:gd name="T0" fmla="*/ 23 w 23"/>
                <a:gd name="T1" fmla="*/ 26 h 63"/>
                <a:gd name="T2" fmla="*/ 21 w 23"/>
                <a:gd name="T3" fmla="*/ 34 h 63"/>
                <a:gd name="T4" fmla="*/ 19 w 23"/>
                <a:gd name="T5" fmla="*/ 54 h 63"/>
                <a:gd name="T6" fmla="*/ 13 w 23"/>
                <a:gd name="T7" fmla="*/ 62 h 63"/>
                <a:gd name="T8" fmla="*/ 10 w 23"/>
                <a:gd name="T9" fmla="*/ 63 h 63"/>
                <a:gd name="T10" fmla="*/ 0 w 23"/>
                <a:gd name="T11" fmla="*/ 62 h 63"/>
                <a:gd name="T12" fmla="*/ 5 w 23"/>
                <a:gd name="T13" fmla="*/ 0 h 63"/>
                <a:gd name="T14" fmla="*/ 13 w 23"/>
                <a:gd name="T15" fmla="*/ 1 h 63"/>
                <a:gd name="T16" fmla="*/ 23 w 23"/>
                <a:gd name="T17" fmla="*/ 2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63">
                  <a:moveTo>
                    <a:pt x="23" y="26"/>
                  </a:moveTo>
                  <a:cubicBezTo>
                    <a:pt x="23" y="29"/>
                    <a:pt x="22" y="31"/>
                    <a:pt x="21" y="34"/>
                  </a:cubicBezTo>
                  <a:cubicBezTo>
                    <a:pt x="21" y="35"/>
                    <a:pt x="20" y="50"/>
                    <a:pt x="19" y="54"/>
                  </a:cubicBezTo>
                  <a:cubicBezTo>
                    <a:pt x="19" y="56"/>
                    <a:pt x="17" y="61"/>
                    <a:pt x="13" y="62"/>
                  </a:cubicBezTo>
                  <a:cubicBezTo>
                    <a:pt x="12" y="63"/>
                    <a:pt x="11" y="63"/>
                    <a:pt x="10" y="63"/>
                  </a:cubicBezTo>
                  <a:cubicBezTo>
                    <a:pt x="3" y="62"/>
                    <a:pt x="0" y="62"/>
                    <a:pt x="0" y="62"/>
                  </a:cubicBezTo>
                  <a:cubicBezTo>
                    <a:pt x="0" y="62"/>
                    <a:pt x="8" y="22"/>
                    <a:pt x="5" y="0"/>
                  </a:cubicBezTo>
                  <a:cubicBezTo>
                    <a:pt x="13" y="1"/>
                    <a:pt x="13" y="1"/>
                    <a:pt x="13" y="1"/>
                  </a:cubicBezTo>
                  <a:cubicBezTo>
                    <a:pt x="13" y="1"/>
                    <a:pt x="17" y="19"/>
                    <a:pt x="23" y="26"/>
                  </a:cubicBezTo>
                  <a:close/>
                </a:path>
              </a:pathLst>
            </a:custGeom>
            <a:solidFill>
              <a:srgbClr val="FA9F9C"/>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7">
              <a:extLst>
                <a:ext uri="{FF2B5EF4-FFF2-40B4-BE49-F238E27FC236}">
                  <a16:creationId xmlns:a16="http://schemas.microsoft.com/office/drawing/2014/main" id="{3E67FC6E-679C-4B7D-9F05-FF6856EDEB60}"/>
                </a:ext>
              </a:extLst>
            </p:cNvPr>
            <p:cNvSpPr>
              <a:spLocks/>
            </p:cNvSpPr>
            <p:nvPr/>
          </p:nvSpPr>
          <p:spPr bwMode="auto">
            <a:xfrm>
              <a:off x="6324600" y="4010025"/>
              <a:ext cx="74613" cy="142875"/>
            </a:xfrm>
            <a:custGeom>
              <a:avLst/>
              <a:gdLst>
                <a:gd name="T0" fmla="*/ 13 w 13"/>
                <a:gd name="T1" fmla="*/ 24 h 25"/>
                <a:gd name="T2" fmla="*/ 10 w 13"/>
                <a:gd name="T3" fmla="*/ 25 h 25"/>
                <a:gd name="T4" fmla="*/ 0 w 13"/>
                <a:gd name="T5" fmla="*/ 24 h 25"/>
                <a:gd name="T6" fmla="*/ 4 w 13"/>
                <a:gd name="T7" fmla="*/ 0 h 25"/>
                <a:gd name="T8" fmla="*/ 13 w 13"/>
                <a:gd name="T9" fmla="*/ 24 h 25"/>
              </a:gdLst>
              <a:ahLst/>
              <a:cxnLst>
                <a:cxn ang="0">
                  <a:pos x="T0" y="T1"/>
                </a:cxn>
                <a:cxn ang="0">
                  <a:pos x="T2" y="T3"/>
                </a:cxn>
                <a:cxn ang="0">
                  <a:pos x="T4" y="T5"/>
                </a:cxn>
                <a:cxn ang="0">
                  <a:pos x="T6" y="T7"/>
                </a:cxn>
                <a:cxn ang="0">
                  <a:pos x="T8" y="T9"/>
                </a:cxn>
              </a:cxnLst>
              <a:rect l="0" t="0" r="r" b="b"/>
              <a:pathLst>
                <a:path w="13" h="25">
                  <a:moveTo>
                    <a:pt x="13" y="24"/>
                  </a:moveTo>
                  <a:cubicBezTo>
                    <a:pt x="12" y="25"/>
                    <a:pt x="11" y="25"/>
                    <a:pt x="10" y="25"/>
                  </a:cubicBezTo>
                  <a:cubicBezTo>
                    <a:pt x="3" y="24"/>
                    <a:pt x="0" y="24"/>
                    <a:pt x="0" y="24"/>
                  </a:cubicBezTo>
                  <a:cubicBezTo>
                    <a:pt x="4" y="0"/>
                    <a:pt x="4" y="0"/>
                    <a:pt x="4" y="0"/>
                  </a:cubicBezTo>
                  <a:cubicBezTo>
                    <a:pt x="4" y="9"/>
                    <a:pt x="9" y="18"/>
                    <a:pt x="13" y="24"/>
                  </a:cubicBezTo>
                  <a:close/>
                </a:path>
              </a:pathLst>
            </a:custGeom>
            <a:gradFill>
              <a:gsLst>
                <a:gs pos="0">
                  <a:srgbClr val="4BC3E2">
                    <a:alpha val="63000"/>
                  </a:srgbClr>
                </a:gs>
                <a:gs pos="51000">
                  <a:srgbClr val="4BC3E2">
                    <a:alpha val="0"/>
                  </a:srgbClr>
                </a:gs>
              </a:gsLst>
              <a:lin ang="16200000" scaled="0"/>
            </a:gra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8">
              <a:extLst>
                <a:ext uri="{FF2B5EF4-FFF2-40B4-BE49-F238E27FC236}">
                  <a16:creationId xmlns:a16="http://schemas.microsoft.com/office/drawing/2014/main" id="{3E28299F-82DC-4BAC-A5BB-7B5EA5A95BC3}"/>
                </a:ext>
              </a:extLst>
            </p:cNvPr>
            <p:cNvSpPr>
              <a:spLocks noEditPoints="1"/>
            </p:cNvSpPr>
            <p:nvPr/>
          </p:nvSpPr>
          <p:spPr bwMode="auto">
            <a:xfrm>
              <a:off x="4832350" y="3162300"/>
              <a:ext cx="1503363" cy="2624138"/>
            </a:xfrm>
            <a:custGeom>
              <a:avLst/>
              <a:gdLst>
                <a:gd name="T0" fmla="*/ 258 w 262"/>
                <a:gd name="T1" fmla="*/ 413 h 458"/>
                <a:gd name="T2" fmla="*/ 208 w 262"/>
                <a:gd name="T3" fmla="*/ 314 h 458"/>
                <a:gd name="T4" fmla="*/ 214 w 262"/>
                <a:gd name="T5" fmla="*/ 201 h 458"/>
                <a:gd name="T6" fmla="*/ 225 w 262"/>
                <a:gd name="T7" fmla="*/ 192 h 458"/>
                <a:gd name="T8" fmla="*/ 217 w 262"/>
                <a:gd name="T9" fmla="*/ 182 h 458"/>
                <a:gd name="T10" fmla="*/ 216 w 262"/>
                <a:gd name="T11" fmla="*/ 182 h 458"/>
                <a:gd name="T12" fmla="*/ 216 w 262"/>
                <a:gd name="T13" fmla="*/ 182 h 458"/>
                <a:gd name="T14" fmla="*/ 215 w 262"/>
                <a:gd name="T15" fmla="*/ 182 h 458"/>
                <a:gd name="T16" fmla="*/ 215 w 262"/>
                <a:gd name="T17" fmla="*/ 182 h 458"/>
                <a:gd name="T18" fmla="*/ 213 w 262"/>
                <a:gd name="T19" fmla="*/ 151 h 458"/>
                <a:gd name="T20" fmla="*/ 217 w 262"/>
                <a:gd name="T21" fmla="*/ 90 h 458"/>
                <a:gd name="T22" fmla="*/ 222 w 262"/>
                <a:gd name="T23" fmla="*/ 56 h 458"/>
                <a:gd name="T24" fmla="*/ 202 w 262"/>
                <a:gd name="T25" fmla="*/ 1 h 458"/>
                <a:gd name="T26" fmla="*/ 179 w 262"/>
                <a:gd name="T27" fmla="*/ 12 h 458"/>
                <a:gd name="T28" fmla="*/ 145 w 262"/>
                <a:gd name="T29" fmla="*/ 66 h 458"/>
                <a:gd name="T30" fmla="*/ 154 w 262"/>
                <a:gd name="T31" fmla="*/ 93 h 458"/>
                <a:gd name="T32" fmla="*/ 164 w 262"/>
                <a:gd name="T33" fmla="*/ 119 h 458"/>
                <a:gd name="T34" fmla="*/ 171 w 262"/>
                <a:gd name="T35" fmla="*/ 151 h 458"/>
                <a:gd name="T36" fmla="*/ 170 w 262"/>
                <a:gd name="T37" fmla="*/ 180 h 458"/>
                <a:gd name="T38" fmla="*/ 149 w 262"/>
                <a:gd name="T39" fmla="*/ 196 h 458"/>
                <a:gd name="T40" fmla="*/ 94 w 262"/>
                <a:gd name="T41" fmla="*/ 213 h 458"/>
                <a:gd name="T42" fmla="*/ 94 w 262"/>
                <a:gd name="T43" fmla="*/ 213 h 458"/>
                <a:gd name="T44" fmla="*/ 38 w 262"/>
                <a:gd name="T45" fmla="*/ 292 h 458"/>
                <a:gd name="T46" fmla="*/ 23 w 262"/>
                <a:gd name="T47" fmla="*/ 408 h 458"/>
                <a:gd name="T48" fmla="*/ 104 w 262"/>
                <a:gd name="T49" fmla="*/ 409 h 458"/>
                <a:gd name="T50" fmla="*/ 104 w 262"/>
                <a:gd name="T51" fmla="*/ 413 h 458"/>
                <a:gd name="T52" fmla="*/ 109 w 262"/>
                <a:gd name="T53" fmla="*/ 458 h 458"/>
                <a:gd name="T54" fmla="*/ 260 w 262"/>
                <a:gd name="T55" fmla="*/ 458 h 458"/>
                <a:gd name="T56" fmla="*/ 258 w 262"/>
                <a:gd name="T57" fmla="*/ 413 h 458"/>
                <a:gd name="T58" fmla="*/ 76 w 262"/>
                <a:gd name="T59" fmla="*/ 350 h 458"/>
                <a:gd name="T60" fmla="*/ 95 w 262"/>
                <a:gd name="T61" fmla="*/ 329 h 458"/>
                <a:gd name="T62" fmla="*/ 97 w 262"/>
                <a:gd name="T63" fmla="*/ 350 h 458"/>
                <a:gd name="T64" fmla="*/ 76 w 262"/>
                <a:gd name="T65" fmla="*/ 35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2" h="458">
                  <a:moveTo>
                    <a:pt x="258" y="413"/>
                  </a:moveTo>
                  <a:cubicBezTo>
                    <a:pt x="250" y="382"/>
                    <a:pt x="229" y="355"/>
                    <a:pt x="208" y="314"/>
                  </a:cubicBezTo>
                  <a:cubicBezTo>
                    <a:pt x="177" y="255"/>
                    <a:pt x="214" y="201"/>
                    <a:pt x="214" y="201"/>
                  </a:cubicBezTo>
                  <a:cubicBezTo>
                    <a:pt x="214" y="201"/>
                    <a:pt x="223" y="201"/>
                    <a:pt x="225" y="192"/>
                  </a:cubicBezTo>
                  <a:cubicBezTo>
                    <a:pt x="226" y="185"/>
                    <a:pt x="220" y="183"/>
                    <a:pt x="217" y="182"/>
                  </a:cubicBezTo>
                  <a:cubicBezTo>
                    <a:pt x="217" y="182"/>
                    <a:pt x="216" y="182"/>
                    <a:pt x="216" y="182"/>
                  </a:cubicBezTo>
                  <a:cubicBezTo>
                    <a:pt x="216" y="182"/>
                    <a:pt x="216" y="182"/>
                    <a:pt x="216" y="182"/>
                  </a:cubicBezTo>
                  <a:cubicBezTo>
                    <a:pt x="216" y="182"/>
                    <a:pt x="215" y="182"/>
                    <a:pt x="215" y="182"/>
                  </a:cubicBezTo>
                  <a:cubicBezTo>
                    <a:pt x="215" y="182"/>
                    <a:pt x="215" y="182"/>
                    <a:pt x="215" y="182"/>
                  </a:cubicBezTo>
                  <a:cubicBezTo>
                    <a:pt x="214" y="177"/>
                    <a:pt x="213" y="166"/>
                    <a:pt x="213" y="151"/>
                  </a:cubicBezTo>
                  <a:cubicBezTo>
                    <a:pt x="214" y="133"/>
                    <a:pt x="215" y="111"/>
                    <a:pt x="217" y="90"/>
                  </a:cubicBezTo>
                  <a:cubicBezTo>
                    <a:pt x="219" y="78"/>
                    <a:pt x="220" y="66"/>
                    <a:pt x="222" y="56"/>
                  </a:cubicBezTo>
                  <a:cubicBezTo>
                    <a:pt x="229" y="19"/>
                    <a:pt x="202" y="1"/>
                    <a:pt x="202" y="1"/>
                  </a:cubicBezTo>
                  <a:cubicBezTo>
                    <a:pt x="194" y="0"/>
                    <a:pt x="179" y="12"/>
                    <a:pt x="179" y="12"/>
                  </a:cubicBezTo>
                  <a:cubicBezTo>
                    <a:pt x="149" y="27"/>
                    <a:pt x="145" y="65"/>
                    <a:pt x="145" y="66"/>
                  </a:cubicBezTo>
                  <a:cubicBezTo>
                    <a:pt x="145" y="67"/>
                    <a:pt x="149" y="78"/>
                    <a:pt x="154" y="93"/>
                  </a:cubicBezTo>
                  <a:cubicBezTo>
                    <a:pt x="157" y="101"/>
                    <a:pt x="160" y="110"/>
                    <a:pt x="164" y="119"/>
                  </a:cubicBezTo>
                  <a:cubicBezTo>
                    <a:pt x="168" y="129"/>
                    <a:pt x="170" y="141"/>
                    <a:pt x="171" y="151"/>
                  </a:cubicBezTo>
                  <a:cubicBezTo>
                    <a:pt x="172" y="167"/>
                    <a:pt x="170" y="180"/>
                    <a:pt x="170" y="180"/>
                  </a:cubicBezTo>
                  <a:cubicBezTo>
                    <a:pt x="154" y="181"/>
                    <a:pt x="149" y="196"/>
                    <a:pt x="149" y="196"/>
                  </a:cubicBezTo>
                  <a:cubicBezTo>
                    <a:pt x="149" y="196"/>
                    <a:pt x="103" y="205"/>
                    <a:pt x="94" y="213"/>
                  </a:cubicBezTo>
                  <a:cubicBezTo>
                    <a:pt x="94" y="213"/>
                    <a:pt x="94" y="213"/>
                    <a:pt x="94" y="213"/>
                  </a:cubicBezTo>
                  <a:cubicBezTo>
                    <a:pt x="80" y="219"/>
                    <a:pt x="59" y="238"/>
                    <a:pt x="38" y="292"/>
                  </a:cubicBezTo>
                  <a:cubicBezTo>
                    <a:pt x="5" y="376"/>
                    <a:pt x="0" y="402"/>
                    <a:pt x="23" y="408"/>
                  </a:cubicBezTo>
                  <a:cubicBezTo>
                    <a:pt x="32" y="410"/>
                    <a:pt x="66" y="410"/>
                    <a:pt x="104" y="409"/>
                  </a:cubicBezTo>
                  <a:cubicBezTo>
                    <a:pt x="104" y="410"/>
                    <a:pt x="104" y="411"/>
                    <a:pt x="104" y="413"/>
                  </a:cubicBezTo>
                  <a:cubicBezTo>
                    <a:pt x="107" y="435"/>
                    <a:pt x="109" y="452"/>
                    <a:pt x="109" y="458"/>
                  </a:cubicBezTo>
                  <a:cubicBezTo>
                    <a:pt x="260" y="458"/>
                    <a:pt x="260" y="458"/>
                    <a:pt x="260" y="458"/>
                  </a:cubicBezTo>
                  <a:cubicBezTo>
                    <a:pt x="262" y="441"/>
                    <a:pt x="261" y="426"/>
                    <a:pt x="258" y="413"/>
                  </a:cubicBezTo>
                  <a:close/>
                  <a:moveTo>
                    <a:pt x="76" y="350"/>
                  </a:moveTo>
                  <a:cubicBezTo>
                    <a:pt x="76" y="350"/>
                    <a:pt x="85" y="341"/>
                    <a:pt x="95" y="329"/>
                  </a:cubicBezTo>
                  <a:cubicBezTo>
                    <a:pt x="96" y="336"/>
                    <a:pt x="97" y="343"/>
                    <a:pt x="97" y="350"/>
                  </a:cubicBezTo>
                  <a:cubicBezTo>
                    <a:pt x="85" y="350"/>
                    <a:pt x="76" y="350"/>
                    <a:pt x="76" y="350"/>
                  </a:cubicBezTo>
                  <a:close/>
                </a:path>
              </a:pathLst>
            </a:custGeom>
            <a:gradFill flip="none" rotWithShape="1">
              <a:gsLst>
                <a:gs pos="100000">
                  <a:srgbClr val="7289F2">
                    <a:alpha val="0"/>
                  </a:srgbClr>
                </a:gs>
                <a:gs pos="26000">
                  <a:srgbClr val="7289F2">
                    <a:alpha val="54000"/>
                  </a:srgbClr>
                </a:gs>
              </a:gsLst>
              <a:lin ang="7800000" scaled="0"/>
              <a:tileRect/>
            </a:gra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9">
              <a:extLst>
                <a:ext uri="{FF2B5EF4-FFF2-40B4-BE49-F238E27FC236}">
                  <a16:creationId xmlns:a16="http://schemas.microsoft.com/office/drawing/2014/main" id="{1F1055DB-0FAF-42E9-A9D9-33EEEA5E5D53}"/>
                </a:ext>
              </a:extLst>
            </p:cNvPr>
            <p:cNvSpPr>
              <a:spLocks/>
            </p:cNvSpPr>
            <p:nvPr/>
          </p:nvSpPr>
          <p:spPr bwMode="auto">
            <a:xfrm>
              <a:off x="5192713" y="5167313"/>
              <a:ext cx="236538" cy="338138"/>
            </a:xfrm>
            <a:custGeom>
              <a:avLst/>
              <a:gdLst>
                <a:gd name="T0" fmla="*/ 13 w 41"/>
                <a:gd name="T1" fmla="*/ 0 h 59"/>
                <a:gd name="T2" fmla="*/ 41 w 41"/>
                <a:gd name="T3" fmla="*/ 59 h 59"/>
                <a:gd name="T4" fmla="*/ 34 w 41"/>
                <a:gd name="T5" fmla="*/ 0 h 59"/>
                <a:gd name="T6" fmla="*/ 13 w 41"/>
                <a:gd name="T7" fmla="*/ 0 h 59"/>
              </a:gdLst>
              <a:ahLst/>
              <a:cxnLst>
                <a:cxn ang="0">
                  <a:pos x="T0" y="T1"/>
                </a:cxn>
                <a:cxn ang="0">
                  <a:pos x="T2" y="T3"/>
                </a:cxn>
                <a:cxn ang="0">
                  <a:pos x="T4" y="T5"/>
                </a:cxn>
                <a:cxn ang="0">
                  <a:pos x="T6" y="T7"/>
                </a:cxn>
              </a:cxnLst>
              <a:rect l="0" t="0" r="r" b="b"/>
              <a:pathLst>
                <a:path w="41" h="59">
                  <a:moveTo>
                    <a:pt x="13" y="0"/>
                  </a:moveTo>
                  <a:cubicBezTo>
                    <a:pt x="13" y="0"/>
                    <a:pt x="0" y="45"/>
                    <a:pt x="41" y="59"/>
                  </a:cubicBezTo>
                  <a:cubicBezTo>
                    <a:pt x="34" y="0"/>
                    <a:pt x="34" y="0"/>
                    <a:pt x="34" y="0"/>
                  </a:cubicBezTo>
                  <a:lnTo>
                    <a:pt x="13" y="0"/>
                  </a:lnTo>
                  <a:close/>
                </a:path>
              </a:pathLst>
            </a:custGeom>
            <a:solidFill>
              <a:srgbClr val="829CF3">
                <a:alpha val="26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20">
              <a:extLst>
                <a:ext uri="{FF2B5EF4-FFF2-40B4-BE49-F238E27FC236}">
                  <a16:creationId xmlns:a16="http://schemas.microsoft.com/office/drawing/2014/main" id="{33DD8503-AB72-4432-BEC9-FC4887059C26}"/>
                </a:ext>
              </a:extLst>
            </p:cNvPr>
            <p:cNvSpPr>
              <a:spLocks/>
            </p:cNvSpPr>
            <p:nvPr/>
          </p:nvSpPr>
          <p:spPr bwMode="auto">
            <a:xfrm>
              <a:off x="6191250" y="3625850"/>
              <a:ext cx="333375" cy="217488"/>
            </a:xfrm>
            <a:custGeom>
              <a:avLst/>
              <a:gdLst>
                <a:gd name="T0" fmla="*/ 57 w 58"/>
                <a:gd name="T1" fmla="*/ 4 h 38"/>
                <a:gd name="T2" fmla="*/ 57 w 58"/>
                <a:gd name="T3" fmla="*/ 8 h 38"/>
                <a:gd name="T4" fmla="*/ 53 w 58"/>
                <a:gd name="T5" fmla="*/ 18 h 38"/>
                <a:gd name="T6" fmla="*/ 47 w 58"/>
                <a:gd name="T7" fmla="*/ 24 h 38"/>
                <a:gd name="T8" fmla="*/ 46 w 58"/>
                <a:gd name="T9" fmla="*/ 22 h 38"/>
                <a:gd name="T10" fmla="*/ 47 w 58"/>
                <a:gd name="T11" fmla="*/ 21 h 38"/>
                <a:gd name="T12" fmla="*/ 53 w 58"/>
                <a:gd name="T13" fmla="*/ 8 h 38"/>
                <a:gd name="T14" fmla="*/ 46 w 58"/>
                <a:gd name="T15" fmla="*/ 11 h 38"/>
                <a:gd name="T16" fmla="*/ 17 w 58"/>
                <a:gd name="T17" fmla="*/ 23 h 38"/>
                <a:gd name="T18" fmla="*/ 5 w 58"/>
                <a:gd name="T19" fmla="*/ 37 h 38"/>
                <a:gd name="T20" fmla="*/ 0 w 58"/>
                <a:gd name="T21" fmla="*/ 35 h 38"/>
                <a:gd name="T22" fmla="*/ 15 w 58"/>
                <a:gd name="T23" fmla="*/ 20 h 38"/>
                <a:gd name="T24" fmla="*/ 46 w 58"/>
                <a:gd name="T25" fmla="*/ 7 h 38"/>
                <a:gd name="T26" fmla="*/ 52 w 58"/>
                <a:gd name="T27" fmla="*/ 4 h 38"/>
                <a:gd name="T28" fmla="*/ 46 w 58"/>
                <a:gd name="T29" fmla="*/ 2 h 38"/>
                <a:gd name="T30" fmla="*/ 46 w 58"/>
                <a:gd name="T31" fmla="*/ 0 h 38"/>
                <a:gd name="T32" fmla="*/ 53 w 58"/>
                <a:gd name="T33" fmla="*/ 1 h 38"/>
                <a:gd name="T34" fmla="*/ 57 w 58"/>
                <a:gd name="T3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38">
                  <a:moveTo>
                    <a:pt x="57" y="4"/>
                  </a:moveTo>
                  <a:cubicBezTo>
                    <a:pt x="57" y="8"/>
                    <a:pt x="57" y="8"/>
                    <a:pt x="57" y="8"/>
                  </a:cubicBezTo>
                  <a:cubicBezTo>
                    <a:pt x="57" y="8"/>
                    <a:pt x="56" y="12"/>
                    <a:pt x="53" y="18"/>
                  </a:cubicBezTo>
                  <a:cubicBezTo>
                    <a:pt x="51" y="23"/>
                    <a:pt x="48" y="24"/>
                    <a:pt x="47" y="24"/>
                  </a:cubicBezTo>
                  <a:cubicBezTo>
                    <a:pt x="46" y="23"/>
                    <a:pt x="46" y="22"/>
                    <a:pt x="46" y="22"/>
                  </a:cubicBezTo>
                  <a:cubicBezTo>
                    <a:pt x="47" y="21"/>
                    <a:pt x="47" y="21"/>
                    <a:pt x="47" y="21"/>
                  </a:cubicBezTo>
                  <a:cubicBezTo>
                    <a:pt x="54" y="20"/>
                    <a:pt x="53" y="8"/>
                    <a:pt x="53" y="8"/>
                  </a:cubicBezTo>
                  <a:cubicBezTo>
                    <a:pt x="46" y="11"/>
                    <a:pt x="46" y="11"/>
                    <a:pt x="46" y="11"/>
                  </a:cubicBezTo>
                  <a:cubicBezTo>
                    <a:pt x="17" y="23"/>
                    <a:pt x="17" y="23"/>
                    <a:pt x="17" y="23"/>
                  </a:cubicBezTo>
                  <a:cubicBezTo>
                    <a:pt x="17" y="23"/>
                    <a:pt x="7" y="35"/>
                    <a:pt x="5" y="37"/>
                  </a:cubicBezTo>
                  <a:cubicBezTo>
                    <a:pt x="3" y="38"/>
                    <a:pt x="0" y="38"/>
                    <a:pt x="0" y="35"/>
                  </a:cubicBezTo>
                  <a:cubicBezTo>
                    <a:pt x="0" y="33"/>
                    <a:pt x="15" y="20"/>
                    <a:pt x="15" y="20"/>
                  </a:cubicBezTo>
                  <a:cubicBezTo>
                    <a:pt x="46" y="7"/>
                    <a:pt x="46" y="7"/>
                    <a:pt x="46" y="7"/>
                  </a:cubicBezTo>
                  <a:cubicBezTo>
                    <a:pt x="52" y="4"/>
                    <a:pt x="52" y="4"/>
                    <a:pt x="52" y="4"/>
                  </a:cubicBezTo>
                  <a:cubicBezTo>
                    <a:pt x="46" y="2"/>
                    <a:pt x="46" y="2"/>
                    <a:pt x="46" y="2"/>
                  </a:cubicBezTo>
                  <a:cubicBezTo>
                    <a:pt x="46" y="2"/>
                    <a:pt x="46" y="1"/>
                    <a:pt x="46" y="0"/>
                  </a:cubicBezTo>
                  <a:cubicBezTo>
                    <a:pt x="48" y="0"/>
                    <a:pt x="50" y="1"/>
                    <a:pt x="53" y="1"/>
                  </a:cubicBezTo>
                  <a:cubicBezTo>
                    <a:pt x="58" y="2"/>
                    <a:pt x="57" y="4"/>
                    <a:pt x="57" y="4"/>
                  </a:cubicBezTo>
                  <a:close/>
                </a:path>
              </a:pathLst>
            </a:custGeom>
            <a:solidFill>
              <a:srgbClr val="0A00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Shape 24">
              <a:extLst>
                <a:ext uri="{FF2B5EF4-FFF2-40B4-BE49-F238E27FC236}">
                  <a16:creationId xmlns:a16="http://schemas.microsoft.com/office/drawing/2014/main" id="{5734A953-9B6C-444B-B25F-6DF0B880B296}"/>
                </a:ext>
              </a:extLst>
            </p:cNvPr>
            <p:cNvSpPr/>
            <p:nvPr/>
          </p:nvSpPr>
          <p:spPr>
            <a:xfrm>
              <a:off x="6538394" y="3930239"/>
              <a:ext cx="104950" cy="82726"/>
            </a:xfrm>
            <a:custGeom>
              <a:avLst/>
              <a:gdLst>
                <a:gd name="connsiteX0" fmla="*/ 519 w 104950"/>
                <a:gd name="connsiteY0" fmla="*/ 1205 h 82726"/>
                <a:gd name="connsiteX1" fmla="*/ 64812 w 104950"/>
                <a:gd name="connsiteY1" fmla="*/ 36924 h 82726"/>
                <a:gd name="connsiteX2" fmla="*/ 102912 w 104950"/>
                <a:gd name="connsiteY2" fmla="*/ 82167 h 82726"/>
                <a:gd name="connsiteX3" fmla="*/ 519 w 104950"/>
                <a:gd name="connsiteY3" fmla="*/ 1205 h 82726"/>
              </a:gdLst>
              <a:ahLst/>
              <a:cxnLst>
                <a:cxn ang="0">
                  <a:pos x="connsiteX0" y="connsiteY0"/>
                </a:cxn>
                <a:cxn ang="0">
                  <a:pos x="connsiteX1" y="connsiteY1"/>
                </a:cxn>
                <a:cxn ang="0">
                  <a:pos x="connsiteX2" y="connsiteY2"/>
                </a:cxn>
                <a:cxn ang="0">
                  <a:pos x="connsiteX3" y="connsiteY3"/>
                </a:cxn>
              </a:cxnLst>
              <a:rect l="l" t="t" r="r" b="b"/>
              <a:pathLst>
                <a:path w="104950" h="82726">
                  <a:moveTo>
                    <a:pt x="519" y="1205"/>
                  </a:moveTo>
                  <a:cubicBezTo>
                    <a:pt x="-5831" y="-6335"/>
                    <a:pt x="47747" y="23430"/>
                    <a:pt x="64812" y="36924"/>
                  </a:cubicBezTo>
                  <a:cubicBezTo>
                    <a:pt x="81877" y="50418"/>
                    <a:pt x="113231" y="87723"/>
                    <a:pt x="102912" y="82167"/>
                  </a:cubicBezTo>
                  <a:cubicBezTo>
                    <a:pt x="92593" y="76611"/>
                    <a:pt x="6869" y="8745"/>
                    <a:pt x="519" y="1205"/>
                  </a:cubicBezTo>
                  <a:close/>
                </a:path>
              </a:pathLst>
            </a:custGeom>
            <a:solidFill>
              <a:srgbClr val="0A00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Shape 149">
              <a:extLst>
                <a:ext uri="{FF2B5EF4-FFF2-40B4-BE49-F238E27FC236}">
                  <a16:creationId xmlns:a16="http://schemas.microsoft.com/office/drawing/2014/main" id="{0981B24C-CD45-4505-87DD-EBA799A608A0}"/>
                </a:ext>
              </a:extLst>
            </p:cNvPr>
            <p:cNvSpPr/>
            <p:nvPr/>
          </p:nvSpPr>
          <p:spPr>
            <a:xfrm>
              <a:off x="6586362" y="3924595"/>
              <a:ext cx="104950" cy="82726"/>
            </a:xfrm>
            <a:custGeom>
              <a:avLst/>
              <a:gdLst>
                <a:gd name="connsiteX0" fmla="*/ 519 w 104950"/>
                <a:gd name="connsiteY0" fmla="*/ 1205 h 82726"/>
                <a:gd name="connsiteX1" fmla="*/ 64812 w 104950"/>
                <a:gd name="connsiteY1" fmla="*/ 36924 h 82726"/>
                <a:gd name="connsiteX2" fmla="*/ 102912 w 104950"/>
                <a:gd name="connsiteY2" fmla="*/ 82167 h 82726"/>
                <a:gd name="connsiteX3" fmla="*/ 519 w 104950"/>
                <a:gd name="connsiteY3" fmla="*/ 1205 h 82726"/>
              </a:gdLst>
              <a:ahLst/>
              <a:cxnLst>
                <a:cxn ang="0">
                  <a:pos x="connsiteX0" y="connsiteY0"/>
                </a:cxn>
                <a:cxn ang="0">
                  <a:pos x="connsiteX1" y="connsiteY1"/>
                </a:cxn>
                <a:cxn ang="0">
                  <a:pos x="connsiteX2" y="connsiteY2"/>
                </a:cxn>
                <a:cxn ang="0">
                  <a:pos x="connsiteX3" y="connsiteY3"/>
                </a:cxn>
              </a:cxnLst>
              <a:rect l="l" t="t" r="r" b="b"/>
              <a:pathLst>
                <a:path w="104950" h="82726">
                  <a:moveTo>
                    <a:pt x="519" y="1205"/>
                  </a:moveTo>
                  <a:cubicBezTo>
                    <a:pt x="-5831" y="-6335"/>
                    <a:pt x="47747" y="23430"/>
                    <a:pt x="64812" y="36924"/>
                  </a:cubicBezTo>
                  <a:cubicBezTo>
                    <a:pt x="81877" y="50418"/>
                    <a:pt x="113231" y="87723"/>
                    <a:pt x="102912" y="82167"/>
                  </a:cubicBezTo>
                  <a:cubicBezTo>
                    <a:pt x="92593" y="76611"/>
                    <a:pt x="6869" y="8745"/>
                    <a:pt x="519" y="1205"/>
                  </a:cubicBezTo>
                  <a:close/>
                </a:path>
              </a:pathLst>
            </a:custGeom>
            <a:solidFill>
              <a:srgbClr val="0A00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Shape 25">
              <a:extLst>
                <a:ext uri="{FF2B5EF4-FFF2-40B4-BE49-F238E27FC236}">
                  <a16:creationId xmlns:a16="http://schemas.microsoft.com/office/drawing/2014/main" id="{95F849CF-BB96-4670-91B9-CF85441BB33B}"/>
                </a:ext>
              </a:extLst>
            </p:cNvPr>
            <p:cNvSpPr/>
            <p:nvPr/>
          </p:nvSpPr>
          <p:spPr>
            <a:xfrm>
              <a:off x="5832786" y="4279895"/>
              <a:ext cx="465015" cy="55559"/>
            </a:xfrm>
            <a:custGeom>
              <a:avLst/>
              <a:gdLst>
                <a:gd name="connsiteX0" fmla="*/ 456889 w 465015"/>
                <a:gd name="connsiteY0" fmla="*/ 50805 h 55559"/>
                <a:gd name="connsiteX1" fmla="*/ 2864 w 465015"/>
                <a:gd name="connsiteY1" fmla="*/ 5 h 55559"/>
                <a:gd name="connsiteX2" fmla="*/ 272739 w 465015"/>
                <a:gd name="connsiteY2" fmla="*/ 47630 h 55559"/>
                <a:gd name="connsiteX3" fmla="*/ 456889 w 465015"/>
                <a:gd name="connsiteY3" fmla="*/ 50805 h 55559"/>
              </a:gdLst>
              <a:ahLst/>
              <a:cxnLst>
                <a:cxn ang="0">
                  <a:pos x="connsiteX0" y="connsiteY0"/>
                </a:cxn>
                <a:cxn ang="0">
                  <a:pos x="connsiteX1" y="connsiteY1"/>
                </a:cxn>
                <a:cxn ang="0">
                  <a:pos x="connsiteX2" y="connsiteY2"/>
                </a:cxn>
                <a:cxn ang="0">
                  <a:pos x="connsiteX3" y="connsiteY3"/>
                </a:cxn>
              </a:cxnLst>
              <a:rect l="l" t="t" r="r" b="b"/>
              <a:pathLst>
                <a:path w="465015" h="55559">
                  <a:moveTo>
                    <a:pt x="456889" y="50805"/>
                  </a:moveTo>
                  <a:cubicBezTo>
                    <a:pt x="411910" y="42867"/>
                    <a:pt x="33556" y="534"/>
                    <a:pt x="2864" y="5"/>
                  </a:cubicBezTo>
                  <a:cubicBezTo>
                    <a:pt x="-27828" y="-524"/>
                    <a:pt x="196539" y="39163"/>
                    <a:pt x="272739" y="47630"/>
                  </a:cubicBezTo>
                  <a:cubicBezTo>
                    <a:pt x="348939" y="56097"/>
                    <a:pt x="501868" y="58743"/>
                    <a:pt x="456889" y="50805"/>
                  </a:cubicBezTo>
                  <a:close/>
                </a:path>
              </a:pathLst>
            </a:custGeom>
            <a:solidFill>
              <a:srgbClr val="0A00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nvGrpSpPr>
          <p:cNvPr id="40" name="Group 39">
            <a:extLst>
              <a:ext uri="{FF2B5EF4-FFF2-40B4-BE49-F238E27FC236}">
                <a16:creationId xmlns:a16="http://schemas.microsoft.com/office/drawing/2014/main" id="{6163EC3B-1C70-4943-88AE-C995F6AF3D2D}"/>
              </a:ext>
            </a:extLst>
          </p:cNvPr>
          <p:cNvGrpSpPr/>
          <p:nvPr/>
        </p:nvGrpSpPr>
        <p:grpSpPr>
          <a:xfrm>
            <a:off x="5255731" y="1444400"/>
            <a:ext cx="1273175" cy="1271588"/>
            <a:chOff x="5459412" y="1395413"/>
            <a:chExt cx="1273175" cy="1271588"/>
          </a:xfrm>
        </p:grpSpPr>
        <p:sp>
          <p:nvSpPr>
            <p:cNvPr id="34" name="Oval 26">
              <a:extLst>
                <a:ext uri="{FF2B5EF4-FFF2-40B4-BE49-F238E27FC236}">
                  <a16:creationId xmlns:a16="http://schemas.microsoft.com/office/drawing/2014/main" id="{BAB1D2D2-1913-4FAF-8141-A2217D47D3D9}"/>
                </a:ext>
              </a:extLst>
            </p:cNvPr>
            <p:cNvSpPr>
              <a:spLocks noChangeArrowheads="1"/>
            </p:cNvSpPr>
            <p:nvPr/>
          </p:nvSpPr>
          <p:spPr bwMode="auto">
            <a:xfrm>
              <a:off x="5459412" y="1395413"/>
              <a:ext cx="1273175" cy="1271588"/>
            </a:xfrm>
            <a:prstGeom prst="ellipse">
              <a:avLst/>
            </a:prstGeom>
            <a:gradFill>
              <a:gsLst>
                <a:gs pos="0">
                  <a:srgbClr val="7CEFD8"/>
                </a:gs>
                <a:gs pos="50000">
                  <a:srgbClr val="6672E4"/>
                </a:gs>
                <a:gs pos="100000">
                  <a:srgbClr val="882BE5"/>
                </a:gs>
              </a:gsLst>
              <a:lin ang="7800000" scaled="0"/>
            </a:gra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53" name="Group 152">
              <a:extLst>
                <a:ext uri="{FF2B5EF4-FFF2-40B4-BE49-F238E27FC236}">
                  <a16:creationId xmlns:a16="http://schemas.microsoft.com/office/drawing/2014/main" id="{14E63ABA-A2BE-460E-AEC1-558B63A0D598}"/>
                </a:ext>
              </a:extLst>
            </p:cNvPr>
            <p:cNvGrpSpPr/>
            <p:nvPr/>
          </p:nvGrpSpPr>
          <p:grpSpPr>
            <a:xfrm>
              <a:off x="5781290" y="1569642"/>
              <a:ext cx="584970" cy="674403"/>
              <a:chOff x="2686050" y="2895601"/>
              <a:chExt cx="330200" cy="346075"/>
            </a:xfrm>
          </p:grpSpPr>
          <p:sp>
            <p:nvSpPr>
              <p:cNvPr id="154" name="Oval 309">
                <a:extLst>
                  <a:ext uri="{FF2B5EF4-FFF2-40B4-BE49-F238E27FC236}">
                    <a16:creationId xmlns:a16="http://schemas.microsoft.com/office/drawing/2014/main" id="{AC91C28A-AC97-43D2-BB20-485D353E831B}"/>
                  </a:ext>
                </a:extLst>
              </p:cNvPr>
              <p:cNvSpPr>
                <a:spLocks noChangeArrowheads="1"/>
              </p:cNvSpPr>
              <p:nvPr/>
            </p:nvSpPr>
            <p:spPr bwMode="auto">
              <a:xfrm>
                <a:off x="2809875" y="2895601"/>
                <a:ext cx="82550" cy="82550"/>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5" name="Freeform 310">
                <a:extLst>
                  <a:ext uri="{FF2B5EF4-FFF2-40B4-BE49-F238E27FC236}">
                    <a16:creationId xmlns:a16="http://schemas.microsoft.com/office/drawing/2014/main" id="{307DC6B5-75A0-4610-B431-35147A890CA0}"/>
                  </a:ext>
                </a:extLst>
              </p:cNvPr>
              <p:cNvSpPr>
                <a:spLocks/>
              </p:cNvSpPr>
              <p:nvPr/>
            </p:nvSpPr>
            <p:spPr bwMode="auto">
              <a:xfrm>
                <a:off x="2782888" y="2978151"/>
                <a:ext cx="134938" cy="66675"/>
              </a:xfrm>
              <a:custGeom>
                <a:avLst/>
                <a:gdLst>
                  <a:gd name="T0" fmla="*/ 36 w 36"/>
                  <a:gd name="T1" fmla="*/ 18 h 18"/>
                  <a:gd name="T2" fmla="*/ 0 w 36"/>
                  <a:gd name="T3" fmla="*/ 18 h 18"/>
                  <a:gd name="T4" fmla="*/ 18 w 36"/>
                  <a:gd name="T5" fmla="*/ 0 h 18"/>
                  <a:gd name="T6" fmla="*/ 36 w 36"/>
                  <a:gd name="T7" fmla="*/ 18 h 18"/>
                </a:gdLst>
                <a:ahLst/>
                <a:cxnLst>
                  <a:cxn ang="0">
                    <a:pos x="T0" y="T1"/>
                  </a:cxn>
                  <a:cxn ang="0">
                    <a:pos x="T2" y="T3"/>
                  </a:cxn>
                  <a:cxn ang="0">
                    <a:pos x="T4" y="T5"/>
                  </a:cxn>
                  <a:cxn ang="0">
                    <a:pos x="T6" y="T7"/>
                  </a:cxn>
                </a:cxnLst>
                <a:rect l="0" t="0" r="r" b="b"/>
                <a:pathLst>
                  <a:path w="36" h="18">
                    <a:moveTo>
                      <a:pt x="36" y="18"/>
                    </a:moveTo>
                    <a:cubicBezTo>
                      <a:pt x="0" y="18"/>
                      <a:pt x="0" y="18"/>
                      <a:pt x="0" y="18"/>
                    </a:cubicBezTo>
                    <a:cubicBezTo>
                      <a:pt x="0" y="8"/>
                      <a:pt x="8" y="0"/>
                      <a:pt x="18" y="0"/>
                    </a:cubicBezTo>
                    <a:cubicBezTo>
                      <a:pt x="28" y="0"/>
                      <a:pt x="36" y="8"/>
                      <a:pt x="36" y="18"/>
                    </a:cubicBez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6" name="Oval 311">
                <a:extLst>
                  <a:ext uri="{FF2B5EF4-FFF2-40B4-BE49-F238E27FC236}">
                    <a16:creationId xmlns:a16="http://schemas.microsoft.com/office/drawing/2014/main" id="{16EA5084-E99D-4DD5-B478-224937E08C2D}"/>
                  </a:ext>
                </a:extLst>
              </p:cNvPr>
              <p:cNvSpPr>
                <a:spLocks noChangeArrowheads="1"/>
              </p:cNvSpPr>
              <p:nvPr/>
            </p:nvSpPr>
            <p:spPr bwMode="auto">
              <a:xfrm>
                <a:off x="2708275" y="3128963"/>
                <a:ext cx="60325" cy="58738"/>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7" name="Freeform 312">
                <a:extLst>
                  <a:ext uri="{FF2B5EF4-FFF2-40B4-BE49-F238E27FC236}">
                    <a16:creationId xmlns:a16="http://schemas.microsoft.com/office/drawing/2014/main" id="{210EC1C6-3182-40F6-869F-33B0ABF22B6A}"/>
                  </a:ext>
                </a:extLst>
              </p:cNvPr>
              <p:cNvSpPr>
                <a:spLocks/>
              </p:cNvSpPr>
              <p:nvPr/>
            </p:nvSpPr>
            <p:spPr bwMode="auto">
              <a:xfrm>
                <a:off x="2686050" y="3187701"/>
                <a:ext cx="104775" cy="53975"/>
              </a:xfrm>
              <a:custGeom>
                <a:avLst/>
                <a:gdLst>
                  <a:gd name="T0" fmla="*/ 28 w 28"/>
                  <a:gd name="T1" fmla="*/ 14 h 14"/>
                  <a:gd name="T2" fmla="*/ 0 w 28"/>
                  <a:gd name="T3" fmla="*/ 14 h 14"/>
                  <a:gd name="T4" fmla="*/ 14 w 28"/>
                  <a:gd name="T5" fmla="*/ 0 h 14"/>
                  <a:gd name="T6" fmla="*/ 28 w 28"/>
                  <a:gd name="T7" fmla="*/ 14 h 14"/>
                </a:gdLst>
                <a:ahLst/>
                <a:cxnLst>
                  <a:cxn ang="0">
                    <a:pos x="T0" y="T1"/>
                  </a:cxn>
                  <a:cxn ang="0">
                    <a:pos x="T2" y="T3"/>
                  </a:cxn>
                  <a:cxn ang="0">
                    <a:pos x="T4" y="T5"/>
                  </a:cxn>
                  <a:cxn ang="0">
                    <a:pos x="T6" y="T7"/>
                  </a:cxn>
                </a:cxnLst>
                <a:rect l="0" t="0" r="r" b="b"/>
                <a:pathLst>
                  <a:path w="28" h="14">
                    <a:moveTo>
                      <a:pt x="28" y="14"/>
                    </a:moveTo>
                    <a:cubicBezTo>
                      <a:pt x="0" y="14"/>
                      <a:pt x="0" y="14"/>
                      <a:pt x="0" y="14"/>
                    </a:cubicBezTo>
                    <a:cubicBezTo>
                      <a:pt x="0" y="6"/>
                      <a:pt x="6" y="0"/>
                      <a:pt x="14" y="0"/>
                    </a:cubicBezTo>
                    <a:cubicBezTo>
                      <a:pt x="22" y="0"/>
                      <a:pt x="28" y="6"/>
                      <a:pt x="28" y="14"/>
                    </a:cubicBez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8" name="Oval 313">
                <a:extLst>
                  <a:ext uri="{FF2B5EF4-FFF2-40B4-BE49-F238E27FC236}">
                    <a16:creationId xmlns:a16="http://schemas.microsoft.com/office/drawing/2014/main" id="{168ACDC4-22F5-4D4B-A783-44D3655B843F}"/>
                  </a:ext>
                </a:extLst>
              </p:cNvPr>
              <p:cNvSpPr>
                <a:spLocks noChangeArrowheads="1"/>
              </p:cNvSpPr>
              <p:nvPr/>
            </p:nvSpPr>
            <p:spPr bwMode="auto">
              <a:xfrm>
                <a:off x="2933700" y="3128963"/>
                <a:ext cx="60325" cy="58738"/>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9" name="Freeform 314">
                <a:extLst>
                  <a:ext uri="{FF2B5EF4-FFF2-40B4-BE49-F238E27FC236}">
                    <a16:creationId xmlns:a16="http://schemas.microsoft.com/office/drawing/2014/main" id="{9350080E-FAD1-420D-A674-785E5FD1F3EE}"/>
                  </a:ext>
                </a:extLst>
              </p:cNvPr>
              <p:cNvSpPr>
                <a:spLocks/>
              </p:cNvSpPr>
              <p:nvPr/>
            </p:nvSpPr>
            <p:spPr bwMode="auto">
              <a:xfrm>
                <a:off x="2911475" y="3187701"/>
                <a:ext cx="104775" cy="53975"/>
              </a:xfrm>
              <a:custGeom>
                <a:avLst/>
                <a:gdLst>
                  <a:gd name="T0" fmla="*/ 28 w 28"/>
                  <a:gd name="T1" fmla="*/ 14 h 14"/>
                  <a:gd name="T2" fmla="*/ 0 w 28"/>
                  <a:gd name="T3" fmla="*/ 14 h 14"/>
                  <a:gd name="T4" fmla="*/ 14 w 28"/>
                  <a:gd name="T5" fmla="*/ 0 h 14"/>
                  <a:gd name="T6" fmla="*/ 28 w 28"/>
                  <a:gd name="T7" fmla="*/ 14 h 14"/>
                </a:gdLst>
                <a:ahLst/>
                <a:cxnLst>
                  <a:cxn ang="0">
                    <a:pos x="T0" y="T1"/>
                  </a:cxn>
                  <a:cxn ang="0">
                    <a:pos x="T2" y="T3"/>
                  </a:cxn>
                  <a:cxn ang="0">
                    <a:pos x="T4" y="T5"/>
                  </a:cxn>
                  <a:cxn ang="0">
                    <a:pos x="T6" y="T7"/>
                  </a:cxn>
                </a:cxnLst>
                <a:rect l="0" t="0" r="r" b="b"/>
                <a:pathLst>
                  <a:path w="28" h="14">
                    <a:moveTo>
                      <a:pt x="28" y="14"/>
                    </a:moveTo>
                    <a:cubicBezTo>
                      <a:pt x="0" y="14"/>
                      <a:pt x="0" y="14"/>
                      <a:pt x="0" y="14"/>
                    </a:cubicBezTo>
                    <a:cubicBezTo>
                      <a:pt x="0" y="6"/>
                      <a:pt x="6" y="0"/>
                      <a:pt x="14" y="0"/>
                    </a:cubicBezTo>
                    <a:cubicBezTo>
                      <a:pt x="22" y="0"/>
                      <a:pt x="28" y="6"/>
                      <a:pt x="28" y="14"/>
                    </a:cubicBez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60" name="Oval 315">
                <a:extLst>
                  <a:ext uri="{FF2B5EF4-FFF2-40B4-BE49-F238E27FC236}">
                    <a16:creationId xmlns:a16="http://schemas.microsoft.com/office/drawing/2014/main" id="{A3A96249-064E-4E4F-800D-F3E32321B7D5}"/>
                  </a:ext>
                </a:extLst>
              </p:cNvPr>
              <p:cNvSpPr>
                <a:spLocks noChangeArrowheads="1"/>
              </p:cNvSpPr>
              <p:nvPr/>
            </p:nvSpPr>
            <p:spPr bwMode="auto">
              <a:xfrm>
                <a:off x="2933700" y="3128963"/>
                <a:ext cx="60325" cy="58738"/>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61" name="Freeform 316">
                <a:extLst>
                  <a:ext uri="{FF2B5EF4-FFF2-40B4-BE49-F238E27FC236}">
                    <a16:creationId xmlns:a16="http://schemas.microsoft.com/office/drawing/2014/main" id="{5B0FA9F4-74E7-4069-9E66-4CD168516DBB}"/>
                  </a:ext>
                </a:extLst>
              </p:cNvPr>
              <p:cNvSpPr>
                <a:spLocks/>
              </p:cNvSpPr>
              <p:nvPr/>
            </p:nvSpPr>
            <p:spPr bwMode="auto">
              <a:xfrm>
                <a:off x="2911475" y="3187701"/>
                <a:ext cx="104775" cy="53975"/>
              </a:xfrm>
              <a:custGeom>
                <a:avLst/>
                <a:gdLst>
                  <a:gd name="T0" fmla="*/ 28 w 28"/>
                  <a:gd name="T1" fmla="*/ 14 h 14"/>
                  <a:gd name="T2" fmla="*/ 0 w 28"/>
                  <a:gd name="T3" fmla="*/ 14 h 14"/>
                  <a:gd name="T4" fmla="*/ 14 w 28"/>
                  <a:gd name="T5" fmla="*/ 0 h 14"/>
                  <a:gd name="T6" fmla="*/ 28 w 28"/>
                  <a:gd name="T7" fmla="*/ 14 h 14"/>
                </a:gdLst>
                <a:ahLst/>
                <a:cxnLst>
                  <a:cxn ang="0">
                    <a:pos x="T0" y="T1"/>
                  </a:cxn>
                  <a:cxn ang="0">
                    <a:pos x="T2" y="T3"/>
                  </a:cxn>
                  <a:cxn ang="0">
                    <a:pos x="T4" y="T5"/>
                  </a:cxn>
                  <a:cxn ang="0">
                    <a:pos x="T6" y="T7"/>
                  </a:cxn>
                </a:cxnLst>
                <a:rect l="0" t="0" r="r" b="b"/>
                <a:pathLst>
                  <a:path w="28" h="14">
                    <a:moveTo>
                      <a:pt x="28" y="14"/>
                    </a:moveTo>
                    <a:cubicBezTo>
                      <a:pt x="0" y="14"/>
                      <a:pt x="0" y="14"/>
                      <a:pt x="0" y="14"/>
                    </a:cubicBezTo>
                    <a:cubicBezTo>
                      <a:pt x="0" y="6"/>
                      <a:pt x="6" y="0"/>
                      <a:pt x="14" y="0"/>
                    </a:cubicBezTo>
                    <a:cubicBezTo>
                      <a:pt x="22" y="0"/>
                      <a:pt x="28" y="6"/>
                      <a:pt x="28" y="14"/>
                    </a:cubicBez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62" name="Oval 317">
                <a:extLst>
                  <a:ext uri="{FF2B5EF4-FFF2-40B4-BE49-F238E27FC236}">
                    <a16:creationId xmlns:a16="http://schemas.microsoft.com/office/drawing/2014/main" id="{8B1079C4-08A2-4532-BF93-C9FBD28FC053}"/>
                  </a:ext>
                </a:extLst>
              </p:cNvPr>
              <p:cNvSpPr>
                <a:spLocks noChangeArrowheads="1"/>
              </p:cNvSpPr>
              <p:nvPr/>
            </p:nvSpPr>
            <p:spPr bwMode="auto">
              <a:xfrm>
                <a:off x="2820988" y="3128963"/>
                <a:ext cx="60325" cy="58738"/>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63" name="Freeform 318">
                <a:extLst>
                  <a:ext uri="{FF2B5EF4-FFF2-40B4-BE49-F238E27FC236}">
                    <a16:creationId xmlns:a16="http://schemas.microsoft.com/office/drawing/2014/main" id="{D2176F15-45A0-4989-901D-43FEBC8C6CA0}"/>
                  </a:ext>
                </a:extLst>
              </p:cNvPr>
              <p:cNvSpPr>
                <a:spLocks/>
              </p:cNvSpPr>
              <p:nvPr/>
            </p:nvSpPr>
            <p:spPr bwMode="auto">
              <a:xfrm>
                <a:off x="2798763" y="3187701"/>
                <a:ext cx="104775" cy="53975"/>
              </a:xfrm>
              <a:custGeom>
                <a:avLst/>
                <a:gdLst>
                  <a:gd name="T0" fmla="*/ 28 w 28"/>
                  <a:gd name="T1" fmla="*/ 14 h 14"/>
                  <a:gd name="T2" fmla="*/ 0 w 28"/>
                  <a:gd name="T3" fmla="*/ 14 h 14"/>
                  <a:gd name="T4" fmla="*/ 14 w 28"/>
                  <a:gd name="T5" fmla="*/ 0 h 14"/>
                  <a:gd name="T6" fmla="*/ 28 w 28"/>
                  <a:gd name="T7" fmla="*/ 14 h 14"/>
                </a:gdLst>
                <a:ahLst/>
                <a:cxnLst>
                  <a:cxn ang="0">
                    <a:pos x="T0" y="T1"/>
                  </a:cxn>
                  <a:cxn ang="0">
                    <a:pos x="T2" y="T3"/>
                  </a:cxn>
                  <a:cxn ang="0">
                    <a:pos x="T4" y="T5"/>
                  </a:cxn>
                  <a:cxn ang="0">
                    <a:pos x="T6" y="T7"/>
                  </a:cxn>
                </a:cxnLst>
                <a:rect l="0" t="0" r="r" b="b"/>
                <a:pathLst>
                  <a:path w="28" h="14">
                    <a:moveTo>
                      <a:pt x="28" y="14"/>
                    </a:moveTo>
                    <a:cubicBezTo>
                      <a:pt x="0" y="14"/>
                      <a:pt x="0" y="14"/>
                      <a:pt x="0" y="14"/>
                    </a:cubicBezTo>
                    <a:cubicBezTo>
                      <a:pt x="0" y="6"/>
                      <a:pt x="6" y="0"/>
                      <a:pt x="14" y="0"/>
                    </a:cubicBezTo>
                    <a:cubicBezTo>
                      <a:pt x="22" y="0"/>
                      <a:pt x="28" y="6"/>
                      <a:pt x="28" y="14"/>
                    </a:cubicBez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64" name="Freeform 319">
                <a:extLst>
                  <a:ext uri="{FF2B5EF4-FFF2-40B4-BE49-F238E27FC236}">
                    <a16:creationId xmlns:a16="http://schemas.microsoft.com/office/drawing/2014/main" id="{E441EEB4-0ED1-401E-BCE2-44490D081569}"/>
                  </a:ext>
                </a:extLst>
              </p:cNvPr>
              <p:cNvSpPr>
                <a:spLocks/>
              </p:cNvSpPr>
              <p:nvPr/>
            </p:nvSpPr>
            <p:spPr bwMode="auto">
              <a:xfrm>
                <a:off x="2738438" y="3074988"/>
                <a:ext cx="225425" cy="15875"/>
              </a:xfrm>
              <a:custGeom>
                <a:avLst/>
                <a:gdLst>
                  <a:gd name="T0" fmla="*/ 0 w 142"/>
                  <a:gd name="T1" fmla="*/ 10 h 10"/>
                  <a:gd name="T2" fmla="*/ 0 w 142"/>
                  <a:gd name="T3" fmla="*/ 0 h 10"/>
                  <a:gd name="T4" fmla="*/ 142 w 142"/>
                  <a:gd name="T5" fmla="*/ 0 h 10"/>
                  <a:gd name="T6" fmla="*/ 142 w 142"/>
                  <a:gd name="T7" fmla="*/ 10 h 10"/>
                </a:gdLst>
                <a:ahLst/>
                <a:cxnLst>
                  <a:cxn ang="0">
                    <a:pos x="T0" y="T1"/>
                  </a:cxn>
                  <a:cxn ang="0">
                    <a:pos x="T2" y="T3"/>
                  </a:cxn>
                  <a:cxn ang="0">
                    <a:pos x="T4" y="T5"/>
                  </a:cxn>
                  <a:cxn ang="0">
                    <a:pos x="T6" y="T7"/>
                  </a:cxn>
                </a:cxnLst>
                <a:rect l="0" t="0" r="r" b="b"/>
                <a:pathLst>
                  <a:path w="142" h="10">
                    <a:moveTo>
                      <a:pt x="0" y="10"/>
                    </a:moveTo>
                    <a:lnTo>
                      <a:pt x="0" y="0"/>
                    </a:lnTo>
                    <a:lnTo>
                      <a:pt x="142" y="0"/>
                    </a:lnTo>
                    <a:lnTo>
                      <a:pt x="142" y="10"/>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65" name="Line 320">
                <a:extLst>
                  <a:ext uri="{FF2B5EF4-FFF2-40B4-BE49-F238E27FC236}">
                    <a16:creationId xmlns:a16="http://schemas.microsoft.com/office/drawing/2014/main" id="{DE0936E5-0224-4C3C-9815-CA2E7C9781C1}"/>
                  </a:ext>
                </a:extLst>
              </p:cNvPr>
              <p:cNvSpPr>
                <a:spLocks noChangeShapeType="1"/>
              </p:cNvSpPr>
              <p:nvPr/>
            </p:nvSpPr>
            <p:spPr bwMode="auto">
              <a:xfrm>
                <a:off x="2851150" y="3044826"/>
                <a:ext cx="0" cy="46038"/>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41" name="Group 40">
            <a:extLst>
              <a:ext uri="{FF2B5EF4-FFF2-40B4-BE49-F238E27FC236}">
                <a16:creationId xmlns:a16="http://schemas.microsoft.com/office/drawing/2014/main" id="{7095B44D-041E-4DC3-A3B8-C4DBA721F0CF}"/>
              </a:ext>
            </a:extLst>
          </p:cNvPr>
          <p:cNvGrpSpPr/>
          <p:nvPr/>
        </p:nvGrpSpPr>
        <p:grpSpPr>
          <a:xfrm>
            <a:off x="3285644" y="2192112"/>
            <a:ext cx="1397000" cy="1397000"/>
            <a:chOff x="3438525" y="2143125"/>
            <a:chExt cx="1397000" cy="1397000"/>
          </a:xfrm>
        </p:grpSpPr>
        <p:sp>
          <p:nvSpPr>
            <p:cNvPr id="33" name="Freeform 25">
              <a:extLst>
                <a:ext uri="{FF2B5EF4-FFF2-40B4-BE49-F238E27FC236}">
                  <a16:creationId xmlns:a16="http://schemas.microsoft.com/office/drawing/2014/main" id="{82A9CD09-E5BD-4051-A55B-752BE1EA490F}"/>
                </a:ext>
              </a:extLst>
            </p:cNvPr>
            <p:cNvSpPr>
              <a:spLocks/>
            </p:cNvSpPr>
            <p:nvPr/>
          </p:nvSpPr>
          <p:spPr bwMode="auto">
            <a:xfrm>
              <a:off x="3438525" y="2143125"/>
              <a:ext cx="1397000" cy="1397000"/>
            </a:xfrm>
            <a:custGeom>
              <a:avLst/>
              <a:gdLst>
                <a:gd name="T0" fmla="*/ 276 w 336"/>
                <a:gd name="T1" fmla="*/ 276 h 336"/>
                <a:gd name="T2" fmla="*/ 60 w 336"/>
                <a:gd name="T3" fmla="*/ 276 h 336"/>
                <a:gd name="T4" fmla="*/ 60 w 336"/>
                <a:gd name="T5" fmla="*/ 60 h 336"/>
                <a:gd name="T6" fmla="*/ 276 w 336"/>
                <a:gd name="T7" fmla="*/ 60 h 336"/>
                <a:gd name="T8" fmla="*/ 276 w 336"/>
                <a:gd name="T9" fmla="*/ 276 h 336"/>
              </a:gdLst>
              <a:ahLst/>
              <a:cxnLst>
                <a:cxn ang="0">
                  <a:pos x="T0" y="T1"/>
                </a:cxn>
                <a:cxn ang="0">
                  <a:pos x="T2" y="T3"/>
                </a:cxn>
                <a:cxn ang="0">
                  <a:pos x="T4" y="T5"/>
                </a:cxn>
                <a:cxn ang="0">
                  <a:pos x="T6" y="T7"/>
                </a:cxn>
                <a:cxn ang="0">
                  <a:pos x="T8" y="T9"/>
                </a:cxn>
              </a:cxnLst>
              <a:rect l="0" t="0" r="r" b="b"/>
              <a:pathLst>
                <a:path w="336" h="336">
                  <a:moveTo>
                    <a:pt x="276" y="276"/>
                  </a:moveTo>
                  <a:cubicBezTo>
                    <a:pt x="217" y="336"/>
                    <a:pt x="120" y="336"/>
                    <a:pt x="60" y="276"/>
                  </a:cubicBezTo>
                  <a:cubicBezTo>
                    <a:pt x="0" y="217"/>
                    <a:pt x="0" y="120"/>
                    <a:pt x="60" y="60"/>
                  </a:cubicBezTo>
                  <a:cubicBezTo>
                    <a:pt x="120" y="0"/>
                    <a:pt x="217" y="0"/>
                    <a:pt x="276" y="60"/>
                  </a:cubicBezTo>
                  <a:cubicBezTo>
                    <a:pt x="336" y="120"/>
                    <a:pt x="336" y="217"/>
                    <a:pt x="276" y="276"/>
                  </a:cubicBezTo>
                  <a:close/>
                </a:path>
              </a:pathLst>
            </a:custGeom>
            <a:gradFill>
              <a:gsLst>
                <a:gs pos="0">
                  <a:srgbClr val="7CEFD8"/>
                </a:gs>
                <a:gs pos="50000">
                  <a:srgbClr val="6672E4"/>
                </a:gs>
                <a:gs pos="100000">
                  <a:srgbClr val="882BE5"/>
                </a:gs>
              </a:gsLst>
              <a:lin ang="7800000" scaled="0"/>
            </a:gra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66" name="Group 165">
              <a:extLst>
                <a:ext uri="{FF2B5EF4-FFF2-40B4-BE49-F238E27FC236}">
                  <a16:creationId xmlns:a16="http://schemas.microsoft.com/office/drawing/2014/main" id="{F3A32F3A-3EA3-4F6F-905C-AE7E326402EF}"/>
                </a:ext>
              </a:extLst>
            </p:cNvPr>
            <p:cNvGrpSpPr/>
            <p:nvPr/>
          </p:nvGrpSpPr>
          <p:grpSpPr>
            <a:xfrm>
              <a:off x="3810316" y="2465099"/>
              <a:ext cx="613094" cy="674403"/>
              <a:chOff x="3398838" y="2895601"/>
              <a:chExt cx="346075" cy="346075"/>
            </a:xfrm>
          </p:grpSpPr>
          <p:sp>
            <p:nvSpPr>
              <p:cNvPr id="167" name="Freeform 49">
                <a:extLst>
                  <a:ext uri="{FF2B5EF4-FFF2-40B4-BE49-F238E27FC236}">
                    <a16:creationId xmlns:a16="http://schemas.microsoft.com/office/drawing/2014/main" id="{740B54FD-C512-4C4B-90F2-B8FE96027793}"/>
                  </a:ext>
                </a:extLst>
              </p:cNvPr>
              <p:cNvSpPr>
                <a:spLocks/>
              </p:cNvSpPr>
              <p:nvPr/>
            </p:nvSpPr>
            <p:spPr bwMode="auto">
              <a:xfrm>
                <a:off x="3398838" y="2986089"/>
                <a:ext cx="82550" cy="58738"/>
              </a:xfrm>
              <a:custGeom>
                <a:avLst/>
                <a:gdLst>
                  <a:gd name="T0" fmla="*/ 14 w 22"/>
                  <a:gd name="T1" fmla="*/ 0 h 16"/>
                  <a:gd name="T2" fmla="*/ 14 w 22"/>
                  <a:gd name="T3" fmla="*/ 6 h 16"/>
                  <a:gd name="T4" fmla="*/ 4 w 22"/>
                  <a:gd name="T5" fmla="*/ 9 h 16"/>
                  <a:gd name="T6" fmla="*/ 0 w 22"/>
                  <a:gd name="T7" fmla="*/ 14 h 16"/>
                  <a:gd name="T8" fmla="*/ 0 w 22"/>
                  <a:gd name="T9" fmla="*/ 16 h 16"/>
                  <a:gd name="T10" fmla="*/ 22 w 22"/>
                  <a:gd name="T11" fmla="*/ 16 h 16"/>
                </a:gdLst>
                <a:ahLst/>
                <a:cxnLst>
                  <a:cxn ang="0">
                    <a:pos x="T0" y="T1"/>
                  </a:cxn>
                  <a:cxn ang="0">
                    <a:pos x="T2" y="T3"/>
                  </a:cxn>
                  <a:cxn ang="0">
                    <a:pos x="T4" y="T5"/>
                  </a:cxn>
                  <a:cxn ang="0">
                    <a:pos x="T6" y="T7"/>
                  </a:cxn>
                  <a:cxn ang="0">
                    <a:pos x="T8" y="T9"/>
                  </a:cxn>
                  <a:cxn ang="0">
                    <a:pos x="T10" y="T11"/>
                  </a:cxn>
                </a:cxnLst>
                <a:rect l="0" t="0" r="r" b="b"/>
                <a:pathLst>
                  <a:path w="22" h="16">
                    <a:moveTo>
                      <a:pt x="14" y="0"/>
                    </a:moveTo>
                    <a:cubicBezTo>
                      <a:pt x="14" y="6"/>
                      <a:pt x="14" y="6"/>
                      <a:pt x="14" y="6"/>
                    </a:cubicBezTo>
                    <a:cubicBezTo>
                      <a:pt x="4" y="9"/>
                      <a:pt x="4" y="9"/>
                      <a:pt x="4" y="9"/>
                    </a:cubicBezTo>
                    <a:cubicBezTo>
                      <a:pt x="2" y="10"/>
                      <a:pt x="0" y="12"/>
                      <a:pt x="0" y="14"/>
                    </a:cubicBezTo>
                    <a:cubicBezTo>
                      <a:pt x="0" y="16"/>
                      <a:pt x="0" y="16"/>
                      <a:pt x="0" y="16"/>
                    </a:cubicBezTo>
                    <a:cubicBezTo>
                      <a:pt x="22" y="16"/>
                      <a:pt x="22" y="16"/>
                      <a:pt x="22" y="16"/>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68" name="Freeform 50">
                <a:extLst>
                  <a:ext uri="{FF2B5EF4-FFF2-40B4-BE49-F238E27FC236}">
                    <a16:creationId xmlns:a16="http://schemas.microsoft.com/office/drawing/2014/main" id="{4FDC5A8D-821C-42CD-8C45-FB309BF76A4B}"/>
                  </a:ext>
                </a:extLst>
              </p:cNvPr>
              <p:cNvSpPr>
                <a:spLocks/>
              </p:cNvSpPr>
              <p:nvPr/>
            </p:nvSpPr>
            <p:spPr bwMode="auto">
              <a:xfrm>
                <a:off x="3467101" y="2986089"/>
                <a:ext cx="82550" cy="58738"/>
              </a:xfrm>
              <a:custGeom>
                <a:avLst/>
                <a:gdLst>
                  <a:gd name="T0" fmla="*/ 8 w 22"/>
                  <a:gd name="T1" fmla="*/ 0 h 16"/>
                  <a:gd name="T2" fmla="*/ 8 w 22"/>
                  <a:gd name="T3" fmla="*/ 6 h 16"/>
                  <a:gd name="T4" fmla="*/ 18 w 22"/>
                  <a:gd name="T5" fmla="*/ 9 h 16"/>
                  <a:gd name="T6" fmla="*/ 22 w 22"/>
                  <a:gd name="T7" fmla="*/ 14 h 16"/>
                  <a:gd name="T8" fmla="*/ 22 w 22"/>
                  <a:gd name="T9" fmla="*/ 16 h 16"/>
                  <a:gd name="T10" fmla="*/ 0 w 22"/>
                  <a:gd name="T11" fmla="*/ 16 h 16"/>
                </a:gdLst>
                <a:ahLst/>
                <a:cxnLst>
                  <a:cxn ang="0">
                    <a:pos x="T0" y="T1"/>
                  </a:cxn>
                  <a:cxn ang="0">
                    <a:pos x="T2" y="T3"/>
                  </a:cxn>
                  <a:cxn ang="0">
                    <a:pos x="T4" y="T5"/>
                  </a:cxn>
                  <a:cxn ang="0">
                    <a:pos x="T6" y="T7"/>
                  </a:cxn>
                  <a:cxn ang="0">
                    <a:pos x="T8" y="T9"/>
                  </a:cxn>
                  <a:cxn ang="0">
                    <a:pos x="T10" y="T11"/>
                  </a:cxn>
                </a:cxnLst>
                <a:rect l="0" t="0" r="r" b="b"/>
                <a:pathLst>
                  <a:path w="22" h="16">
                    <a:moveTo>
                      <a:pt x="8" y="0"/>
                    </a:moveTo>
                    <a:cubicBezTo>
                      <a:pt x="8" y="6"/>
                      <a:pt x="8" y="6"/>
                      <a:pt x="8" y="6"/>
                    </a:cubicBezTo>
                    <a:cubicBezTo>
                      <a:pt x="18" y="9"/>
                      <a:pt x="18" y="9"/>
                      <a:pt x="18" y="9"/>
                    </a:cubicBezTo>
                    <a:cubicBezTo>
                      <a:pt x="20" y="10"/>
                      <a:pt x="22" y="12"/>
                      <a:pt x="22" y="14"/>
                    </a:cubicBezTo>
                    <a:cubicBezTo>
                      <a:pt x="22" y="16"/>
                      <a:pt x="22" y="16"/>
                      <a:pt x="22" y="16"/>
                    </a:cubicBezTo>
                    <a:cubicBezTo>
                      <a:pt x="0" y="16"/>
                      <a:pt x="0" y="16"/>
                      <a:pt x="0" y="16"/>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69" name="Oval 51">
                <a:extLst>
                  <a:ext uri="{FF2B5EF4-FFF2-40B4-BE49-F238E27FC236}">
                    <a16:creationId xmlns:a16="http://schemas.microsoft.com/office/drawing/2014/main" id="{627888DD-F7D4-4895-B336-F188BAF1D77E}"/>
                  </a:ext>
                </a:extLst>
              </p:cNvPr>
              <p:cNvSpPr>
                <a:spLocks noChangeArrowheads="1"/>
              </p:cNvSpPr>
              <p:nvPr/>
            </p:nvSpPr>
            <p:spPr bwMode="auto">
              <a:xfrm>
                <a:off x="3429001" y="2895601"/>
                <a:ext cx="90488" cy="96838"/>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0" name="Freeform 52">
                <a:extLst>
                  <a:ext uri="{FF2B5EF4-FFF2-40B4-BE49-F238E27FC236}">
                    <a16:creationId xmlns:a16="http://schemas.microsoft.com/office/drawing/2014/main" id="{21C53BAF-A1BD-4D9D-8C56-C5A5E2964569}"/>
                  </a:ext>
                </a:extLst>
              </p:cNvPr>
              <p:cNvSpPr>
                <a:spLocks/>
              </p:cNvSpPr>
              <p:nvPr/>
            </p:nvSpPr>
            <p:spPr bwMode="auto">
              <a:xfrm>
                <a:off x="3429001" y="2928939"/>
                <a:ext cx="90488" cy="14288"/>
              </a:xfrm>
              <a:custGeom>
                <a:avLst/>
                <a:gdLst>
                  <a:gd name="T0" fmla="*/ 24 w 24"/>
                  <a:gd name="T1" fmla="*/ 2 h 4"/>
                  <a:gd name="T2" fmla="*/ 14 w 24"/>
                  <a:gd name="T3" fmla="*/ 0 h 4"/>
                  <a:gd name="T4" fmla="*/ 0 w 24"/>
                  <a:gd name="T5" fmla="*/ 1 h 4"/>
                </a:gdLst>
                <a:ahLst/>
                <a:cxnLst>
                  <a:cxn ang="0">
                    <a:pos x="T0" y="T1"/>
                  </a:cxn>
                  <a:cxn ang="0">
                    <a:pos x="T2" y="T3"/>
                  </a:cxn>
                  <a:cxn ang="0">
                    <a:pos x="T4" y="T5"/>
                  </a:cxn>
                </a:cxnLst>
                <a:rect l="0" t="0" r="r" b="b"/>
                <a:pathLst>
                  <a:path w="24" h="4">
                    <a:moveTo>
                      <a:pt x="24" y="2"/>
                    </a:moveTo>
                    <a:cubicBezTo>
                      <a:pt x="22" y="4"/>
                      <a:pt x="16" y="4"/>
                      <a:pt x="14" y="0"/>
                    </a:cubicBezTo>
                    <a:cubicBezTo>
                      <a:pt x="10" y="4"/>
                      <a:pt x="3" y="4"/>
                      <a:pt x="0" y="1"/>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1" name="Freeform 53">
                <a:extLst>
                  <a:ext uri="{FF2B5EF4-FFF2-40B4-BE49-F238E27FC236}">
                    <a16:creationId xmlns:a16="http://schemas.microsoft.com/office/drawing/2014/main" id="{B30A39F9-E915-4B71-94A4-3436CE4B9810}"/>
                  </a:ext>
                </a:extLst>
              </p:cNvPr>
              <p:cNvSpPr>
                <a:spLocks/>
              </p:cNvSpPr>
              <p:nvPr/>
            </p:nvSpPr>
            <p:spPr bwMode="auto">
              <a:xfrm>
                <a:off x="3594101" y="2986089"/>
                <a:ext cx="82550" cy="58738"/>
              </a:xfrm>
              <a:custGeom>
                <a:avLst/>
                <a:gdLst>
                  <a:gd name="T0" fmla="*/ 14 w 22"/>
                  <a:gd name="T1" fmla="*/ 0 h 16"/>
                  <a:gd name="T2" fmla="*/ 14 w 22"/>
                  <a:gd name="T3" fmla="*/ 6 h 16"/>
                  <a:gd name="T4" fmla="*/ 4 w 22"/>
                  <a:gd name="T5" fmla="*/ 9 h 16"/>
                  <a:gd name="T6" fmla="*/ 0 w 22"/>
                  <a:gd name="T7" fmla="*/ 14 h 16"/>
                  <a:gd name="T8" fmla="*/ 0 w 22"/>
                  <a:gd name="T9" fmla="*/ 16 h 16"/>
                  <a:gd name="T10" fmla="*/ 22 w 22"/>
                  <a:gd name="T11" fmla="*/ 16 h 16"/>
                </a:gdLst>
                <a:ahLst/>
                <a:cxnLst>
                  <a:cxn ang="0">
                    <a:pos x="T0" y="T1"/>
                  </a:cxn>
                  <a:cxn ang="0">
                    <a:pos x="T2" y="T3"/>
                  </a:cxn>
                  <a:cxn ang="0">
                    <a:pos x="T4" y="T5"/>
                  </a:cxn>
                  <a:cxn ang="0">
                    <a:pos x="T6" y="T7"/>
                  </a:cxn>
                  <a:cxn ang="0">
                    <a:pos x="T8" y="T9"/>
                  </a:cxn>
                  <a:cxn ang="0">
                    <a:pos x="T10" y="T11"/>
                  </a:cxn>
                </a:cxnLst>
                <a:rect l="0" t="0" r="r" b="b"/>
                <a:pathLst>
                  <a:path w="22" h="16">
                    <a:moveTo>
                      <a:pt x="14" y="0"/>
                    </a:moveTo>
                    <a:cubicBezTo>
                      <a:pt x="14" y="6"/>
                      <a:pt x="14" y="6"/>
                      <a:pt x="14" y="6"/>
                    </a:cubicBezTo>
                    <a:cubicBezTo>
                      <a:pt x="4" y="9"/>
                      <a:pt x="4" y="9"/>
                      <a:pt x="4" y="9"/>
                    </a:cubicBezTo>
                    <a:cubicBezTo>
                      <a:pt x="2" y="10"/>
                      <a:pt x="0" y="12"/>
                      <a:pt x="0" y="14"/>
                    </a:cubicBezTo>
                    <a:cubicBezTo>
                      <a:pt x="0" y="16"/>
                      <a:pt x="0" y="16"/>
                      <a:pt x="0" y="16"/>
                    </a:cubicBezTo>
                    <a:cubicBezTo>
                      <a:pt x="22" y="16"/>
                      <a:pt x="22" y="16"/>
                      <a:pt x="22" y="16"/>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2" name="Freeform 54">
                <a:extLst>
                  <a:ext uri="{FF2B5EF4-FFF2-40B4-BE49-F238E27FC236}">
                    <a16:creationId xmlns:a16="http://schemas.microsoft.com/office/drawing/2014/main" id="{92A91763-2FE9-4F49-81B3-F46A31888210}"/>
                  </a:ext>
                </a:extLst>
              </p:cNvPr>
              <p:cNvSpPr>
                <a:spLocks/>
              </p:cNvSpPr>
              <p:nvPr/>
            </p:nvSpPr>
            <p:spPr bwMode="auto">
              <a:xfrm>
                <a:off x="3662363" y="2986089"/>
                <a:ext cx="82550" cy="58738"/>
              </a:xfrm>
              <a:custGeom>
                <a:avLst/>
                <a:gdLst>
                  <a:gd name="T0" fmla="*/ 8 w 22"/>
                  <a:gd name="T1" fmla="*/ 0 h 16"/>
                  <a:gd name="T2" fmla="*/ 8 w 22"/>
                  <a:gd name="T3" fmla="*/ 6 h 16"/>
                  <a:gd name="T4" fmla="*/ 18 w 22"/>
                  <a:gd name="T5" fmla="*/ 9 h 16"/>
                  <a:gd name="T6" fmla="*/ 22 w 22"/>
                  <a:gd name="T7" fmla="*/ 14 h 16"/>
                  <a:gd name="T8" fmla="*/ 22 w 22"/>
                  <a:gd name="T9" fmla="*/ 16 h 16"/>
                  <a:gd name="T10" fmla="*/ 0 w 22"/>
                  <a:gd name="T11" fmla="*/ 16 h 16"/>
                </a:gdLst>
                <a:ahLst/>
                <a:cxnLst>
                  <a:cxn ang="0">
                    <a:pos x="T0" y="T1"/>
                  </a:cxn>
                  <a:cxn ang="0">
                    <a:pos x="T2" y="T3"/>
                  </a:cxn>
                  <a:cxn ang="0">
                    <a:pos x="T4" y="T5"/>
                  </a:cxn>
                  <a:cxn ang="0">
                    <a:pos x="T6" y="T7"/>
                  </a:cxn>
                  <a:cxn ang="0">
                    <a:pos x="T8" y="T9"/>
                  </a:cxn>
                  <a:cxn ang="0">
                    <a:pos x="T10" y="T11"/>
                  </a:cxn>
                </a:cxnLst>
                <a:rect l="0" t="0" r="r" b="b"/>
                <a:pathLst>
                  <a:path w="22" h="16">
                    <a:moveTo>
                      <a:pt x="8" y="0"/>
                    </a:moveTo>
                    <a:cubicBezTo>
                      <a:pt x="8" y="6"/>
                      <a:pt x="8" y="6"/>
                      <a:pt x="8" y="6"/>
                    </a:cubicBezTo>
                    <a:cubicBezTo>
                      <a:pt x="18" y="9"/>
                      <a:pt x="18" y="9"/>
                      <a:pt x="18" y="9"/>
                    </a:cubicBezTo>
                    <a:cubicBezTo>
                      <a:pt x="20" y="10"/>
                      <a:pt x="22" y="12"/>
                      <a:pt x="22" y="14"/>
                    </a:cubicBezTo>
                    <a:cubicBezTo>
                      <a:pt x="22" y="16"/>
                      <a:pt x="22" y="16"/>
                      <a:pt x="22" y="16"/>
                    </a:cubicBezTo>
                    <a:cubicBezTo>
                      <a:pt x="0" y="16"/>
                      <a:pt x="0" y="16"/>
                      <a:pt x="0" y="16"/>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3" name="Oval 55">
                <a:extLst>
                  <a:ext uri="{FF2B5EF4-FFF2-40B4-BE49-F238E27FC236}">
                    <a16:creationId xmlns:a16="http://schemas.microsoft.com/office/drawing/2014/main" id="{5D56157D-44A4-414B-A115-780567411345}"/>
                  </a:ext>
                </a:extLst>
              </p:cNvPr>
              <p:cNvSpPr>
                <a:spLocks noChangeArrowheads="1"/>
              </p:cNvSpPr>
              <p:nvPr/>
            </p:nvSpPr>
            <p:spPr bwMode="auto">
              <a:xfrm>
                <a:off x="3624263" y="2895601"/>
                <a:ext cx="90488" cy="96838"/>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4" name="Freeform 56">
                <a:extLst>
                  <a:ext uri="{FF2B5EF4-FFF2-40B4-BE49-F238E27FC236}">
                    <a16:creationId xmlns:a16="http://schemas.microsoft.com/office/drawing/2014/main" id="{62DA9A80-F152-45F5-94C2-BB31EDA3C093}"/>
                  </a:ext>
                </a:extLst>
              </p:cNvPr>
              <p:cNvSpPr>
                <a:spLocks/>
              </p:cNvSpPr>
              <p:nvPr/>
            </p:nvSpPr>
            <p:spPr bwMode="auto">
              <a:xfrm>
                <a:off x="3624263" y="2928939"/>
                <a:ext cx="90488" cy="14288"/>
              </a:xfrm>
              <a:custGeom>
                <a:avLst/>
                <a:gdLst>
                  <a:gd name="T0" fmla="*/ 24 w 24"/>
                  <a:gd name="T1" fmla="*/ 2 h 4"/>
                  <a:gd name="T2" fmla="*/ 14 w 24"/>
                  <a:gd name="T3" fmla="*/ 0 h 4"/>
                  <a:gd name="T4" fmla="*/ 0 w 24"/>
                  <a:gd name="T5" fmla="*/ 1 h 4"/>
                </a:gdLst>
                <a:ahLst/>
                <a:cxnLst>
                  <a:cxn ang="0">
                    <a:pos x="T0" y="T1"/>
                  </a:cxn>
                  <a:cxn ang="0">
                    <a:pos x="T2" y="T3"/>
                  </a:cxn>
                  <a:cxn ang="0">
                    <a:pos x="T4" y="T5"/>
                  </a:cxn>
                </a:cxnLst>
                <a:rect l="0" t="0" r="r" b="b"/>
                <a:pathLst>
                  <a:path w="24" h="4">
                    <a:moveTo>
                      <a:pt x="24" y="2"/>
                    </a:moveTo>
                    <a:cubicBezTo>
                      <a:pt x="22" y="4"/>
                      <a:pt x="16" y="4"/>
                      <a:pt x="14" y="0"/>
                    </a:cubicBezTo>
                    <a:cubicBezTo>
                      <a:pt x="10" y="4"/>
                      <a:pt x="3" y="4"/>
                      <a:pt x="0" y="1"/>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5" name="Freeform 57">
                <a:extLst>
                  <a:ext uri="{FF2B5EF4-FFF2-40B4-BE49-F238E27FC236}">
                    <a16:creationId xmlns:a16="http://schemas.microsoft.com/office/drawing/2014/main" id="{003EFD2E-CF90-4AC0-BEC7-7BC68564812B}"/>
                  </a:ext>
                </a:extLst>
              </p:cNvPr>
              <p:cNvSpPr>
                <a:spLocks/>
              </p:cNvSpPr>
              <p:nvPr/>
            </p:nvSpPr>
            <p:spPr bwMode="auto">
              <a:xfrm>
                <a:off x="3497263" y="3181351"/>
                <a:ext cx="82550" cy="60325"/>
              </a:xfrm>
              <a:custGeom>
                <a:avLst/>
                <a:gdLst>
                  <a:gd name="T0" fmla="*/ 14 w 22"/>
                  <a:gd name="T1" fmla="*/ 0 h 16"/>
                  <a:gd name="T2" fmla="*/ 14 w 22"/>
                  <a:gd name="T3" fmla="*/ 6 h 16"/>
                  <a:gd name="T4" fmla="*/ 4 w 22"/>
                  <a:gd name="T5" fmla="*/ 9 h 16"/>
                  <a:gd name="T6" fmla="*/ 0 w 22"/>
                  <a:gd name="T7" fmla="*/ 14 h 16"/>
                  <a:gd name="T8" fmla="*/ 0 w 22"/>
                  <a:gd name="T9" fmla="*/ 16 h 16"/>
                  <a:gd name="T10" fmla="*/ 22 w 22"/>
                  <a:gd name="T11" fmla="*/ 16 h 16"/>
                </a:gdLst>
                <a:ahLst/>
                <a:cxnLst>
                  <a:cxn ang="0">
                    <a:pos x="T0" y="T1"/>
                  </a:cxn>
                  <a:cxn ang="0">
                    <a:pos x="T2" y="T3"/>
                  </a:cxn>
                  <a:cxn ang="0">
                    <a:pos x="T4" y="T5"/>
                  </a:cxn>
                  <a:cxn ang="0">
                    <a:pos x="T6" y="T7"/>
                  </a:cxn>
                  <a:cxn ang="0">
                    <a:pos x="T8" y="T9"/>
                  </a:cxn>
                  <a:cxn ang="0">
                    <a:pos x="T10" y="T11"/>
                  </a:cxn>
                </a:cxnLst>
                <a:rect l="0" t="0" r="r" b="b"/>
                <a:pathLst>
                  <a:path w="22" h="16">
                    <a:moveTo>
                      <a:pt x="14" y="0"/>
                    </a:moveTo>
                    <a:cubicBezTo>
                      <a:pt x="14" y="6"/>
                      <a:pt x="14" y="6"/>
                      <a:pt x="14" y="6"/>
                    </a:cubicBezTo>
                    <a:cubicBezTo>
                      <a:pt x="4" y="9"/>
                      <a:pt x="4" y="9"/>
                      <a:pt x="4" y="9"/>
                    </a:cubicBezTo>
                    <a:cubicBezTo>
                      <a:pt x="2" y="10"/>
                      <a:pt x="0" y="12"/>
                      <a:pt x="0" y="14"/>
                    </a:cubicBezTo>
                    <a:cubicBezTo>
                      <a:pt x="0" y="16"/>
                      <a:pt x="0" y="16"/>
                      <a:pt x="0" y="16"/>
                    </a:cubicBezTo>
                    <a:cubicBezTo>
                      <a:pt x="22" y="16"/>
                      <a:pt x="22" y="16"/>
                      <a:pt x="22" y="16"/>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6" name="Freeform 58">
                <a:extLst>
                  <a:ext uri="{FF2B5EF4-FFF2-40B4-BE49-F238E27FC236}">
                    <a16:creationId xmlns:a16="http://schemas.microsoft.com/office/drawing/2014/main" id="{17D242C7-DED5-4760-974B-1C0C2CEDE00F}"/>
                  </a:ext>
                </a:extLst>
              </p:cNvPr>
              <p:cNvSpPr>
                <a:spLocks/>
              </p:cNvSpPr>
              <p:nvPr/>
            </p:nvSpPr>
            <p:spPr bwMode="auto">
              <a:xfrm>
                <a:off x="3563938" y="3181351"/>
                <a:ext cx="82550" cy="60325"/>
              </a:xfrm>
              <a:custGeom>
                <a:avLst/>
                <a:gdLst>
                  <a:gd name="T0" fmla="*/ 8 w 22"/>
                  <a:gd name="T1" fmla="*/ 0 h 16"/>
                  <a:gd name="T2" fmla="*/ 8 w 22"/>
                  <a:gd name="T3" fmla="*/ 6 h 16"/>
                  <a:gd name="T4" fmla="*/ 18 w 22"/>
                  <a:gd name="T5" fmla="*/ 9 h 16"/>
                  <a:gd name="T6" fmla="*/ 22 w 22"/>
                  <a:gd name="T7" fmla="*/ 14 h 16"/>
                  <a:gd name="T8" fmla="*/ 22 w 22"/>
                  <a:gd name="T9" fmla="*/ 16 h 16"/>
                  <a:gd name="T10" fmla="*/ 0 w 22"/>
                  <a:gd name="T11" fmla="*/ 16 h 16"/>
                </a:gdLst>
                <a:ahLst/>
                <a:cxnLst>
                  <a:cxn ang="0">
                    <a:pos x="T0" y="T1"/>
                  </a:cxn>
                  <a:cxn ang="0">
                    <a:pos x="T2" y="T3"/>
                  </a:cxn>
                  <a:cxn ang="0">
                    <a:pos x="T4" y="T5"/>
                  </a:cxn>
                  <a:cxn ang="0">
                    <a:pos x="T6" y="T7"/>
                  </a:cxn>
                  <a:cxn ang="0">
                    <a:pos x="T8" y="T9"/>
                  </a:cxn>
                  <a:cxn ang="0">
                    <a:pos x="T10" y="T11"/>
                  </a:cxn>
                </a:cxnLst>
                <a:rect l="0" t="0" r="r" b="b"/>
                <a:pathLst>
                  <a:path w="22" h="16">
                    <a:moveTo>
                      <a:pt x="8" y="0"/>
                    </a:moveTo>
                    <a:cubicBezTo>
                      <a:pt x="8" y="6"/>
                      <a:pt x="8" y="6"/>
                      <a:pt x="8" y="6"/>
                    </a:cubicBezTo>
                    <a:cubicBezTo>
                      <a:pt x="18" y="9"/>
                      <a:pt x="18" y="9"/>
                      <a:pt x="18" y="9"/>
                    </a:cubicBezTo>
                    <a:cubicBezTo>
                      <a:pt x="20" y="10"/>
                      <a:pt x="22" y="12"/>
                      <a:pt x="22" y="14"/>
                    </a:cubicBezTo>
                    <a:cubicBezTo>
                      <a:pt x="22" y="16"/>
                      <a:pt x="22" y="16"/>
                      <a:pt x="22" y="16"/>
                    </a:cubicBezTo>
                    <a:cubicBezTo>
                      <a:pt x="0" y="16"/>
                      <a:pt x="0" y="16"/>
                      <a:pt x="0" y="16"/>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7" name="Oval 59">
                <a:extLst>
                  <a:ext uri="{FF2B5EF4-FFF2-40B4-BE49-F238E27FC236}">
                    <a16:creationId xmlns:a16="http://schemas.microsoft.com/office/drawing/2014/main" id="{4029ED17-8FD3-4AF2-A688-F0EE0CED0B1E}"/>
                  </a:ext>
                </a:extLst>
              </p:cNvPr>
              <p:cNvSpPr>
                <a:spLocks noChangeArrowheads="1"/>
              </p:cNvSpPr>
              <p:nvPr/>
            </p:nvSpPr>
            <p:spPr bwMode="auto">
              <a:xfrm>
                <a:off x="3527426" y="3090864"/>
                <a:ext cx="88900" cy="96838"/>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8" name="Freeform 60">
                <a:extLst>
                  <a:ext uri="{FF2B5EF4-FFF2-40B4-BE49-F238E27FC236}">
                    <a16:creationId xmlns:a16="http://schemas.microsoft.com/office/drawing/2014/main" id="{635ABD1D-573A-4AEB-BA17-43168A9B888A}"/>
                  </a:ext>
                </a:extLst>
              </p:cNvPr>
              <p:cNvSpPr>
                <a:spLocks/>
              </p:cNvSpPr>
              <p:nvPr/>
            </p:nvSpPr>
            <p:spPr bwMode="auto">
              <a:xfrm>
                <a:off x="3527426" y="3124201"/>
                <a:ext cx="88900" cy="15875"/>
              </a:xfrm>
              <a:custGeom>
                <a:avLst/>
                <a:gdLst>
                  <a:gd name="T0" fmla="*/ 24 w 24"/>
                  <a:gd name="T1" fmla="*/ 2 h 4"/>
                  <a:gd name="T2" fmla="*/ 14 w 24"/>
                  <a:gd name="T3" fmla="*/ 0 h 4"/>
                  <a:gd name="T4" fmla="*/ 0 w 24"/>
                  <a:gd name="T5" fmla="*/ 1 h 4"/>
                </a:gdLst>
                <a:ahLst/>
                <a:cxnLst>
                  <a:cxn ang="0">
                    <a:pos x="T0" y="T1"/>
                  </a:cxn>
                  <a:cxn ang="0">
                    <a:pos x="T2" y="T3"/>
                  </a:cxn>
                  <a:cxn ang="0">
                    <a:pos x="T4" y="T5"/>
                  </a:cxn>
                </a:cxnLst>
                <a:rect l="0" t="0" r="r" b="b"/>
                <a:pathLst>
                  <a:path w="24" h="4">
                    <a:moveTo>
                      <a:pt x="24" y="2"/>
                    </a:moveTo>
                    <a:cubicBezTo>
                      <a:pt x="22" y="4"/>
                      <a:pt x="16" y="4"/>
                      <a:pt x="14" y="0"/>
                    </a:cubicBezTo>
                    <a:cubicBezTo>
                      <a:pt x="10" y="4"/>
                      <a:pt x="3" y="4"/>
                      <a:pt x="0" y="1"/>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9" name="Line 61">
                <a:extLst>
                  <a:ext uri="{FF2B5EF4-FFF2-40B4-BE49-F238E27FC236}">
                    <a16:creationId xmlns:a16="http://schemas.microsoft.com/office/drawing/2014/main" id="{5DC54740-A0D8-4879-95BC-57FB1ACC3E3D}"/>
                  </a:ext>
                </a:extLst>
              </p:cNvPr>
              <p:cNvSpPr>
                <a:spLocks noChangeShapeType="1"/>
              </p:cNvSpPr>
              <p:nvPr/>
            </p:nvSpPr>
            <p:spPr bwMode="auto">
              <a:xfrm>
                <a:off x="3451226" y="3074989"/>
                <a:ext cx="38100" cy="3810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0" name="Line 62">
                <a:extLst>
                  <a:ext uri="{FF2B5EF4-FFF2-40B4-BE49-F238E27FC236}">
                    <a16:creationId xmlns:a16="http://schemas.microsoft.com/office/drawing/2014/main" id="{E3DB3D49-FAF6-4080-AE40-81CF5899A3E2}"/>
                  </a:ext>
                </a:extLst>
              </p:cNvPr>
              <p:cNvSpPr>
                <a:spLocks noChangeShapeType="1"/>
              </p:cNvSpPr>
              <p:nvPr/>
            </p:nvSpPr>
            <p:spPr bwMode="auto">
              <a:xfrm flipH="1">
                <a:off x="3654426" y="3074989"/>
                <a:ext cx="38100" cy="3810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181" name="Group 180">
            <a:extLst>
              <a:ext uri="{FF2B5EF4-FFF2-40B4-BE49-F238E27FC236}">
                <a16:creationId xmlns:a16="http://schemas.microsoft.com/office/drawing/2014/main" id="{D14F9816-D761-44CD-80AC-A13A6A2BF4F4}"/>
              </a:ext>
            </a:extLst>
          </p:cNvPr>
          <p:cNvGrpSpPr/>
          <p:nvPr/>
        </p:nvGrpSpPr>
        <p:grpSpPr>
          <a:xfrm>
            <a:off x="2689153" y="3341472"/>
            <a:ext cx="584970" cy="615624"/>
            <a:chOff x="4127500" y="2909888"/>
            <a:chExt cx="330200" cy="315913"/>
          </a:xfrm>
        </p:grpSpPr>
        <p:sp>
          <p:nvSpPr>
            <p:cNvPr id="182" name="Oval 268">
              <a:extLst>
                <a:ext uri="{FF2B5EF4-FFF2-40B4-BE49-F238E27FC236}">
                  <a16:creationId xmlns:a16="http://schemas.microsoft.com/office/drawing/2014/main" id="{8D0C8D9D-E9ED-445E-B175-12C0160A5981}"/>
                </a:ext>
              </a:extLst>
            </p:cNvPr>
            <p:cNvSpPr>
              <a:spLocks noChangeArrowheads="1"/>
            </p:cNvSpPr>
            <p:nvPr/>
          </p:nvSpPr>
          <p:spPr bwMode="auto">
            <a:xfrm>
              <a:off x="4149725" y="3060701"/>
              <a:ext cx="76200" cy="74613"/>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3" name="Freeform 269">
              <a:extLst>
                <a:ext uri="{FF2B5EF4-FFF2-40B4-BE49-F238E27FC236}">
                  <a16:creationId xmlns:a16="http://schemas.microsoft.com/office/drawing/2014/main" id="{86759DBE-9B84-4D15-8B20-34E76E5F570C}"/>
                </a:ext>
              </a:extLst>
            </p:cNvPr>
            <p:cNvSpPr>
              <a:spLocks/>
            </p:cNvSpPr>
            <p:nvPr/>
          </p:nvSpPr>
          <p:spPr bwMode="auto">
            <a:xfrm>
              <a:off x="4127500" y="3135313"/>
              <a:ext cx="109538" cy="60325"/>
            </a:xfrm>
            <a:custGeom>
              <a:avLst/>
              <a:gdLst>
                <a:gd name="T0" fmla="*/ 22 w 29"/>
                <a:gd name="T1" fmla="*/ 16 h 16"/>
                <a:gd name="T2" fmla="*/ 0 w 29"/>
                <a:gd name="T3" fmla="*/ 16 h 16"/>
                <a:gd name="T4" fmla="*/ 16 w 29"/>
                <a:gd name="T5" fmla="*/ 0 h 16"/>
                <a:gd name="T6" fmla="*/ 29 w 29"/>
                <a:gd name="T7" fmla="*/ 7 h 16"/>
              </a:gdLst>
              <a:ahLst/>
              <a:cxnLst>
                <a:cxn ang="0">
                  <a:pos x="T0" y="T1"/>
                </a:cxn>
                <a:cxn ang="0">
                  <a:pos x="T2" y="T3"/>
                </a:cxn>
                <a:cxn ang="0">
                  <a:pos x="T4" y="T5"/>
                </a:cxn>
                <a:cxn ang="0">
                  <a:pos x="T6" y="T7"/>
                </a:cxn>
              </a:cxnLst>
              <a:rect l="0" t="0" r="r" b="b"/>
              <a:pathLst>
                <a:path w="29" h="16">
                  <a:moveTo>
                    <a:pt x="22" y="16"/>
                  </a:moveTo>
                  <a:cubicBezTo>
                    <a:pt x="0" y="16"/>
                    <a:pt x="0" y="16"/>
                    <a:pt x="0" y="16"/>
                  </a:cubicBezTo>
                  <a:cubicBezTo>
                    <a:pt x="0" y="7"/>
                    <a:pt x="7" y="0"/>
                    <a:pt x="16" y="0"/>
                  </a:cubicBezTo>
                  <a:cubicBezTo>
                    <a:pt x="21" y="0"/>
                    <a:pt x="26" y="3"/>
                    <a:pt x="29" y="7"/>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4" name="Oval 270">
              <a:extLst>
                <a:ext uri="{FF2B5EF4-FFF2-40B4-BE49-F238E27FC236}">
                  <a16:creationId xmlns:a16="http://schemas.microsoft.com/office/drawing/2014/main" id="{0524A632-17BB-4AA9-A49C-41BE94905C34}"/>
                </a:ext>
              </a:extLst>
            </p:cNvPr>
            <p:cNvSpPr>
              <a:spLocks noChangeArrowheads="1"/>
            </p:cNvSpPr>
            <p:nvPr/>
          </p:nvSpPr>
          <p:spPr bwMode="auto">
            <a:xfrm>
              <a:off x="4360863" y="3060701"/>
              <a:ext cx="74613" cy="74613"/>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5" name="Freeform 271">
              <a:extLst>
                <a:ext uri="{FF2B5EF4-FFF2-40B4-BE49-F238E27FC236}">
                  <a16:creationId xmlns:a16="http://schemas.microsoft.com/office/drawing/2014/main" id="{D502FFDD-28F4-4AA4-B259-B57867A0C506}"/>
                </a:ext>
              </a:extLst>
            </p:cNvPr>
            <p:cNvSpPr>
              <a:spLocks/>
            </p:cNvSpPr>
            <p:nvPr/>
          </p:nvSpPr>
          <p:spPr bwMode="auto">
            <a:xfrm>
              <a:off x="4349750" y="3135313"/>
              <a:ext cx="107950" cy="60325"/>
            </a:xfrm>
            <a:custGeom>
              <a:avLst/>
              <a:gdLst>
                <a:gd name="T0" fmla="*/ 0 w 29"/>
                <a:gd name="T1" fmla="*/ 7 h 16"/>
                <a:gd name="T2" fmla="*/ 13 w 29"/>
                <a:gd name="T3" fmla="*/ 0 h 16"/>
                <a:gd name="T4" fmla="*/ 29 w 29"/>
                <a:gd name="T5" fmla="*/ 16 h 16"/>
                <a:gd name="T6" fmla="*/ 7 w 29"/>
                <a:gd name="T7" fmla="*/ 16 h 16"/>
              </a:gdLst>
              <a:ahLst/>
              <a:cxnLst>
                <a:cxn ang="0">
                  <a:pos x="T0" y="T1"/>
                </a:cxn>
                <a:cxn ang="0">
                  <a:pos x="T2" y="T3"/>
                </a:cxn>
                <a:cxn ang="0">
                  <a:pos x="T4" y="T5"/>
                </a:cxn>
                <a:cxn ang="0">
                  <a:pos x="T6" y="T7"/>
                </a:cxn>
              </a:cxnLst>
              <a:rect l="0" t="0" r="r" b="b"/>
              <a:pathLst>
                <a:path w="29" h="16">
                  <a:moveTo>
                    <a:pt x="0" y="7"/>
                  </a:moveTo>
                  <a:cubicBezTo>
                    <a:pt x="3" y="3"/>
                    <a:pt x="8" y="0"/>
                    <a:pt x="13" y="0"/>
                  </a:cubicBezTo>
                  <a:cubicBezTo>
                    <a:pt x="22" y="0"/>
                    <a:pt x="29" y="7"/>
                    <a:pt x="29" y="16"/>
                  </a:cubicBezTo>
                  <a:cubicBezTo>
                    <a:pt x="7" y="16"/>
                    <a:pt x="7" y="16"/>
                    <a:pt x="7" y="16"/>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6" name="Oval 272">
              <a:extLst>
                <a:ext uri="{FF2B5EF4-FFF2-40B4-BE49-F238E27FC236}">
                  <a16:creationId xmlns:a16="http://schemas.microsoft.com/office/drawing/2014/main" id="{074B1DAE-77A3-4CE2-BB5F-6E109DFB6B0C}"/>
                </a:ext>
              </a:extLst>
            </p:cNvPr>
            <p:cNvSpPr>
              <a:spLocks noChangeArrowheads="1"/>
            </p:cNvSpPr>
            <p:nvPr/>
          </p:nvSpPr>
          <p:spPr bwMode="auto">
            <a:xfrm>
              <a:off x="4240213" y="3030538"/>
              <a:ext cx="104775" cy="109538"/>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7" name="Freeform 273">
              <a:extLst>
                <a:ext uri="{FF2B5EF4-FFF2-40B4-BE49-F238E27FC236}">
                  <a16:creationId xmlns:a16="http://schemas.microsoft.com/office/drawing/2014/main" id="{6F4FD849-C2CF-4E95-92A3-DF3CD12C6031}"/>
                </a:ext>
              </a:extLst>
            </p:cNvPr>
            <p:cNvSpPr>
              <a:spLocks/>
            </p:cNvSpPr>
            <p:nvPr/>
          </p:nvSpPr>
          <p:spPr bwMode="auto">
            <a:xfrm>
              <a:off x="4214813" y="2986088"/>
              <a:ext cx="157163" cy="36513"/>
            </a:xfrm>
            <a:custGeom>
              <a:avLst/>
              <a:gdLst>
                <a:gd name="T0" fmla="*/ 0 w 42"/>
                <a:gd name="T1" fmla="*/ 10 h 10"/>
                <a:gd name="T2" fmla="*/ 21 w 42"/>
                <a:gd name="T3" fmla="*/ 0 h 10"/>
                <a:gd name="T4" fmla="*/ 42 w 42"/>
                <a:gd name="T5" fmla="*/ 10 h 10"/>
              </a:gdLst>
              <a:ahLst/>
              <a:cxnLst>
                <a:cxn ang="0">
                  <a:pos x="T0" y="T1"/>
                </a:cxn>
                <a:cxn ang="0">
                  <a:pos x="T2" y="T3"/>
                </a:cxn>
                <a:cxn ang="0">
                  <a:pos x="T4" y="T5"/>
                </a:cxn>
              </a:cxnLst>
              <a:rect l="0" t="0" r="r" b="b"/>
              <a:pathLst>
                <a:path w="42" h="10">
                  <a:moveTo>
                    <a:pt x="0" y="10"/>
                  </a:moveTo>
                  <a:cubicBezTo>
                    <a:pt x="5" y="4"/>
                    <a:pt x="13" y="0"/>
                    <a:pt x="21" y="0"/>
                  </a:cubicBezTo>
                  <a:cubicBezTo>
                    <a:pt x="29" y="0"/>
                    <a:pt x="37" y="4"/>
                    <a:pt x="42" y="1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8" name="Freeform 274">
              <a:extLst>
                <a:ext uri="{FF2B5EF4-FFF2-40B4-BE49-F238E27FC236}">
                  <a16:creationId xmlns:a16="http://schemas.microsoft.com/office/drawing/2014/main" id="{E95CA879-26B6-4158-84CA-E13BF1DBB284}"/>
                </a:ext>
              </a:extLst>
            </p:cNvPr>
            <p:cNvSpPr>
              <a:spLocks/>
            </p:cNvSpPr>
            <p:nvPr/>
          </p:nvSpPr>
          <p:spPr bwMode="auto">
            <a:xfrm>
              <a:off x="4187825" y="2947988"/>
              <a:ext cx="211138" cy="49213"/>
            </a:xfrm>
            <a:custGeom>
              <a:avLst/>
              <a:gdLst>
                <a:gd name="T0" fmla="*/ 0 w 56"/>
                <a:gd name="T1" fmla="*/ 13 h 13"/>
                <a:gd name="T2" fmla="*/ 28 w 56"/>
                <a:gd name="T3" fmla="*/ 0 h 13"/>
                <a:gd name="T4" fmla="*/ 56 w 56"/>
                <a:gd name="T5" fmla="*/ 13 h 13"/>
              </a:gdLst>
              <a:ahLst/>
              <a:cxnLst>
                <a:cxn ang="0">
                  <a:pos x="T0" y="T1"/>
                </a:cxn>
                <a:cxn ang="0">
                  <a:pos x="T2" y="T3"/>
                </a:cxn>
                <a:cxn ang="0">
                  <a:pos x="T4" y="T5"/>
                </a:cxn>
              </a:cxnLst>
              <a:rect l="0" t="0" r="r" b="b"/>
              <a:pathLst>
                <a:path w="56" h="13">
                  <a:moveTo>
                    <a:pt x="0" y="13"/>
                  </a:moveTo>
                  <a:cubicBezTo>
                    <a:pt x="7" y="5"/>
                    <a:pt x="17" y="0"/>
                    <a:pt x="28" y="0"/>
                  </a:cubicBezTo>
                  <a:cubicBezTo>
                    <a:pt x="39" y="0"/>
                    <a:pt x="49" y="5"/>
                    <a:pt x="56" y="13"/>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9" name="Freeform 275">
              <a:extLst>
                <a:ext uri="{FF2B5EF4-FFF2-40B4-BE49-F238E27FC236}">
                  <a16:creationId xmlns:a16="http://schemas.microsoft.com/office/drawing/2014/main" id="{E086F5C4-405F-457A-B470-EDF08E80A41A}"/>
                </a:ext>
              </a:extLst>
            </p:cNvPr>
            <p:cNvSpPr>
              <a:spLocks/>
            </p:cNvSpPr>
            <p:nvPr/>
          </p:nvSpPr>
          <p:spPr bwMode="auto">
            <a:xfrm>
              <a:off x="4157663" y="2909888"/>
              <a:ext cx="269875" cy="63500"/>
            </a:xfrm>
            <a:custGeom>
              <a:avLst/>
              <a:gdLst>
                <a:gd name="T0" fmla="*/ 0 w 72"/>
                <a:gd name="T1" fmla="*/ 17 h 17"/>
                <a:gd name="T2" fmla="*/ 36 w 72"/>
                <a:gd name="T3" fmla="*/ 0 h 17"/>
                <a:gd name="T4" fmla="*/ 72 w 72"/>
                <a:gd name="T5" fmla="*/ 17 h 17"/>
              </a:gdLst>
              <a:ahLst/>
              <a:cxnLst>
                <a:cxn ang="0">
                  <a:pos x="T0" y="T1"/>
                </a:cxn>
                <a:cxn ang="0">
                  <a:pos x="T2" y="T3"/>
                </a:cxn>
                <a:cxn ang="0">
                  <a:pos x="T4" y="T5"/>
                </a:cxn>
              </a:cxnLst>
              <a:rect l="0" t="0" r="r" b="b"/>
              <a:pathLst>
                <a:path w="72" h="17">
                  <a:moveTo>
                    <a:pt x="0" y="17"/>
                  </a:moveTo>
                  <a:cubicBezTo>
                    <a:pt x="8" y="7"/>
                    <a:pt x="21" y="0"/>
                    <a:pt x="36" y="0"/>
                  </a:cubicBezTo>
                  <a:cubicBezTo>
                    <a:pt x="51" y="0"/>
                    <a:pt x="64" y="7"/>
                    <a:pt x="72" y="17"/>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0" name="Freeform 276">
              <a:extLst>
                <a:ext uri="{FF2B5EF4-FFF2-40B4-BE49-F238E27FC236}">
                  <a16:creationId xmlns:a16="http://schemas.microsoft.com/office/drawing/2014/main" id="{8CDF0588-DA3B-4B0D-BDF8-DE1AF3941577}"/>
                </a:ext>
              </a:extLst>
            </p:cNvPr>
            <p:cNvSpPr>
              <a:spLocks/>
            </p:cNvSpPr>
            <p:nvPr/>
          </p:nvSpPr>
          <p:spPr bwMode="auto">
            <a:xfrm>
              <a:off x="4206875" y="3140076"/>
              <a:ext cx="173038" cy="85725"/>
            </a:xfrm>
            <a:custGeom>
              <a:avLst/>
              <a:gdLst>
                <a:gd name="T0" fmla="*/ 46 w 46"/>
                <a:gd name="T1" fmla="*/ 23 h 23"/>
                <a:gd name="T2" fmla="*/ 0 w 46"/>
                <a:gd name="T3" fmla="*/ 23 h 23"/>
                <a:gd name="T4" fmla="*/ 23 w 46"/>
                <a:gd name="T5" fmla="*/ 0 h 23"/>
                <a:gd name="T6" fmla="*/ 46 w 46"/>
                <a:gd name="T7" fmla="*/ 23 h 23"/>
              </a:gdLst>
              <a:ahLst/>
              <a:cxnLst>
                <a:cxn ang="0">
                  <a:pos x="T0" y="T1"/>
                </a:cxn>
                <a:cxn ang="0">
                  <a:pos x="T2" y="T3"/>
                </a:cxn>
                <a:cxn ang="0">
                  <a:pos x="T4" y="T5"/>
                </a:cxn>
                <a:cxn ang="0">
                  <a:pos x="T6" y="T7"/>
                </a:cxn>
              </a:cxnLst>
              <a:rect l="0" t="0" r="r" b="b"/>
              <a:pathLst>
                <a:path w="46" h="23">
                  <a:moveTo>
                    <a:pt x="46" y="23"/>
                  </a:moveTo>
                  <a:cubicBezTo>
                    <a:pt x="0" y="23"/>
                    <a:pt x="0" y="23"/>
                    <a:pt x="0" y="23"/>
                  </a:cubicBezTo>
                  <a:cubicBezTo>
                    <a:pt x="0" y="10"/>
                    <a:pt x="10" y="0"/>
                    <a:pt x="23" y="0"/>
                  </a:cubicBezTo>
                  <a:cubicBezTo>
                    <a:pt x="36" y="0"/>
                    <a:pt x="46" y="10"/>
                    <a:pt x="46" y="23"/>
                  </a:cubicBez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42" name="Group 41">
            <a:extLst>
              <a:ext uri="{FF2B5EF4-FFF2-40B4-BE49-F238E27FC236}">
                <a16:creationId xmlns:a16="http://schemas.microsoft.com/office/drawing/2014/main" id="{0F9B9E83-7B40-4A58-B9B6-072ADD8AF2AD}"/>
              </a:ext>
            </a:extLst>
          </p:cNvPr>
          <p:cNvGrpSpPr/>
          <p:nvPr/>
        </p:nvGrpSpPr>
        <p:grpSpPr>
          <a:xfrm>
            <a:off x="2537931" y="4211412"/>
            <a:ext cx="1271588" cy="1273175"/>
            <a:chOff x="2690812" y="4162425"/>
            <a:chExt cx="1271588" cy="1273175"/>
          </a:xfrm>
        </p:grpSpPr>
        <p:sp>
          <p:nvSpPr>
            <p:cNvPr id="32" name="Oval 24">
              <a:extLst>
                <a:ext uri="{FF2B5EF4-FFF2-40B4-BE49-F238E27FC236}">
                  <a16:creationId xmlns:a16="http://schemas.microsoft.com/office/drawing/2014/main" id="{16A34343-0998-42BB-80E4-28FB10F8BF29}"/>
                </a:ext>
              </a:extLst>
            </p:cNvPr>
            <p:cNvSpPr>
              <a:spLocks noChangeArrowheads="1"/>
            </p:cNvSpPr>
            <p:nvPr/>
          </p:nvSpPr>
          <p:spPr bwMode="auto">
            <a:xfrm>
              <a:off x="2690812" y="4162425"/>
              <a:ext cx="1271588" cy="1273175"/>
            </a:xfrm>
            <a:prstGeom prst="ellipse">
              <a:avLst/>
            </a:prstGeom>
            <a:gradFill>
              <a:gsLst>
                <a:gs pos="0">
                  <a:srgbClr val="7CEFD8"/>
                </a:gs>
                <a:gs pos="50000">
                  <a:srgbClr val="6672E4"/>
                </a:gs>
                <a:gs pos="100000">
                  <a:srgbClr val="882BE5"/>
                </a:gs>
              </a:gsLst>
              <a:lin ang="7800000" scaled="0"/>
            </a:gra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191" name="Group 190">
              <a:extLst>
                <a:ext uri="{FF2B5EF4-FFF2-40B4-BE49-F238E27FC236}">
                  <a16:creationId xmlns:a16="http://schemas.microsoft.com/office/drawing/2014/main" id="{6EF0E095-962C-4FF0-89AE-50E91D8B01BD}"/>
                </a:ext>
              </a:extLst>
            </p:cNvPr>
            <p:cNvGrpSpPr/>
            <p:nvPr/>
          </p:nvGrpSpPr>
          <p:grpSpPr>
            <a:xfrm>
              <a:off x="3011359" y="4426329"/>
              <a:ext cx="610282" cy="674403"/>
              <a:chOff x="4841875" y="2895601"/>
              <a:chExt cx="344488" cy="346075"/>
            </a:xfrm>
          </p:grpSpPr>
          <p:sp>
            <p:nvSpPr>
              <p:cNvPr id="192" name="Freeform 258">
                <a:extLst>
                  <a:ext uri="{FF2B5EF4-FFF2-40B4-BE49-F238E27FC236}">
                    <a16:creationId xmlns:a16="http://schemas.microsoft.com/office/drawing/2014/main" id="{6406E6B6-1167-46C8-948E-C5EF17DA0E44}"/>
                  </a:ext>
                </a:extLst>
              </p:cNvPr>
              <p:cNvSpPr>
                <a:spLocks/>
              </p:cNvSpPr>
              <p:nvPr/>
            </p:nvSpPr>
            <p:spPr bwMode="auto">
              <a:xfrm>
                <a:off x="4916488" y="2895601"/>
                <a:ext cx="195263" cy="195263"/>
              </a:xfrm>
              <a:custGeom>
                <a:avLst/>
                <a:gdLst>
                  <a:gd name="T0" fmla="*/ 52 w 52"/>
                  <a:gd name="T1" fmla="*/ 26 h 52"/>
                  <a:gd name="T2" fmla="*/ 26 w 52"/>
                  <a:gd name="T3" fmla="*/ 52 h 52"/>
                  <a:gd name="T4" fmla="*/ 0 w 52"/>
                  <a:gd name="T5" fmla="*/ 25 h 52"/>
                  <a:gd name="T6" fmla="*/ 25 w 52"/>
                  <a:gd name="T7" fmla="*/ 0 h 52"/>
                  <a:gd name="T8" fmla="*/ 26 w 52"/>
                  <a:gd name="T9" fmla="*/ 0 h 52"/>
                  <a:gd name="T10" fmla="*/ 52 w 52"/>
                  <a:gd name="T11" fmla="*/ 26 h 52"/>
                </a:gdLst>
                <a:ahLst/>
                <a:cxnLst>
                  <a:cxn ang="0">
                    <a:pos x="T0" y="T1"/>
                  </a:cxn>
                  <a:cxn ang="0">
                    <a:pos x="T2" y="T3"/>
                  </a:cxn>
                  <a:cxn ang="0">
                    <a:pos x="T4" y="T5"/>
                  </a:cxn>
                  <a:cxn ang="0">
                    <a:pos x="T6" y="T7"/>
                  </a:cxn>
                  <a:cxn ang="0">
                    <a:pos x="T8" y="T9"/>
                  </a:cxn>
                  <a:cxn ang="0">
                    <a:pos x="T10" y="T11"/>
                  </a:cxn>
                </a:cxnLst>
                <a:rect l="0" t="0" r="r" b="b"/>
                <a:pathLst>
                  <a:path w="52" h="52">
                    <a:moveTo>
                      <a:pt x="52" y="26"/>
                    </a:moveTo>
                    <a:cubicBezTo>
                      <a:pt x="52" y="40"/>
                      <a:pt x="40" y="52"/>
                      <a:pt x="26" y="52"/>
                    </a:cubicBezTo>
                    <a:cubicBezTo>
                      <a:pt x="12" y="52"/>
                      <a:pt x="0" y="40"/>
                      <a:pt x="0" y="25"/>
                    </a:cubicBezTo>
                    <a:cubicBezTo>
                      <a:pt x="0" y="11"/>
                      <a:pt x="11" y="1"/>
                      <a:pt x="25" y="0"/>
                    </a:cubicBezTo>
                    <a:cubicBezTo>
                      <a:pt x="25" y="0"/>
                      <a:pt x="26" y="0"/>
                      <a:pt x="26" y="0"/>
                    </a:cubicBezTo>
                    <a:cubicBezTo>
                      <a:pt x="40" y="0"/>
                      <a:pt x="52" y="11"/>
                      <a:pt x="52" y="26"/>
                    </a:cubicBez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3" name="Freeform 259">
                <a:extLst>
                  <a:ext uri="{FF2B5EF4-FFF2-40B4-BE49-F238E27FC236}">
                    <a16:creationId xmlns:a16="http://schemas.microsoft.com/office/drawing/2014/main" id="{72ECCE91-FE4E-4D18-8094-A898EA086327}"/>
                  </a:ext>
                </a:extLst>
              </p:cNvPr>
              <p:cNvSpPr>
                <a:spLocks/>
              </p:cNvSpPr>
              <p:nvPr/>
            </p:nvSpPr>
            <p:spPr bwMode="auto">
              <a:xfrm>
                <a:off x="4957763" y="2895601"/>
                <a:ext cx="52388" cy="195263"/>
              </a:xfrm>
              <a:custGeom>
                <a:avLst/>
                <a:gdLst>
                  <a:gd name="T0" fmla="*/ 14 w 14"/>
                  <a:gd name="T1" fmla="*/ 0 h 52"/>
                  <a:gd name="T2" fmla="*/ 14 w 14"/>
                  <a:gd name="T3" fmla="*/ 52 h 52"/>
                </a:gdLst>
                <a:ahLst/>
                <a:cxnLst>
                  <a:cxn ang="0">
                    <a:pos x="T0" y="T1"/>
                  </a:cxn>
                  <a:cxn ang="0">
                    <a:pos x="T2" y="T3"/>
                  </a:cxn>
                </a:cxnLst>
                <a:rect l="0" t="0" r="r" b="b"/>
                <a:pathLst>
                  <a:path w="14" h="52">
                    <a:moveTo>
                      <a:pt x="14" y="0"/>
                    </a:moveTo>
                    <a:cubicBezTo>
                      <a:pt x="0" y="15"/>
                      <a:pt x="0" y="34"/>
                      <a:pt x="14" y="52"/>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4" name="Freeform 260">
                <a:extLst>
                  <a:ext uri="{FF2B5EF4-FFF2-40B4-BE49-F238E27FC236}">
                    <a16:creationId xmlns:a16="http://schemas.microsoft.com/office/drawing/2014/main" id="{3548F75A-EA11-4316-A1F6-0CAEB67876FF}"/>
                  </a:ext>
                </a:extLst>
              </p:cNvPr>
              <p:cNvSpPr>
                <a:spLocks/>
              </p:cNvSpPr>
              <p:nvPr/>
            </p:nvSpPr>
            <p:spPr bwMode="auto">
              <a:xfrm>
                <a:off x="5018088" y="2895601"/>
                <a:ext cx="52388" cy="195263"/>
              </a:xfrm>
              <a:custGeom>
                <a:avLst/>
                <a:gdLst>
                  <a:gd name="T0" fmla="*/ 0 w 14"/>
                  <a:gd name="T1" fmla="*/ 0 h 52"/>
                  <a:gd name="T2" fmla="*/ 0 w 14"/>
                  <a:gd name="T3" fmla="*/ 52 h 52"/>
                </a:gdLst>
                <a:ahLst/>
                <a:cxnLst>
                  <a:cxn ang="0">
                    <a:pos x="T0" y="T1"/>
                  </a:cxn>
                  <a:cxn ang="0">
                    <a:pos x="T2" y="T3"/>
                  </a:cxn>
                </a:cxnLst>
                <a:rect l="0" t="0" r="r" b="b"/>
                <a:pathLst>
                  <a:path w="14" h="52">
                    <a:moveTo>
                      <a:pt x="0" y="0"/>
                    </a:moveTo>
                    <a:cubicBezTo>
                      <a:pt x="14" y="15"/>
                      <a:pt x="14" y="34"/>
                      <a:pt x="0" y="52"/>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5" name="Line 261">
                <a:extLst>
                  <a:ext uri="{FF2B5EF4-FFF2-40B4-BE49-F238E27FC236}">
                    <a16:creationId xmlns:a16="http://schemas.microsoft.com/office/drawing/2014/main" id="{5124F4E9-141F-499A-8EEC-1241D51B25CD}"/>
                  </a:ext>
                </a:extLst>
              </p:cNvPr>
              <p:cNvSpPr>
                <a:spLocks noChangeShapeType="1"/>
              </p:cNvSpPr>
              <p:nvPr/>
            </p:nvSpPr>
            <p:spPr bwMode="auto">
              <a:xfrm>
                <a:off x="4932363" y="3044826"/>
                <a:ext cx="165100" cy="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6" name="Line 262">
                <a:extLst>
                  <a:ext uri="{FF2B5EF4-FFF2-40B4-BE49-F238E27FC236}">
                    <a16:creationId xmlns:a16="http://schemas.microsoft.com/office/drawing/2014/main" id="{F8299F61-1975-4EE9-BAB2-3CE9A446F738}"/>
                  </a:ext>
                </a:extLst>
              </p:cNvPr>
              <p:cNvSpPr>
                <a:spLocks noChangeShapeType="1"/>
              </p:cNvSpPr>
              <p:nvPr/>
            </p:nvSpPr>
            <p:spPr bwMode="auto">
              <a:xfrm>
                <a:off x="4932363" y="2940051"/>
                <a:ext cx="165100" cy="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7" name="Line 263">
                <a:extLst>
                  <a:ext uri="{FF2B5EF4-FFF2-40B4-BE49-F238E27FC236}">
                    <a16:creationId xmlns:a16="http://schemas.microsoft.com/office/drawing/2014/main" id="{21DCC590-EB7E-4BE9-BE74-8FD7163D4D78}"/>
                  </a:ext>
                </a:extLst>
              </p:cNvPr>
              <p:cNvSpPr>
                <a:spLocks noChangeShapeType="1"/>
              </p:cNvSpPr>
              <p:nvPr/>
            </p:nvSpPr>
            <p:spPr bwMode="auto">
              <a:xfrm>
                <a:off x="4916488" y="2992438"/>
                <a:ext cx="195263" cy="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dirty="0"/>
              </a:p>
            </p:txBody>
          </p:sp>
          <p:sp>
            <p:nvSpPr>
              <p:cNvPr id="198" name="Oval 264">
                <a:extLst>
                  <a:ext uri="{FF2B5EF4-FFF2-40B4-BE49-F238E27FC236}">
                    <a16:creationId xmlns:a16="http://schemas.microsoft.com/office/drawing/2014/main" id="{9DD4333D-6A4C-43A4-873D-73945A8A372F}"/>
                  </a:ext>
                </a:extLst>
              </p:cNvPr>
              <p:cNvSpPr>
                <a:spLocks noChangeArrowheads="1"/>
              </p:cNvSpPr>
              <p:nvPr/>
            </p:nvSpPr>
            <p:spPr bwMode="auto">
              <a:xfrm>
                <a:off x="4864100" y="3105151"/>
                <a:ext cx="74613" cy="76200"/>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9" name="Oval 265">
                <a:extLst>
                  <a:ext uri="{FF2B5EF4-FFF2-40B4-BE49-F238E27FC236}">
                    <a16:creationId xmlns:a16="http://schemas.microsoft.com/office/drawing/2014/main" id="{4BE9E84A-E911-4211-BBA2-3D0BE587575E}"/>
                  </a:ext>
                </a:extLst>
              </p:cNvPr>
              <p:cNvSpPr>
                <a:spLocks noChangeArrowheads="1"/>
              </p:cNvSpPr>
              <p:nvPr/>
            </p:nvSpPr>
            <p:spPr bwMode="auto">
              <a:xfrm>
                <a:off x="4976813" y="3105151"/>
                <a:ext cx="74613" cy="76200"/>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0" name="Oval 266">
                <a:extLst>
                  <a:ext uri="{FF2B5EF4-FFF2-40B4-BE49-F238E27FC236}">
                    <a16:creationId xmlns:a16="http://schemas.microsoft.com/office/drawing/2014/main" id="{0ECA1A96-AB7F-46A0-88B5-FCD88859225E}"/>
                  </a:ext>
                </a:extLst>
              </p:cNvPr>
              <p:cNvSpPr>
                <a:spLocks noChangeArrowheads="1"/>
              </p:cNvSpPr>
              <p:nvPr/>
            </p:nvSpPr>
            <p:spPr bwMode="auto">
              <a:xfrm>
                <a:off x="5089525" y="3105151"/>
                <a:ext cx="74613" cy="76200"/>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1" name="Freeform 267">
                <a:extLst>
                  <a:ext uri="{FF2B5EF4-FFF2-40B4-BE49-F238E27FC236}">
                    <a16:creationId xmlns:a16="http://schemas.microsoft.com/office/drawing/2014/main" id="{75E1735F-98B1-4E7B-BDDC-FE64527C3B9F}"/>
                  </a:ext>
                </a:extLst>
              </p:cNvPr>
              <p:cNvSpPr>
                <a:spLocks/>
              </p:cNvSpPr>
              <p:nvPr/>
            </p:nvSpPr>
            <p:spPr bwMode="auto">
              <a:xfrm>
                <a:off x="4841875" y="3181351"/>
                <a:ext cx="344488" cy="60325"/>
              </a:xfrm>
              <a:custGeom>
                <a:avLst/>
                <a:gdLst>
                  <a:gd name="T0" fmla="*/ 76 w 92"/>
                  <a:gd name="T1" fmla="*/ 0 h 16"/>
                  <a:gd name="T2" fmla="*/ 61 w 92"/>
                  <a:gd name="T3" fmla="*/ 11 h 16"/>
                  <a:gd name="T4" fmla="*/ 46 w 92"/>
                  <a:gd name="T5" fmla="*/ 0 h 16"/>
                  <a:gd name="T6" fmla="*/ 31 w 92"/>
                  <a:gd name="T7" fmla="*/ 11 h 16"/>
                  <a:gd name="T8" fmla="*/ 16 w 92"/>
                  <a:gd name="T9" fmla="*/ 0 h 16"/>
                  <a:gd name="T10" fmla="*/ 0 w 92"/>
                  <a:gd name="T11" fmla="*/ 16 h 16"/>
                  <a:gd name="T12" fmla="*/ 92 w 92"/>
                  <a:gd name="T13" fmla="*/ 16 h 16"/>
                  <a:gd name="T14" fmla="*/ 76 w 92"/>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6">
                    <a:moveTo>
                      <a:pt x="76" y="0"/>
                    </a:moveTo>
                    <a:cubicBezTo>
                      <a:pt x="69" y="0"/>
                      <a:pt x="63" y="4"/>
                      <a:pt x="61" y="11"/>
                    </a:cubicBezTo>
                    <a:cubicBezTo>
                      <a:pt x="59" y="4"/>
                      <a:pt x="53" y="0"/>
                      <a:pt x="46" y="0"/>
                    </a:cubicBezTo>
                    <a:cubicBezTo>
                      <a:pt x="39" y="0"/>
                      <a:pt x="33" y="4"/>
                      <a:pt x="31" y="11"/>
                    </a:cubicBezTo>
                    <a:cubicBezTo>
                      <a:pt x="29" y="4"/>
                      <a:pt x="23" y="0"/>
                      <a:pt x="16" y="0"/>
                    </a:cubicBezTo>
                    <a:cubicBezTo>
                      <a:pt x="7" y="0"/>
                      <a:pt x="0" y="8"/>
                      <a:pt x="0" y="16"/>
                    </a:cubicBezTo>
                    <a:cubicBezTo>
                      <a:pt x="92" y="16"/>
                      <a:pt x="92" y="16"/>
                      <a:pt x="92" y="16"/>
                    </a:cubicBezTo>
                    <a:cubicBezTo>
                      <a:pt x="92" y="8"/>
                      <a:pt x="85" y="0"/>
                      <a:pt x="76" y="0"/>
                    </a:cubicBez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36" name="Oval 28">
            <a:extLst>
              <a:ext uri="{FF2B5EF4-FFF2-40B4-BE49-F238E27FC236}">
                <a16:creationId xmlns:a16="http://schemas.microsoft.com/office/drawing/2014/main" id="{4699FCCF-8ACA-4F41-97A7-AD2C08AE5E98}"/>
              </a:ext>
            </a:extLst>
          </p:cNvPr>
          <p:cNvSpPr>
            <a:spLocks noChangeArrowheads="1"/>
          </p:cNvSpPr>
          <p:nvPr/>
        </p:nvSpPr>
        <p:spPr bwMode="auto">
          <a:xfrm>
            <a:off x="8025919" y="4231240"/>
            <a:ext cx="1271588" cy="1273175"/>
          </a:xfrm>
          <a:prstGeom prst="ellipse">
            <a:avLst/>
          </a:prstGeom>
          <a:gradFill>
            <a:gsLst>
              <a:gs pos="0">
                <a:srgbClr val="7CEFD8"/>
              </a:gs>
              <a:gs pos="50000">
                <a:srgbClr val="6672E4"/>
              </a:gs>
              <a:gs pos="100000">
                <a:srgbClr val="882BE5"/>
              </a:gs>
            </a:gsLst>
            <a:lin ang="7800000" scaled="0"/>
          </a:gra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39" name="Group 38">
            <a:extLst>
              <a:ext uri="{FF2B5EF4-FFF2-40B4-BE49-F238E27FC236}">
                <a16:creationId xmlns:a16="http://schemas.microsoft.com/office/drawing/2014/main" id="{D7F5E6C2-3449-4D64-AEF0-8F9AE58743E4}"/>
              </a:ext>
            </a:extLst>
          </p:cNvPr>
          <p:cNvGrpSpPr/>
          <p:nvPr/>
        </p:nvGrpSpPr>
        <p:grpSpPr>
          <a:xfrm>
            <a:off x="7116963" y="1594766"/>
            <a:ext cx="1505173" cy="2073856"/>
            <a:chOff x="6856345" y="2465099"/>
            <a:chExt cx="1505173" cy="2073856"/>
          </a:xfrm>
        </p:grpSpPr>
        <p:sp>
          <p:nvSpPr>
            <p:cNvPr id="35" name="Freeform 27">
              <a:extLst>
                <a:ext uri="{FF2B5EF4-FFF2-40B4-BE49-F238E27FC236}">
                  <a16:creationId xmlns:a16="http://schemas.microsoft.com/office/drawing/2014/main" id="{AAE4382C-A236-4EFC-A5CF-301D418C624F}"/>
                </a:ext>
              </a:extLst>
            </p:cNvPr>
            <p:cNvSpPr>
              <a:spLocks/>
            </p:cNvSpPr>
            <p:nvPr/>
          </p:nvSpPr>
          <p:spPr bwMode="auto">
            <a:xfrm>
              <a:off x="6856345" y="3141955"/>
              <a:ext cx="1397000" cy="1397000"/>
            </a:xfrm>
            <a:custGeom>
              <a:avLst/>
              <a:gdLst>
                <a:gd name="T0" fmla="*/ 60 w 336"/>
                <a:gd name="T1" fmla="*/ 276 h 336"/>
                <a:gd name="T2" fmla="*/ 60 w 336"/>
                <a:gd name="T3" fmla="*/ 60 h 336"/>
                <a:gd name="T4" fmla="*/ 276 w 336"/>
                <a:gd name="T5" fmla="*/ 60 h 336"/>
                <a:gd name="T6" fmla="*/ 276 w 336"/>
                <a:gd name="T7" fmla="*/ 276 h 336"/>
                <a:gd name="T8" fmla="*/ 60 w 336"/>
                <a:gd name="T9" fmla="*/ 276 h 336"/>
              </a:gdLst>
              <a:ahLst/>
              <a:cxnLst>
                <a:cxn ang="0">
                  <a:pos x="T0" y="T1"/>
                </a:cxn>
                <a:cxn ang="0">
                  <a:pos x="T2" y="T3"/>
                </a:cxn>
                <a:cxn ang="0">
                  <a:pos x="T4" y="T5"/>
                </a:cxn>
                <a:cxn ang="0">
                  <a:pos x="T6" y="T7"/>
                </a:cxn>
                <a:cxn ang="0">
                  <a:pos x="T8" y="T9"/>
                </a:cxn>
              </a:cxnLst>
              <a:rect l="0" t="0" r="r" b="b"/>
              <a:pathLst>
                <a:path w="336" h="336">
                  <a:moveTo>
                    <a:pt x="60" y="276"/>
                  </a:moveTo>
                  <a:cubicBezTo>
                    <a:pt x="0" y="217"/>
                    <a:pt x="0" y="120"/>
                    <a:pt x="60" y="60"/>
                  </a:cubicBezTo>
                  <a:cubicBezTo>
                    <a:pt x="120" y="0"/>
                    <a:pt x="217" y="0"/>
                    <a:pt x="276" y="60"/>
                  </a:cubicBezTo>
                  <a:cubicBezTo>
                    <a:pt x="336" y="120"/>
                    <a:pt x="336" y="217"/>
                    <a:pt x="276" y="276"/>
                  </a:cubicBezTo>
                  <a:cubicBezTo>
                    <a:pt x="217" y="336"/>
                    <a:pt x="120" y="336"/>
                    <a:pt x="60" y="276"/>
                  </a:cubicBezTo>
                  <a:close/>
                </a:path>
              </a:pathLst>
            </a:custGeom>
            <a:gradFill>
              <a:gsLst>
                <a:gs pos="0">
                  <a:srgbClr val="7CEFD8"/>
                </a:gs>
                <a:gs pos="50000">
                  <a:srgbClr val="6672E4"/>
                </a:gs>
                <a:gs pos="100000">
                  <a:srgbClr val="882BE5"/>
                </a:gs>
              </a:gsLst>
              <a:lin ang="7800000" scaled="0"/>
            </a:gra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213" name="Group 212">
              <a:extLst>
                <a:ext uri="{FF2B5EF4-FFF2-40B4-BE49-F238E27FC236}">
                  <a16:creationId xmlns:a16="http://schemas.microsoft.com/office/drawing/2014/main" id="{84CDD73D-3AA4-4625-B9F5-1852145FC880}"/>
                </a:ext>
              </a:extLst>
            </p:cNvPr>
            <p:cNvGrpSpPr/>
            <p:nvPr/>
          </p:nvGrpSpPr>
          <p:grpSpPr>
            <a:xfrm>
              <a:off x="7801860" y="2465099"/>
              <a:ext cx="559658" cy="674403"/>
              <a:chOff x="3429001" y="2895601"/>
              <a:chExt cx="315912" cy="346075"/>
            </a:xfrm>
          </p:grpSpPr>
          <p:sp>
            <p:nvSpPr>
              <p:cNvPr id="216" name="Oval 51">
                <a:extLst>
                  <a:ext uri="{FF2B5EF4-FFF2-40B4-BE49-F238E27FC236}">
                    <a16:creationId xmlns:a16="http://schemas.microsoft.com/office/drawing/2014/main" id="{0E0CD678-477B-451D-9104-A48469B3943C}"/>
                  </a:ext>
                </a:extLst>
              </p:cNvPr>
              <p:cNvSpPr>
                <a:spLocks noChangeArrowheads="1"/>
              </p:cNvSpPr>
              <p:nvPr/>
            </p:nvSpPr>
            <p:spPr bwMode="auto">
              <a:xfrm>
                <a:off x="3429001" y="2895601"/>
                <a:ext cx="90488" cy="96838"/>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8" name="Freeform 53">
                <a:extLst>
                  <a:ext uri="{FF2B5EF4-FFF2-40B4-BE49-F238E27FC236}">
                    <a16:creationId xmlns:a16="http://schemas.microsoft.com/office/drawing/2014/main" id="{A59E8B52-245F-4ACF-8281-9CF552059B59}"/>
                  </a:ext>
                </a:extLst>
              </p:cNvPr>
              <p:cNvSpPr>
                <a:spLocks/>
              </p:cNvSpPr>
              <p:nvPr/>
            </p:nvSpPr>
            <p:spPr bwMode="auto">
              <a:xfrm>
                <a:off x="3594101" y="2986089"/>
                <a:ext cx="82550" cy="58738"/>
              </a:xfrm>
              <a:custGeom>
                <a:avLst/>
                <a:gdLst>
                  <a:gd name="T0" fmla="*/ 14 w 22"/>
                  <a:gd name="T1" fmla="*/ 0 h 16"/>
                  <a:gd name="T2" fmla="*/ 14 w 22"/>
                  <a:gd name="T3" fmla="*/ 6 h 16"/>
                  <a:gd name="T4" fmla="*/ 4 w 22"/>
                  <a:gd name="T5" fmla="*/ 9 h 16"/>
                  <a:gd name="T6" fmla="*/ 0 w 22"/>
                  <a:gd name="T7" fmla="*/ 14 h 16"/>
                  <a:gd name="T8" fmla="*/ 0 w 22"/>
                  <a:gd name="T9" fmla="*/ 16 h 16"/>
                  <a:gd name="T10" fmla="*/ 22 w 22"/>
                  <a:gd name="T11" fmla="*/ 16 h 16"/>
                </a:gdLst>
                <a:ahLst/>
                <a:cxnLst>
                  <a:cxn ang="0">
                    <a:pos x="T0" y="T1"/>
                  </a:cxn>
                  <a:cxn ang="0">
                    <a:pos x="T2" y="T3"/>
                  </a:cxn>
                  <a:cxn ang="0">
                    <a:pos x="T4" y="T5"/>
                  </a:cxn>
                  <a:cxn ang="0">
                    <a:pos x="T6" y="T7"/>
                  </a:cxn>
                  <a:cxn ang="0">
                    <a:pos x="T8" y="T9"/>
                  </a:cxn>
                  <a:cxn ang="0">
                    <a:pos x="T10" y="T11"/>
                  </a:cxn>
                </a:cxnLst>
                <a:rect l="0" t="0" r="r" b="b"/>
                <a:pathLst>
                  <a:path w="22" h="16">
                    <a:moveTo>
                      <a:pt x="14" y="0"/>
                    </a:moveTo>
                    <a:cubicBezTo>
                      <a:pt x="14" y="6"/>
                      <a:pt x="14" y="6"/>
                      <a:pt x="14" y="6"/>
                    </a:cubicBezTo>
                    <a:cubicBezTo>
                      <a:pt x="4" y="9"/>
                      <a:pt x="4" y="9"/>
                      <a:pt x="4" y="9"/>
                    </a:cubicBezTo>
                    <a:cubicBezTo>
                      <a:pt x="2" y="10"/>
                      <a:pt x="0" y="12"/>
                      <a:pt x="0" y="14"/>
                    </a:cubicBezTo>
                    <a:cubicBezTo>
                      <a:pt x="0" y="16"/>
                      <a:pt x="0" y="16"/>
                      <a:pt x="0" y="16"/>
                    </a:cubicBezTo>
                    <a:cubicBezTo>
                      <a:pt x="22" y="16"/>
                      <a:pt x="22" y="16"/>
                      <a:pt x="22" y="16"/>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9" name="Freeform 54">
                <a:extLst>
                  <a:ext uri="{FF2B5EF4-FFF2-40B4-BE49-F238E27FC236}">
                    <a16:creationId xmlns:a16="http://schemas.microsoft.com/office/drawing/2014/main" id="{899BF9CE-E77F-4F48-9450-66E3BECCB68B}"/>
                  </a:ext>
                </a:extLst>
              </p:cNvPr>
              <p:cNvSpPr>
                <a:spLocks/>
              </p:cNvSpPr>
              <p:nvPr/>
            </p:nvSpPr>
            <p:spPr bwMode="auto">
              <a:xfrm>
                <a:off x="3662363" y="2986089"/>
                <a:ext cx="82550" cy="58738"/>
              </a:xfrm>
              <a:custGeom>
                <a:avLst/>
                <a:gdLst>
                  <a:gd name="T0" fmla="*/ 8 w 22"/>
                  <a:gd name="T1" fmla="*/ 0 h 16"/>
                  <a:gd name="T2" fmla="*/ 8 w 22"/>
                  <a:gd name="T3" fmla="*/ 6 h 16"/>
                  <a:gd name="T4" fmla="*/ 18 w 22"/>
                  <a:gd name="T5" fmla="*/ 9 h 16"/>
                  <a:gd name="T6" fmla="*/ 22 w 22"/>
                  <a:gd name="T7" fmla="*/ 14 h 16"/>
                  <a:gd name="T8" fmla="*/ 22 w 22"/>
                  <a:gd name="T9" fmla="*/ 16 h 16"/>
                  <a:gd name="T10" fmla="*/ 0 w 22"/>
                  <a:gd name="T11" fmla="*/ 16 h 16"/>
                </a:gdLst>
                <a:ahLst/>
                <a:cxnLst>
                  <a:cxn ang="0">
                    <a:pos x="T0" y="T1"/>
                  </a:cxn>
                  <a:cxn ang="0">
                    <a:pos x="T2" y="T3"/>
                  </a:cxn>
                  <a:cxn ang="0">
                    <a:pos x="T4" y="T5"/>
                  </a:cxn>
                  <a:cxn ang="0">
                    <a:pos x="T6" y="T7"/>
                  </a:cxn>
                  <a:cxn ang="0">
                    <a:pos x="T8" y="T9"/>
                  </a:cxn>
                  <a:cxn ang="0">
                    <a:pos x="T10" y="T11"/>
                  </a:cxn>
                </a:cxnLst>
                <a:rect l="0" t="0" r="r" b="b"/>
                <a:pathLst>
                  <a:path w="22" h="16">
                    <a:moveTo>
                      <a:pt x="8" y="0"/>
                    </a:moveTo>
                    <a:cubicBezTo>
                      <a:pt x="8" y="6"/>
                      <a:pt x="8" y="6"/>
                      <a:pt x="8" y="6"/>
                    </a:cubicBezTo>
                    <a:cubicBezTo>
                      <a:pt x="18" y="9"/>
                      <a:pt x="18" y="9"/>
                      <a:pt x="18" y="9"/>
                    </a:cubicBezTo>
                    <a:cubicBezTo>
                      <a:pt x="20" y="10"/>
                      <a:pt x="22" y="12"/>
                      <a:pt x="22" y="14"/>
                    </a:cubicBezTo>
                    <a:cubicBezTo>
                      <a:pt x="22" y="16"/>
                      <a:pt x="22" y="16"/>
                      <a:pt x="22" y="16"/>
                    </a:cubicBezTo>
                    <a:cubicBezTo>
                      <a:pt x="0" y="16"/>
                      <a:pt x="0" y="16"/>
                      <a:pt x="0" y="16"/>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1" name="Freeform 56">
                <a:extLst>
                  <a:ext uri="{FF2B5EF4-FFF2-40B4-BE49-F238E27FC236}">
                    <a16:creationId xmlns:a16="http://schemas.microsoft.com/office/drawing/2014/main" id="{A2AAED8D-F9E0-4ECB-9AB3-CBBAFB83B1AF}"/>
                  </a:ext>
                </a:extLst>
              </p:cNvPr>
              <p:cNvSpPr>
                <a:spLocks/>
              </p:cNvSpPr>
              <p:nvPr/>
            </p:nvSpPr>
            <p:spPr bwMode="auto">
              <a:xfrm>
                <a:off x="3624263" y="2928939"/>
                <a:ext cx="90488" cy="14288"/>
              </a:xfrm>
              <a:custGeom>
                <a:avLst/>
                <a:gdLst>
                  <a:gd name="T0" fmla="*/ 24 w 24"/>
                  <a:gd name="T1" fmla="*/ 2 h 4"/>
                  <a:gd name="T2" fmla="*/ 14 w 24"/>
                  <a:gd name="T3" fmla="*/ 0 h 4"/>
                  <a:gd name="T4" fmla="*/ 0 w 24"/>
                  <a:gd name="T5" fmla="*/ 1 h 4"/>
                </a:gdLst>
                <a:ahLst/>
                <a:cxnLst>
                  <a:cxn ang="0">
                    <a:pos x="T0" y="T1"/>
                  </a:cxn>
                  <a:cxn ang="0">
                    <a:pos x="T2" y="T3"/>
                  </a:cxn>
                  <a:cxn ang="0">
                    <a:pos x="T4" y="T5"/>
                  </a:cxn>
                </a:cxnLst>
                <a:rect l="0" t="0" r="r" b="b"/>
                <a:pathLst>
                  <a:path w="24" h="4">
                    <a:moveTo>
                      <a:pt x="24" y="2"/>
                    </a:moveTo>
                    <a:cubicBezTo>
                      <a:pt x="22" y="4"/>
                      <a:pt x="16" y="4"/>
                      <a:pt x="14" y="0"/>
                    </a:cubicBezTo>
                    <a:cubicBezTo>
                      <a:pt x="10" y="4"/>
                      <a:pt x="3" y="4"/>
                      <a:pt x="0" y="1"/>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2" name="Freeform 57">
                <a:extLst>
                  <a:ext uri="{FF2B5EF4-FFF2-40B4-BE49-F238E27FC236}">
                    <a16:creationId xmlns:a16="http://schemas.microsoft.com/office/drawing/2014/main" id="{6002DB15-DE43-4C77-9619-8D419321F2E7}"/>
                  </a:ext>
                </a:extLst>
              </p:cNvPr>
              <p:cNvSpPr>
                <a:spLocks/>
              </p:cNvSpPr>
              <p:nvPr/>
            </p:nvSpPr>
            <p:spPr bwMode="auto">
              <a:xfrm>
                <a:off x="3497263" y="3181351"/>
                <a:ext cx="82550" cy="60325"/>
              </a:xfrm>
              <a:custGeom>
                <a:avLst/>
                <a:gdLst>
                  <a:gd name="T0" fmla="*/ 14 w 22"/>
                  <a:gd name="T1" fmla="*/ 0 h 16"/>
                  <a:gd name="T2" fmla="*/ 14 w 22"/>
                  <a:gd name="T3" fmla="*/ 6 h 16"/>
                  <a:gd name="T4" fmla="*/ 4 w 22"/>
                  <a:gd name="T5" fmla="*/ 9 h 16"/>
                  <a:gd name="T6" fmla="*/ 0 w 22"/>
                  <a:gd name="T7" fmla="*/ 14 h 16"/>
                  <a:gd name="T8" fmla="*/ 0 w 22"/>
                  <a:gd name="T9" fmla="*/ 16 h 16"/>
                  <a:gd name="T10" fmla="*/ 22 w 22"/>
                  <a:gd name="T11" fmla="*/ 16 h 16"/>
                </a:gdLst>
                <a:ahLst/>
                <a:cxnLst>
                  <a:cxn ang="0">
                    <a:pos x="T0" y="T1"/>
                  </a:cxn>
                  <a:cxn ang="0">
                    <a:pos x="T2" y="T3"/>
                  </a:cxn>
                  <a:cxn ang="0">
                    <a:pos x="T4" y="T5"/>
                  </a:cxn>
                  <a:cxn ang="0">
                    <a:pos x="T6" y="T7"/>
                  </a:cxn>
                  <a:cxn ang="0">
                    <a:pos x="T8" y="T9"/>
                  </a:cxn>
                  <a:cxn ang="0">
                    <a:pos x="T10" y="T11"/>
                  </a:cxn>
                </a:cxnLst>
                <a:rect l="0" t="0" r="r" b="b"/>
                <a:pathLst>
                  <a:path w="22" h="16">
                    <a:moveTo>
                      <a:pt x="14" y="0"/>
                    </a:moveTo>
                    <a:cubicBezTo>
                      <a:pt x="14" y="6"/>
                      <a:pt x="14" y="6"/>
                      <a:pt x="14" y="6"/>
                    </a:cubicBezTo>
                    <a:cubicBezTo>
                      <a:pt x="4" y="9"/>
                      <a:pt x="4" y="9"/>
                      <a:pt x="4" y="9"/>
                    </a:cubicBezTo>
                    <a:cubicBezTo>
                      <a:pt x="2" y="10"/>
                      <a:pt x="0" y="12"/>
                      <a:pt x="0" y="14"/>
                    </a:cubicBezTo>
                    <a:cubicBezTo>
                      <a:pt x="0" y="16"/>
                      <a:pt x="0" y="16"/>
                      <a:pt x="0" y="16"/>
                    </a:cubicBezTo>
                    <a:cubicBezTo>
                      <a:pt x="22" y="16"/>
                      <a:pt x="22" y="16"/>
                      <a:pt x="22" y="16"/>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3" name="Freeform 58">
                <a:extLst>
                  <a:ext uri="{FF2B5EF4-FFF2-40B4-BE49-F238E27FC236}">
                    <a16:creationId xmlns:a16="http://schemas.microsoft.com/office/drawing/2014/main" id="{96593802-B775-42A3-AF14-F045D7024BCC}"/>
                  </a:ext>
                </a:extLst>
              </p:cNvPr>
              <p:cNvSpPr>
                <a:spLocks/>
              </p:cNvSpPr>
              <p:nvPr/>
            </p:nvSpPr>
            <p:spPr bwMode="auto">
              <a:xfrm>
                <a:off x="3563938" y="3181351"/>
                <a:ext cx="82550" cy="60325"/>
              </a:xfrm>
              <a:custGeom>
                <a:avLst/>
                <a:gdLst>
                  <a:gd name="T0" fmla="*/ 8 w 22"/>
                  <a:gd name="T1" fmla="*/ 0 h 16"/>
                  <a:gd name="T2" fmla="*/ 8 w 22"/>
                  <a:gd name="T3" fmla="*/ 6 h 16"/>
                  <a:gd name="T4" fmla="*/ 18 w 22"/>
                  <a:gd name="T5" fmla="*/ 9 h 16"/>
                  <a:gd name="T6" fmla="*/ 22 w 22"/>
                  <a:gd name="T7" fmla="*/ 14 h 16"/>
                  <a:gd name="T8" fmla="*/ 22 w 22"/>
                  <a:gd name="T9" fmla="*/ 16 h 16"/>
                  <a:gd name="T10" fmla="*/ 0 w 22"/>
                  <a:gd name="T11" fmla="*/ 16 h 16"/>
                </a:gdLst>
                <a:ahLst/>
                <a:cxnLst>
                  <a:cxn ang="0">
                    <a:pos x="T0" y="T1"/>
                  </a:cxn>
                  <a:cxn ang="0">
                    <a:pos x="T2" y="T3"/>
                  </a:cxn>
                  <a:cxn ang="0">
                    <a:pos x="T4" y="T5"/>
                  </a:cxn>
                  <a:cxn ang="0">
                    <a:pos x="T6" y="T7"/>
                  </a:cxn>
                  <a:cxn ang="0">
                    <a:pos x="T8" y="T9"/>
                  </a:cxn>
                  <a:cxn ang="0">
                    <a:pos x="T10" y="T11"/>
                  </a:cxn>
                </a:cxnLst>
                <a:rect l="0" t="0" r="r" b="b"/>
                <a:pathLst>
                  <a:path w="22" h="16">
                    <a:moveTo>
                      <a:pt x="8" y="0"/>
                    </a:moveTo>
                    <a:cubicBezTo>
                      <a:pt x="8" y="6"/>
                      <a:pt x="8" y="6"/>
                      <a:pt x="8" y="6"/>
                    </a:cubicBezTo>
                    <a:cubicBezTo>
                      <a:pt x="18" y="9"/>
                      <a:pt x="18" y="9"/>
                      <a:pt x="18" y="9"/>
                    </a:cubicBezTo>
                    <a:cubicBezTo>
                      <a:pt x="20" y="10"/>
                      <a:pt x="22" y="12"/>
                      <a:pt x="22" y="14"/>
                    </a:cubicBezTo>
                    <a:cubicBezTo>
                      <a:pt x="22" y="16"/>
                      <a:pt x="22" y="16"/>
                      <a:pt x="22" y="16"/>
                    </a:cubicBezTo>
                    <a:cubicBezTo>
                      <a:pt x="0" y="16"/>
                      <a:pt x="0" y="16"/>
                      <a:pt x="0" y="16"/>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4" name="Oval 59">
                <a:extLst>
                  <a:ext uri="{FF2B5EF4-FFF2-40B4-BE49-F238E27FC236}">
                    <a16:creationId xmlns:a16="http://schemas.microsoft.com/office/drawing/2014/main" id="{E9093A9B-C057-4965-9778-D32C3435BAC3}"/>
                  </a:ext>
                </a:extLst>
              </p:cNvPr>
              <p:cNvSpPr>
                <a:spLocks noChangeArrowheads="1"/>
              </p:cNvSpPr>
              <p:nvPr/>
            </p:nvSpPr>
            <p:spPr bwMode="auto">
              <a:xfrm>
                <a:off x="3527426" y="3090864"/>
                <a:ext cx="88900" cy="96838"/>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43" name="Group 42">
            <a:extLst>
              <a:ext uri="{FF2B5EF4-FFF2-40B4-BE49-F238E27FC236}">
                <a16:creationId xmlns:a16="http://schemas.microsoft.com/office/drawing/2014/main" id="{A64F8879-D01A-46C0-82F4-C2574F5186EA}"/>
              </a:ext>
            </a:extLst>
          </p:cNvPr>
          <p:cNvGrpSpPr/>
          <p:nvPr/>
        </p:nvGrpSpPr>
        <p:grpSpPr>
          <a:xfrm>
            <a:off x="9650691" y="4206395"/>
            <a:ext cx="2304356" cy="1569086"/>
            <a:chOff x="9695998" y="4157408"/>
            <a:chExt cx="2499140" cy="1569086"/>
          </a:xfrm>
        </p:grpSpPr>
        <p:sp>
          <p:nvSpPr>
            <p:cNvPr id="331" name="TextBox 330">
              <a:extLst>
                <a:ext uri="{FF2B5EF4-FFF2-40B4-BE49-F238E27FC236}">
                  <a16:creationId xmlns:a16="http://schemas.microsoft.com/office/drawing/2014/main" id="{62109C55-9EBC-4778-80D4-D55D22307915}"/>
                </a:ext>
              </a:extLst>
            </p:cNvPr>
            <p:cNvSpPr txBox="1"/>
            <p:nvPr/>
          </p:nvSpPr>
          <p:spPr>
            <a:xfrm>
              <a:off x="9700605" y="4157408"/>
              <a:ext cx="2017378" cy="738664"/>
            </a:xfrm>
            <a:prstGeom prst="rect">
              <a:avLst/>
            </a:prstGeom>
            <a:noFill/>
          </p:spPr>
          <p:txBody>
            <a:bodyPr wrap="square" lIns="0" tIns="0" rIns="0" bIns="0" rtlCol="0">
              <a:spAutoFit/>
            </a:bodyPr>
            <a:lstStyle/>
            <a:p>
              <a:r>
                <a:rPr lang="en-IN" sz="1600" b="1" dirty="0">
                  <a:solidFill>
                    <a:srgbClr val="002060"/>
                  </a:solidFill>
                  <a:latin typeface="Segoe UI" panose="020B0502040204020203" pitchFamily="34" charset="0"/>
                  <a:cs typeface="Segoe UI" panose="020B0502040204020203" pitchFamily="34" charset="0"/>
                </a:rPr>
                <a:t>Startup Community Connect</a:t>
              </a:r>
              <a:endParaRPr lang="en-US" sz="1600" b="1" dirty="0">
                <a:solidFill>
                  <a:srgbClr val="002060"/>
                </a:solidFill>
                <a:latin typeface="Segoe UI" panose="020B0502040204020203" pitchFamily="34" charset="0"/>
                <a:cs typeface="Segoe UI" panose="020B0502040204020203" pitchFamily="34" charset="0"/>
              </a:endParaRPr>
            </a:p>
          </p:txBody>
        </p:sp>
        <p:sp>
          <p:nvSpPr>
            <p:cNvPr id="332" name="Rectangle 331">
              <a:extLst>
                <a:ext uri="{FF2B5EF4-FFF2-40B4-BE49-F238E27FC236}">
                  <a16:creationId xmlns:a16="http://schemas.microsoft.com/office/drawing/2014/main" id="{779BDC05-BA31-44EF-B695-331F1F3CEBCA}"/>
                </a:ext>
              </a:extLst>
            </p:cNvPr>
            <p:cNvSpPr/>
            <p:nvPr/>
          </p:nvSpPr>
          <p:spPr>
            <a:xfrm>
              <a:off x="9695998" y="4987830"/>
              <a:ext cx="2499140" cy="738664"/>
            </a:xfrm>
            <a:prstGeom prst="rect">
              <a:avLst/>
            </a:prstGeom>
          </p:spPr>
          <p:txBody>
            <a:bodyPr wrap="square" lIns="0" tIns="0" rIns="0" bIns="0">
              <a:spAutoFit/>
            </a:bodyPr>
            <a:lstStyle/>
            <a:p>
              <a:r>
                <a:rPr lang="en-US" sz="1600" i="1" dirty="0">
                  <a:solidFill>
                    <a:srgbClr val="002060"/>
                  </a:solidFill>
                  <a:latin typeface="+mj-lt"/>
                  <a:cs typeface="Segoe UI" panose="020B0502040204020203" pitchFamily="34" charset="0"/>
                </a:rPr>
                <a:t>Networking opportunities </a:t>
              </a:r>
              <a:br>
                <a:rPr lang="en-US" sz="1600" i="1" dirty="0">
                  <a:solidFill>
                    <a:srgbClr val="002060"/>
                  </a:solidFill>
                  <a:latin typeface="+mj-lt"/>
                  <a:cs typeface="Segoe UI" panose="020B0502040204020203" pitchFamily="34" charset="0"/>
                </a:rPr>
              </a:br>
              <a:r>
                <a:rPr lang="en-US" sz="1600" i="1" dirty="0">
                  <a:solidFill>
                    <a:srgbClr val="002060"/>
                  </a:solidFill>
                  <a:latin typeface="+mj-lt"/>
                  <a:cs typeface="Segoe UI" panose="020B0502040204020203" pitchFamily="34" charset="0"/>
                </a:rPr>
                <a:t>to connect with ecosystem stakeholders</a:t>
              </a:r>
            </a:p>
          </p:txBody>
        </p:sp>
      </p:grpSp>
      <p:grpSp>
        <p:nvGrpSpPr>
          <p:cNvPr id="336" name="Group 335">
            <a:extLst>
              <a:ext uri="{FF2B5EF4-FFF2-40B4-BE49-F238E27FC236}">
                <a16:creationId xmlns:a16="http://schemas.microsoft.com/office/drawing/2014/main" id="{28F9A76E-D468-407E-9575-CEACF4453F35}"/>
              </a:ext>
            </a:extLst>
          </p:cNvPr>
          <p:cNvGrpSpPr/>
          <p:nvPr/>
        </p:nvGrpSpPr>
        <p:grpSpPr>
          <a:xfrm>
            <a:off x="8890946" y="2252543"/>
            <a:ext cx="2811432" cy="1569086"/>
            <a:chOff x="9695998" y="4157408"/>
            <a:chExt cx="3049079" cy="1569086"/>
          </a:xfrm>
        </p:grpSpPr>
        <p:sp>
          <p:nvSpPr>
            <p:cNvPr id="337" name="TextBox 336">
              <a:extLst>
                <a:ext uri="{FF2B5EF4-FFF2-40B4-BE49-F238E27FC236}">
                  <a16:creationId xmlns:a16="http://schemas.microsoft.com/office/drawing/2014/main" id="{3380BC47-47FB-44F3-9E0B-80B83E426031}"/>
                </a:ext>
              </a:extLst>
            </p:cNvPr>
            <p:cNvSpPr txBox="1"/>
            <p:nvPr/>
          </p:nvSpPr>
          <p:spPr>
            <a:xfrm>
              <a:off x="9700605" y="4157408"/>
              <a:ext cx="2548750" cy="738664"/>
            </a:xfrm>
            <a:prstGeom prst="rect">
              <a:avLst/>
            </a:prstGeom>
            <a:noFill/>
          </p:spPr>
          <p:txBody>
            <a:bodyPr wrap="square" lIns="0" tIns="0" rIns="0" bIns="0" rtlCol="0">
              <a:spAutoFit/>
            </a:bodyPr>
            <a:lstStyle/>
            <a:p>
              <a:r>
                <a:rPr lang="en-IN" sz="1600" b="1" dirty="0">
                  <a:solidFill>
                    <a:srgbClr val="002060"/>
                  </a:solidFill>
                  <a:latin typeface="Segoe UI" panose="020B0502040204020203" pitchFamily="34" charset="0"/>
                  <a:cs typeface="Segoe UI" panose="020B0502040204020203" pitchFamily="34" charset="0"/>
                </a:rPr>
                <a:t>Access of Pre-Seed &amp; Seed Grants &amp; Funding Opportunities</a:t>
              </a:r>
              <a:endParaRPr lang="en-US" sz="1600" b="1" dirty="0">
                <a:solidFill>
                  <a:srgbClr val="002060"/>
                </a:solidFill>
                <a:latin typeface="Segoe UI" panose="020B0502040204020203" pitchFamily="34" charset="0"/>
                <a:cs typeface="Segoe UI" panose="020B0502040204020203" pitchFamily="34" charset="0"/>
              </a:endParaRPr>
            </a:p>
          </p:txBody>
        </p:sp>
        <p:sp>
          <p:nvSpPr>
            <p:cNvPr id="338" name="Rectangle 337">
              <a:extLst>
                <a:ext uri="{FF2B5EF4-FFF2-40B4-BE49-F238E27FC236}">
                  <a16:creationId xmlns:a16="http://schemas.microsoft.com/office/drawing/2014/main" id="{9DE6A47E-C4CC-416D-9C28-3273394521C8}"/>
                </a:ext>
              </a:extLst>
            </p:cNvPr>
            <p:cNvSpPr/>
            <p:nvPr/>
          </p:nvSpPr>
          <p:spPr>
            <a:xfrm>
              <a:off x="9695998" y="4987830"/>
              <a:ext cx="3049079" cy="738664"/>
            </a:xfrm>
            <a:prstGeom prst="rect">
              <a:avLst/>
            </a:prstGeom>
          </p:spPr>
          <p:txBody>
            <a:bodyPr wrap="square" lIns="0" tIns="0" rIns="0" bIns="0">
              <a:spAutoFit/>
            </a:bodyPr>
            <a:lstStyle/>
            <a:p>
              <a:r>
                <a:rPr lang="en-US" sz="1600" i="1" dirty="0">
                  <a:solidFill>
                    <a:srgbClr val="002060"/>
                  </a:solidFill>
                  <a:latin typeface="+mj-lt"/>
                  <a:cs typeface="Segoe UI" panose="020B0502040204020203" pitchFamily="34" charset="0"/>
                </a:rPr>
                <a:t>Government Grants / Schemes, Private Seed, Angle &amp; VC Funding, Short &amp; Long term Loans</a:t>
              </a:r>
            </a:p>
          </p:txBody>
        </p:sp>
      </p:grpSp>
      <p:grpSp>
        <p:nvGrpSpPr>
          <p:cNvPr id="45" name="Group 44">
            <a:extLst>
              <a:ext uri="{FF2B5EF4-FFF2-40B4-BE49-F238E27FC236}">
                <a16:creationId xmlns:a16="http://schemas.microsoft.com/office/drawing/2014/main" id="{99CDDA2C-6FA4-497B-A320-3ED782990E8C}"/>
              </a:ext>
            </a:extLst>
          </p:cNvPr>
          <p:cNvGrpSpPr/>
          <p:nvPr/>
        </p:nvGrpSpPr>
        <p:grpSpPr>
          <a:xfrm>
            <a:off x="424483" y="2213794"/>
            <a:ext cx="2393744" cy="1569086"/>
            <a:chOff x="628164" y="2203556"/>
            <a:chExt cx="2393744" cy="1569086"/>
          </a:xfrm>
        </p:grpSpPr>
        <p:sp>
          <p:nvSpPr>
            <p:cNvPr id="340" name="TextBox 339">
              <a:extLst>
                <a:ext uri="{FF2B5EF4-FFF2-40B4-BE49-F238E27FC236}">
                  <a16:creationId xmlns:a16="http://schemas.microsoft.com/office/drawing/2014/main" id="{246A1BD9-59BD-467C-9A84-D6A5E4382773}"/>
                </a:ext>
              </a:extLst>
            </p:cNvPr>
            <p:cNvSpPr txBox="1"/>
            <p:nvPr/>
          </p:nvSpPr>
          <p:spPr>
            <a:xfrm>
              <a:off x="1427303" y="2203556"/>
              <a:ext cx="1594605" cy="738664"/>
            </a:xfrm>
            <a:prstGeom prst="rect">
              <a:avLst/>
            </a:prstGeom>
            <a:noFill/>
          </p:spPr>
          <p:txBody>
            <a:bodyPr wrap="square" lIns="0" tIns="0" rIns="0" bIns="0" rtlCol="0">
              <a:spAutoFit/>
            </a:bodyPr>
            <a:lstStyle/>
            <a:p>
              <a:pPr algn="r"/>
              <a:r>
                <a:rPr lang="en-IN" sz="1600" b="1" dirty="0">
                  <a:solidFill>
                    <a:srgbClr val="002060"/>
                  </a:solidFill>
                  <a:latin typeface="Segoe UI" panose="020B0502040204020203" pitchFamily="34" charset="0"/>
                  <a:cs typeface="Segoe UI" panose="020B0502040204020203" pitchFamily="34" charset="0"/>
                </a:rPr>
                <a:t>Co-working Space &amp; Allied Resources</a:t>
              </a:r>
              <a:endParaRPr lang="en-US" sz="1600" b="1" dirty="0">
                <a:solidFill>
                  <a:srgbClr val="002060"/>
                </a:solidFill>
                <a:latin typeface="Segoe UI" panose="020B0502040204020203" pitchFamily="34" charset="0"/>
                <a:cs typeface="Segoe UI" panose="020B0502040204020203" pitchFamily="34" charset="0"/>
              </a:endParaRPr>
            </a:p>
          </p:txBody>
        </p:sp>
        <p:sp>
          <p:nvSpPr>
            <p:cNvPr id="341" name="Rectangle 340">
              <a:extLst>
                <a:ext uri="{FF2B5EF4-FFF2-40B4-BE49-F238E27FC236}">
                  <a16:creationId xmlns:a16="http://schemas.microsoft.com/office/drawing/2014/main" id="{594EDD4C-FB3C-4D67-A0E0-448BE5307678}"/>
                </a:ext>
              </a:extLst>
            </p:cNvPr>
            <p:cNvSpPr/>
            <p:nvPr/>
          </p:nvSpPr>
          <p:spPr>
            <a:xfrm>
              <a:off x="628164" y="3033978"/>
              <a:ext cx="2393744" cy="738664"/>
            </a:xfrm>
            <a:prstGeom prst="rect">
              <a:avLst/>
            </a:prstGeom>
          </p:spPr>
          <p:txBody>
            <a:bodyPr wrap="square" lIns="0" tIns="0" rIns="0" bIns="0">
              <a:spAutoFit/>
            </a:bodyPr>
            <a:lstStyle/>
            <a:p>
              <a:pPr algn="r"/>
              <a:r>
                <a:rPr lang="en-US" sz="1600" i="1" dirty="0">
                  <a:solidFill>
                    <a:srgbClr val="002060"/>
                  </a:solidFill>
                  <a:latin typeface="+mj-lt"/>
                  <a:cs typeface="Segoe UI" panose="020B0502040204020203" pitchFamily="34" charset="0"/>
                </a:rPr>
                <a:t>Flexi &amp; Dedicated Work Desk, Meeting Lounges, Seminar Hall &amp; Allied Resources</a:t>
              </a:r>
            </a:p>
          </p:txBody>
        </p:sp>
      </p:grpSp>
      <p:grpSp>
        <p:nvGrpSpPr>
          <p:cNvPr id="342" name="Group 341">
            <a:extLst>
              <a:ext uri="{FF2B5EF4-FFF2-40B4-BE49-F238E27FC236}">
                <a16:creationId xmlns:a16="http://schemas.microsoft.com/office/drawing/2014/main" id="{6ADA542D-B2D5-4962-8376-A598260BA8B9}"/>
              </a:ext>
            </a:extLst>
          </p:cNvPr>
          <p:cNvGrpSpPr/>
          <p:nvPr/>
        </p:nvGrpSpPr>
        <p:grpSpPr>
          <a:xfrm>
            <a:off x="582724" y="4206395"/>
            <a:ext cx="1598853" cy="1569086"/>
            <a:chOff x="9695998" y="4157408"/>
            <a:chExt cx="1734002" cy="1569086"/>
          </a:xfrm>
        </p:grpSpPr>
        <p:sp>
          <p:nvSpPr>
            <p:cNvPr id="343" name="TextBox 342">
              <a:extLst>
                <a:ext uri="{FF2B5EF4-FFF2-40B4-BE49-F238E27FC236}">
                  <a16:creationId xmlns:a16="http://schemas.microsoft.com/office/drawing/2014/main" id="{36571B2F-0463-48D1-8CC7-EA6BC8F3FB67}"/>
                </a:ext>
              </a:extLst>
            </p:cNvPr>
            <p:cNvSpPr txBox="1"/>
            <p:nvPr/>
          </p:nvSpPr>
          <p:spPr>
            <a:xfrm>
              <a:off x="9700605" y="4157408"/>
              <a:ext cx="1729395" cy="738664"/>
            </a:xfrm>
            <a:prstGeom prst="rect">
              <a:avLst/>
            </a:prstGeom>
            <a:noFill/>
          </p:spPr>
          <p:txBody>
            <a:bodyPr wrap="square" lIns="0" tIns="0" rIns="0" bIns="0" rtlCol="0">
              <a:spAutoFit/>
            </a:bodyPr>
            <a:lstStyle/>
            <a:p>
              <a:pPr algn="r"/>
              <a:r>
                <a:rPr lang="en-IN" sz="1600" b="1" dirty="0">
                  <a:solidFill>
                    <a:srgbClr val="002060"/>
                  </a:solidFill>
                  <a:latin typeface="Segoe UI" panose="020B0502040204020203" pitchFamily="34" charset="0"/>
                  <a:cs typeface="Segoe UI" panose="020B0502040204020203" pitchFamily="34" charset="0"/>
                </a:rPr>
                <a:t>Industry &amp; Academic Mentor Connect</a:t>
              </a:r>
              <a:endParaRPr lang="en-US" sz="1600" b="1" dirty="0">
                <a:solidFill>
                  <a:srgbClr val="002060"/>
                </a:solidFill>
                <a:latin typeface="Segoe UI" panose="020B0502040204020203" pitchFamily="34" charset="0"/>
                <a:cs typeface="Segoe UI" panose="020B0502040204020203" pitchFamily="34" charset="0"/>
              </a:endParaRPr>
            </a:p>
          </p:txBody>
        </p:sp>
        <p:sp>
          <p:nvSpPr>
            <p:cNvPr id="344" name="Rectangle 343">
              <a:extLst>
                <a:ext uri="{FF2B5EF4-FFF2-40B4-BE49-F238E27FC236}">
                  <a16:creationId xmlns:a16="http://schemas.microsoft.com/office/drawing/2014/main" id="{2BA0C149-973C-4722-BF48-FF9DE9B8BC55}"/>
                </a:ext>
              </a:extLst>
            </p:cNvPr>
            <p:cNvSpPr/>
            <p:nvPr/>
          </p:nvSpPr>
          <p:spPr>
            <a:xfrm>
              <a:off x="9695998" y="4987830"/>
              <a:ext cx="1729394" cy="738664"/>
            </a:xfrm>
            <a:prstGeom prst="rect">
              <a:avLst/>
            </a:prstGeom>
          </p:spPr>
          <p:txBody>
            <a:bodyPr wrap="square" lIns="0" tIns="0" rIns="0" bIns="0">
              <a:spAutoFit/>
            </a:bodyPr>
            <a:lstStyle/>
            <a:p>
              <a:pPr algn="r"/>
              <a:r>
                <a:rPr lang="en-US" sz="1600" i="1" dirty="0">
                  <a:solidFill>
                    <a:srgbClr val="002060"/>
                  </a:solidFill>
                  <a:latin typeface="+mj-lt"/>
                  <a:cs typeface="Segoe UI" panose="020B0502040204020203" pitchFamily="34" charset="0"/>
                </a:rPr>
                <a:t>Easy Connect of Vast &amp; Experienced Pool of Experts</a:t>
              </a:r>
            </a:p>
          </p:txBody>
        </p:sp>
      </p:grpSp>
      <p:grpSp>
        <p:nvGrpSpPr>
          <p:cNvPr id="345" name="Group 344">
            <a:extLst>
              <a:ext uri="{FF2B5EF4-FFF2-40B4-BE49-F238E27FC236}">
                <a16:creationId xmlns:a16="http://schemas.microsoft.com/office/drawing/2014/main" id="{E6D6E19C-DE46-4402-8CBF-17BB95458532}"/>
              </a:ext>
            </a:extLst>
          </p:cNvPr>
          <p:cNvGrpSpPr/>
          <p:nvPr/>
        </p:nvGrpSpPr>
        <p:grpSpPr>
          <a:xfrm>
            <a:off x="3750303" y="586986"/>
            <a:ext cx="4356735" cy="764075"/>
            <a:chOff x="9379626" y="4410753"/>
            <a:chExt cx="2411599" cy="764075"/>
          </a:xfrm>
          <a:solidFill>
            <a:schemeClr val="bg1"/>
          </a:solidFill>
        </p:grpSpPr>
        <p:sp>
          <p:nvSpPr>
            <p:cNvPr id="346" name="TextBox 345">
              <a:extLst>
                <a:ext uri="{FF2B5EF4-FFF2-40B4-BE49-F238E27FC236}">
                  <a16:creationId xmlns:a16="http://schemas.microsoft.com/office/drawing/2014/main" id="{3DF722C9-361F-401E-AD34-54132A8436B3}"/>
                </a:ext>
              </a:extLst>
            </p:cNvPr>
            <p:cNvSpPr txBox="1"/>
            <p:nvPr/>
          </p:nvSpPr>
          <p:spPr>
            <a:xfrm>
              <a:off x="9379626" y="4410753"/>
              <a:ext cx="2411599" cy="246221"/>
            </a:xfrm>
            <a:prstGeom prst="rect">
              <a:avLst/>
            </a:prstGeom>
            <a:grpFill/>
          </p:spPr>
          <p:txBody>
            <a:bodyPr wrap="square" lIns="0" tIns="0" rIns="0" bIns="0" rtlCol="0">
              <a:spAutoFit/>
            </a:bodyPr>
            <a:lstStyle/>
            <a:p>
              <a:pPr algn="ctr"/>
              <a:r>
                <a:rPr lang="en-IN" sz="1600" b="1" dirty="0">
                  <a:solidFill>
                    <a:srgbClr val="002060"/>
                  </a:solidFill>
                  <a:latin typeface="Segoe UI" panose="020B0502040204020203" pitchFamily="34" charset="0"/>
                  <a:cs typeface="Segoe UI" panose="020B0502040204020203" pitchFamily="34" charset="0"/>
                </a:rPr>
                <a:t>Startup Counselling &amp; Hand-holding Support</a:t>
              </a:r>
              <a:endParaRPr lang="en-US" sz="1600" b="1" dirty="0">
                <a:solidFill>
                  <a:srgbClr val="002060"/>
                </a:solidFill>
                <a:latin typeface="Segoe UI" panose="020B0502040204020203" pitchFamily="34" charset="0"/>
                <a:cs typeface="Segoe UI" panose="020B0502040204020203" pitchFamily="34" charset="0"/>
              </a:endParaRPr>
            </a:p>
          </p:txBody>
        </p:sp>
        <p:sp>
          <p:nvSpPr>
            <p:cNvPr id="347" name="Rectangle 346">
              <a:extLst>
                <a:ext uri="{FF2B5EF4-FFF2-40B4-BE49-F238E27FC236}">
                  <a16:creationId xmlns:a16="http://schemas.microsoft.com/office/drawing/2014/main" id="{49C08362-5A73-4AB7-8811-DC216428D42D}"/>
                </a:ext>
              </a:extLst>
            </p:cNvPr>
            <p:cNvSpPr/>
            <p:nvPr/>
          </p:nvSpPr>
          <p:spPr>
            <a:xfrm>
              <a:off x="9695998" y="4682385"/>
              <a:ext cx="1917761" cy="492443"/>
            </a:xfrm>
            <a:prstGeom prst="rect">
              <a:avLst/>
            </a:prstGeom>
            <a:grpFill/>
          </p:spPr>
          <p:txBody>
            <a:bodyPr wrap="square" lIns="0" tIns="0" rIns="0" bIns="0">
              <a:spAutoFit/>
            </a:bodyPr>
            <a:lstStyle/>
            <a:p>
              <a:pPr algn="ctr"/>
              <a:r>
                <a:rPr lang="en-US" sz="1600" i="1" dirty="0">
                  <a:solidFill>
                    <a:srgbClr val="002060"/>
                  </a:solidFill>
                  <a:latin typeface="+mj-lt"/>
                  <a:cs typeface="Segoe UI" panose="020B0502040204020203" pitchFamily="34" charset="0"/>
                </a:rPr>
                <a:t>Idea to Impact, PoC to Product, </a:t>
              </a:r>
              <a:br>
                <a:rPr lang="en-US" sz="1600" i="1" dirty="0">
                  <a:solidFill>
                    <a:srgbClr val="002060"/>
                  </a:solidFill>
                  <a:latin typeface="+mj-lt"/>
                  <a:cs typeface="Segoe UI" panose="020B0502040204020203" pitchFamily="34" charset="0"/>
                </a:rPr>
              </a:br>
              <a:r>
                <a:rPr lang="en-US" sz="1600" i="1" dirty="0">
                  <a:solidFill>
                    <a:srgbClr val="002060"/>
                  </a:solidFill>
                  <a:latin typeface="+mj-lt"/>
                  <a:cs typeface="Segoe UI" panose="020B0502040204020203" pitchFamily="34" charset="0"/>
                </a:rPr>
                <a:t>Innovation to IP &amp; Mind to Market Support</a:t>
              </a:r>
            </a:p>
          </p:txBody>
        </p:sp>
      </p:grpSp>
      <p:grpSp>
        <p:nvGrpSpPr>
          <p:cNvPr id="135" name="Group 134">
            <a:extLst>
              <a:ext uri="{FF2B5EF4-FFF2-40B4-BE49-F238E27FC236}">
                <a16:creationId xmlns:a16="http://schemas.microsoft.com/office/drawing/2014/main" id="{67CAFED6-8E58-4748-ACC9-4F249BA25DCD}"/>
              </a:ext>
            </a:extLst>
          </p:cNvPr>
          <p:cNvGrpSpPr/>
          <p:nvPr/>
        </p:nvGrpSpPr>
        <p:grpSpPr>
          <a:xfrm>
            <a:off x="8286643" y="4436966"/>
            <a:ext cx="750140" cy="814585"/>
            <a:chOff x="5562600" y="2895601"/>
            <a:chExt cx="346075" cy="346075"/>
          </a:xfrm>
        </p:grpSpPr>
        <p:sp>
          <p:nvSpPr>
            <p:cNvPr id="136" name="Freeform 277">
              <a:extLst>
                <a:ext uri="{FF2B5EF4-FFF2-40B4-BE49-F238E27FC236}">
                  <a16:creationId xmlns:a16="http://schemas.microsoft.com/office/drawing/2014/main" id="{7E9C75F0-3AF3-4480-89C7-32E7B4042964}"/>
                </a:ext>
              </a:extLst>
            </p:cNvPr>
            <p:cNvSpPr>
              <a:spLocks/>
            </p:cNvSpPr>
            <p:nvPr/>
          </p:nvSpPr>
          <p:spPr bwMode="auto">
            <a:xfrm>
              <a:off x="5637213" y="2895601"/>
              <a:ext cx="195263" cy="179388"/>
            </a:xfrm>
            <a:custGeom>
              <a:avLst/>
              <a:gdLst>
                <a:gd name="T0" fmla="*/ 0 w 52"/>
                <a:gd name="T1" fmla="*/ 32 h 48"/>
                <a:gd name="T2" fmla="*/ 4 w 52"/>
                <a:gd name="T3" fmla="*/ 36 h 48"/>
                <a:gd name="T4" fmla="*/ 8 w 52"/>
                <a:gd name="T5" fmla="*/ 36 h 48"/>
                <a:gd name="T6" fmla="*/ 20 w 52"/>
                <a:gd name="T7" fmla="*/ 48 h 48"/>
                <a:gd name="T8" fmla="*/ 20 w 52"/>
                <a:gd name="T9" fmla="*/ 36 h 48"/>
                <a:gd name="T10" fmla="*/ 48 w 52"/>
                <a:gd name="T11" fmla="*/ 36 h 48"/>
                <a:gd name="T12" fmla="*/ 52 w 52"/>
                <a:gd name="T13" fmla="*/ 32 h 48"/>
                <a:gd name="T14" fmla="*/ 52 w 52"/>
                <a:gd name="T15" fmla="*/ 4 h 48"/>
                <a:gd name="T16" fmla="*/ 48 w 52"/>
                <a:gd name="T17" fmla="*/ 0 h 48"/>
                <a:gd name="T18" fmla="*/ 4 w 52"/>
                <a:gd name="T19" fmla="*/ 0 h 48"/>
                <a:gd name="T20" fmla="*/ 0 w 52"/>
                <a:gd name="T21" fmla="*/ 4 h 48"/>
                <a:gd name="T22" fmla="*/ 0 w 52"/>
                <a:gd name="T23"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48">
                  <a:moveTo>
                    <a:pt x="0" y="32"/>
                  </a:moveTo>
                  <a:cubicBezTo>
                    <a:pt x="0" y="34"/>
                    <a:pt x="2" y="36"/>
                    <a:pt x="4" y="36"/>
                  </a:cubicBezTo>
                  <a:cubicBezTo>
                    <a:pt x="8" y="36"/>
                    <a:pt x="8" y="36"/>
                    <a:pt x="8" y="36"/>
                  </a:cubicBezTo>
                  <a:cubicBezTo>
                    <a:pt x="20" y="48"/>
                    <a:pt x="20" y="48"/>
                    <a:pt x="20" y="48"/>
                  </a:cubicBezTo>
                  <a:cubicBezTo>
                    <a:pt x="20" y="36"/>
                    <a:pt x="20" y="36"/>
                    <a:pt x="20" y="36"/>
                  </a:cubicBezTo>
                  <a:cubicBezTo>
                    <a:pt x="48" y="36"/>
                    <a:pt x="48" y="36"/>
                    <a:pt x="48" y="36"/>
                  </a:cubicBezTo>
                  <a:cubicBezTo>
                    <a:pt x="50" y="36"/>
                    <a:pt x="52" y="34"/>
                    <a:pt x="52" y="32"/>
                  </a:cubicBezTo>
                  <a:cubicBezTo>
                    <a:pt x="52" y="4"/>
                    <a:pt x="52" y="4"/>
                    <a:pt x="52" y="4"/>
                  </a:cubicBezTo>
                  <a:cubicBezTo>
                    <a:pt x="52" y="2"/>
                    <a:pt x="50" y="0"/>
                    <a:pt x="48" y="0"/>
                  </a:cubicBezTo>
                  <a:cubicBezTo>
                    <a:pt x="4" y="0"/>
                    <a:pt x="4" y="0"/>
                    <a:pt x="4" y="0"/>
                  </a:cubicBezTo>
                  <a:cubicBezTo>
                    <a:pt x="2" y="0"/>
                    <a:pt x="0" y="2"/>
                    <a:pt x="0" y="4"/>
                  </a:cubicBezTo>
                  <a:lnTo>
                    <a:pt x="0" y="32"/>
                  </a:ln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sp>
          <p:nvSpPr>
            <p:cNvPr id="137" name="Oval 278">
              <a:extLst>
                <a:ext uri="{FF2B5EF4-FFF2-40B4-BE49-F238E27FC236}">
                  <a16:creationId xmlns:a16="http://schemas.microsoft.com/office/drawing/2014/main" id="{98CF5232-67D0-4C90-A3F7-C29396855120}"/>
                </a:ext>
              </a:extLst>
            </p:cNvPr>
            <p:cNvSpPr>
              <a:spLocks noChangeArrowheads="1"/>
            </p:cNvSpPr>
            <p:nvPr/>
          </p:nvSpPr>
          <p:spPr bwMode="auto">
            <a:xfrm>
              <a:off x="5810250" y="3060701"/>
              <a:ext cx="76200" cy="74613"/>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sp>
          <p:nvSpPr>
            <p:cNvPr id="138" name="Freeform 279">
              <a:extLst>
                <a:ext uri="{FF2B5EF4-FFF2-40B4-BE49-F238E27FC236}">
                  <a16:creationId xmlns:a16="http://schemas.microsoft.com/office/drawing/2014/main" id="{9DE0B51F-6C56-4195-A73A-3E842E321573}"/>
                </a:ext>
              </a:extLst>
            </p:cNvPr>
            <p:cNvSpPr>
              <a:spLocks/>
            </p:cNvSpPr>
            <p:nvPr/>
          </p:nvSpPr>
          <p:spPr bwMode="auto">
            <a:xfrm>
              <a:off x="5788025" y="3135313"/>
              <a:ext cx="120650" cy="60325"/>
            </a:xfrm>
            <a:custGeom>
              <a:avLst/>
              <a:gdLst>
                <a:gd name="T0" fmla="*/ 32 w 32"/>
                <a:gd name="T1" fmla="*/ 16 h 16"/>
                <a:gd name="T2" fmla="*/ 0 w 32"/>
                <a:gd name="T3" fmla="*/ 16 h 16"/>
                <a:gd name="T4" fmla="*/ 16 w 32"/>
                <a:gd name="T5" fmla="*/ 0 h 16"/>
                <a:gd name="T6" fmla="*/ 32 w 32"/>
                <a:gd name="T7" fmla="*/ 16 h 16"/>
              </a:gdLst>
              <a:ahLst/>
              <a:cxnLst>
                <a:cxn ang="0">
                  <a:pos x="T0" y="T1"/>
                </a:cxn>
                <a:cxn ang="0">
                  <a:pos x="T2" y="T3"/>
                </a:cxn>
                <a:cxn ang="0">
                  <a:pos x="T4" y="T5"/>
                </a:cxn>
                <a:cxn ang="0">
                  <a:pos x="T6" y="T7"/>
                </a:cxn>
              </a:cxnLst>
              <a:rect l="0" t="0" r="r" b="b"/>
              <a:pathLst>
                <a:path w="32" h="16">
                  <a:moveTo>
                    <a:pt x="32" y="16"/>
                  </a:moveTo>
                  <a:cubicBezTo>
                    <a:pt x="0" y="16"/>
                    <a:pt x="0" y="16"/>
                    <a:pt x="0" y="16"/>
                  </a:cubicBezTo>
                  <a:cubicBezTo>
                    <a:pt x="0" y="7"/>
                    <a:pt x="7" y="0"/>
                    <a:pt x="16" y="0"/>
                  </a:cubicBezTo>
                  <a:cubicBezTo>
                    <a:pt x="25" y="0"/>
                    <a:pt x="32" y="7"/>
                    <a:pt x="32" y="16"/>
                  </a:cubicBez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sp>
          <p:nvSpPr>
            <p:cNvPr id="139" name="Oval 280">
              <a:extLst>
                <a:ext uri="{FF2B5EF4-FFF2-40B4-BE49-F238E27FC236}">
                  <a16:creationId xmlns:a16="http://schemas.microsoft.com/office/drawing/2014/main" id="{5C2A9E1C-D9E7-45E4-9F88-785AB37DD8B2}"/>
                </a:ext>
              </a:extLst>
            </p:cNvPr>
            <p:cNvSpPr>
              <a:spLocks noChangeArrowheads="1"/>
            </p:cNvSpPr>
            <p:nvPr/>
          </p:nvSpPr>
          <p:spPr bwMode="auto">
            <a:xfrm>
              <a:off x="5584825" y="3060701"/>
              <a:ext cx="76200" cy="74613"/>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sp>
          <p:nvSpPr>
            <p:cNvPr id="140" name="Freeform 281">
              <a:extLst>
                <a:ext uri="{FF2B5EF4-FFF2-40B4-BE49-F238E27FC236}">
                  <a16:creationId xmlns:a16="http://schemas.microsoft.com/office/drawing/2014/main" id="{6049188C-6D5E-4129-A9DF-ACE6170D7BA6}"/>
                </a:ext>
              </a:extLst>
            </p:cNvPr>
            <p:cNvSpPr>
              <a:spLocks/>
            </p:cNvSpPr>
            <p:nvPr/>
          </p:nvSpPr>
          <p:spPr bwMode="auto">
            <a:xfrm>
              <a:off x="5562600" y="3135313"/>
              <a:ext cx="120650" cy="60325"/>
            </a:xfrm>
            <a:custGeom>
              <a:avLst/>
              <a:gdLst>
                <a:gd name="T0" fmla="*/ 32 w 32"/>
                <a:gd name="T1" fmla="*/ 16 h 16"/>
                <a:gd name="T2" fmla="*/ 0 w 32"/>
                <a:gd name="T3" fmla="*/ 16 h 16"/>
                <a:gd name="T4" fmla="*/ 16 w 32"/>
                <a:gd name="T5" fmla="*/ 0 h 16"/>
                <a:gd name="T6" fmla="*/ 32 w 32"/>
                <a:gd name="T7" fmla="*/ 16 h 16"/>
              </a:gdLst>
              <a:ahLst/>
              <a:cxnLst>
                <a:cxn ang="0">
                  <a:pos x="T0" y="T1"/>
                </a:cxn>
                <a:cxn ang="0">
                  <a:pos x="T2" y="T3"/>
                </a:cxn>
                <a:cxn ang="0">
                  <a:pos x="T4" y="T5"/>
                </a:cxn>
                <a:cxn ang="0">
                  <a:pos x="T6" y="T7"/>
                </a:cxn>
              </a:cxnLst>
              <a:rect l="0" t="0" r="r" b="b"/>
              <a:pathLst>
                <a:path w="32" h="16">
                  <a:moveTo>
                    <a:pt x="32" y="16"/>
                  </a:moveTo>
                  <a:cubicBezTo>
                    <a:pt x="0" y="16"/>
                    <a:pt x="0" y="16"/>
                    <a:pt x="0" y="16"/>
                  </a:cubicBezTo>
                  <a:cubicBezTo>
                    <a:pt x="0" y="7"/>
                    <a:pt x="7" y="0"/>
                    <a:pt x="16" y="0"/>
                  </a:cubicBezTo>
                  <a:cubicBezTo>
                    <a:pt x="25" y="0"/>
                    <a:pt x="32" y="7"/>
                    <a:pt x="32" y="16"/>
                  </a:cubicBez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sp>
          <p:nvSpPr>
            <p:cNvPr id="141" name="Oval 282">
              <a:extLst>
                <a:ext uri="{FF2B5EF4-FFF2-40B4-BE49-F238E27FC236}">
                  <a16:creationId xmlns:a16="http://schemas.microsoft.com/office/drawing/2014/main" id="{8C7E81DC-2E4B-4F7E-8B84-EB840D1F90E3}"/>
                </a:ext>
              </a:extLst>
            </p:cNvPr>
            <p:cNvSpPr>
              <a:spLocks noChangeArrowheads="1"/>
            </p:cNvSpPr>
            <p:nvPr/>
          </p:nvSpPr>
          <p:spPr bwMode="auto">
            <a:xfrm>
              <a:off x="5697538" y="3105151"/>
              <a:ext cx="76200" cy="76200"/>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sp>
          <p:nvSpPr>
            <p:cNvPr id="142" name="Freeform 283">
              <a:extLst>
                <a:ext uri="{FF2B5EF4-FFF2-40B4-BE49-F238E27FC236}">
                  <a16:creationId xmlns:a16="http://schemas.microsoft.com/office/drawing/2014/main" id="{04D24996-ABE1-4825-9DFD-1AC1536D2D80}"/>
                </a:ext>
              </a:extLst>
            </p:cNvPr>
            <p:cNvSpPr>
              <a:spLocks/>
            </p:cNvSpPr>
            <p:nvPr/>
          </p:nvSpPr>
          <p:spPr bwMode="auto">
            <a:xfrm>
              <a:off x="5675313" y="3181351"/>
              <a:ext cx="120650" cy="60325"/>
            </a:xfrm>
            <a:custGeom>
              <a:avLst/>
              <a:gdLst>
                <a:gd name="T0" fmla="*/ 32 w 32"/>
                <a:gd name="T1" fmla="*/ 16 h 16"/>
                <a:gd name="T2" fmla="*/ 0 w 32"/>
                <a:gd name="T3" fmla="*/ 16 h 16"/>
                <a:gd name="T4" fmla="*/ 16 w 32"/>
                <a:gd name="T5" fmla="*/ 0 h 16"/>
                <a:gd name="T6" fmla="*/ 32 w 32"/>
                <a:gd name="T7" fmla="*/ 16 h 16"/>
              </a:gdLst>
              <a:ahLst/>
              <a:cxnLst>
                <a:cxn ang="0">
                  <a:pos x="T0" y="T1"/>
                </a:cxn>
                <a:cxn ang="0">
                  <a:pos x="T2" y="T3"/>
                </a:cxn>
                <a:cxn ang="0">
                  <a:pos x="T4" y="T5"/>
                </a:cxn>
                <a:cxn ang="0">
                  <a:pos x="T6" y="T7"/>
                </a:cxn>
              </a:cxnLst>
              <a:rect l="0" t="0" r="r" b="b"/>
              <a:pathLst>
                <a:path w="32" h="16">
                  <a:moveTo>
                    <a:pt x="32" y="16"/>
                  </a:moveTo>
                  <a:cubicBezTo>
                    <a:pt x="0" y="16"/>
                    <a:pt x="0" y="16"/>
                    <a:pt x="0" y="16"/>
                  </a:cubicBezTo>
                  <a:cubicBezTo>
                    <a:pt x="0" y="7"/>
                    <a:pt x="7" y="0"/>
                    <a:pt x="16" y="0"/>
                  </a:cubicBezTo>
                  <a:cubicBezTo>
                    <a:pt x="25" y="0"/>
                    <a:pt x="32" y="7"/>
                    <a:pt x="32" y="16"/>
                  </a:cubicBez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sp>
          <p:nvSpPr>
            <p:cNvPr id="143" name="Line 284">
              <a:extLst>
                <a:ext uri="{FF2B5EF4-FFF2-40B4-BE49-F238E27FC236}">
                  <a16:creationId xmlns:a16="http://schemas.microsoft.com/office/drawing/2014/main" id="{EAD986D3-DB19-40D8-8A7B-F2655CFC6BB5}"/>
                </a:ext>
              </a:extLst>
            </p:cNvPr>
            <p:cNvSpPr>
              <a:spLocks noChangeShapeType="1"/>
            </p:cNvSpPr>
            <p:nvPr/>
          </p:nvSpPr>
          <p:spPr bwMode="auto">
            <a:xfrm>
              <a:off x="5683250" y="2925763"/>
              <a:ext cx="104775" cy="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sp>
          <p:nvSpPr>
            <p:cNvPr id="149" name="Line 285">
              <a:extLst>
                <a:ext uri="{FF2B5EF4-FFF2-40B4-BE49-F238E27FC236}">
                  <a16:creationId xmlns:a16="http://schemas.microsoft.com/office/drawing/2014/main" id="{3C7545FC-B969-4A30-8741-D1ADAC3B8674}"/>
                </a:ext>
              </a:extLst>
            </p:cNvPr>
            <p:cNvSpPr>
              <a:spLocks noChangeShapeType="1"/>
            </p:cNvSpPr>
            <p:nvPr/>
          </p:nvSpPr>
          <p:spPr bwMode="auto">
            <a:xfrm>
              <a:off x="5683250" y="2955926"/>
              <a:ext cx="104775" cy="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sp>
          <p:nvSpPr>
            <p:cNvPr id="151" name="Line 286">
              <a:extLst>
                <a:ext uri="{FF2B5EF4-FFF2-40B4-BE49-F238E27FC236}">
                  <a16:creationId xmlns:a16="http://schemas.microsoft.com/office/drawing/2014/main" id="{77057B69-330A-4AC2-AA09-04DB0675F3DC}"/>
                </a:ext>
              </a:extLst>
            </p:cNvPr>
            <p:cNvSpPr>
              <a:spLocks noChangeShapeType="1"/>
            </p:cNvSpPr>
            <p:nvPr/>
          </p:nvSpPr>
          <p:spPr bwMode="auto">
            <a:xfrm>
              <a:off x="5683250" y="2986088"/>
              <a:ext cx="104775" cy="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grpSp>
      <p:grpSp>
        <p:nvGrpSpPr>
          <p:cNvPr id="152" name="Group 151">
            <a:extLst>
              <a:ext uri="{FF2B5EF4-FFF2-40B4-BE49-F238E27FC236}">
                <a16:creationId xmlns:a16="http://schemas.microsoft.com/office/drawing/2014/main" id="{7B430F09-EA2B-4C12-AA78-F09CA566858B}"/>
              </a:ext>
            </a:extLst>
          </p:cNvPr>
          <p:cNvGrpSpPr/>
          <p:nvPr/>
        </p:nvGrpSpPr>
        <p:grpSpPr>
          <a:xfrm>
            <a:off x="7539252" y="2601639"/>
            <a:ext cx="556134" cy="715848"/>
            <a:chOff x="9183688" y="1465264"/>
            <a:chExt cx="300038" cy="331788"/>
          </a:xfrm>
        </p:grpSpPr>
        <p:sp>
          <p:nvSpPr>
            <p:cNvPr id="228" name="Freeform 202">
              <a:extLst>
                <a:ext uri="{FF2B5EF4-FFF2-40B4-BE49-F238E27FC236}">
                  <a16:creationId xmlns:a16="http://schemas.microsoft.com/office/drawing/2014/main" id="{3B1D5D2C-1073-4AC7-A35D-597F39B91E7B}"/>
                </a:ext>
              </a:extLst>
            </p:cNvPr>
            <p:cNvSpPr>
              <a:spLocks/>
            </p:cNvSpPr>
            <p:nvPr/>
          </p:nvSpPr>
          <p:spPr bwMode="auto">
            <a:xfrm>
              <a:off x="9378951" y="1601789"/>
              <a:ext cx="104775" cy="195263"/>
            </a:xfrm>
            <a:custGeom>
              <a:avLst/>
              <a:gdLst>
                <a:gd name="T0" fmla="*/ 0 w 28"/>
                <a:gd name="T1" fmla="*/ 0 h 52"/>
                <a:gd name="T2" fmla="*/ 28 w 28"/>
                <a:gd name="T3" fmla="*/ 0 h 52"/>
                <a:gd name="T4" fmla="*/ 28 w 28"/>
                <a:gd name="T5" fmla="*/ 20 h 52"/>
                <a:gd name="T6" fmla="*/ 20 w 28"/>
                <a:gd name="T7" fmla="*/ 28 h 52"/>
                <a:gd name="T8" fmla="*/ 20 w 28"/>
                <a:gd name="T9" fmla="*/ 52 h 52"/>
                <a:gd name="T10" fmla="*/ 8 w 28"/>
                <a:gd name="T11" fmla="*/ 52 h 52"/>
                <a:gd name="T12" fmla="*/ 8 w 28"/>
                <a:gd name="T13" fmla="*/ 28 h 52"/>
                <a:gd name="T14" fmla="*/ 0 w 28"/>
                <a:gd name="T15" fmla="*/ 20 h 52"/>
                <a:gd name="T16" fmla="*/ 0 w 28"/>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52">
                  <a:moveTo>
                    <a:pt x="0" y="0"/>
                  </a:moveTo>
                  <a:cubicBezTo>
                    <a:pt x="28" y="0"/>
                    <a:pt x="28" y="0"/>
                    <a:pt x="28" y="0"/>
                  </a:cubicBezTo>
                  <a:cubicBezTo>
                    <a:pt x="28" y="20"/>
                    <a:pt x="28" y="20"/>
                    <a:pt x="28" y="20"/>
                  </a:cubicBezTo>
                  <a:cubicBezTo>
                    <a:pt x="28" y="24"/>
                    <a:pt x="24" y="28"/>
                    <a:pt x="20" y="28"/>
                  </a:cubicBezTo>
                  <a:cubicBezTo>
                    <a:pt x="20" y="52"/>
                    <a:pt x="20" y="52"/>
                    <a:pt x="20" y="52"/>
                  </a:cubicBezTo>
                  <a:cubicBezTo>
                    <a:pt x="8" y="52"/>
                    <a:pt x="8" y="52"/>
                    <a:pt x="8" y="52"/>
                  </a:cubicBezTo>
                  <a:cubicBezTo>
                    <a:pt x="8" y="28"/>
                    <a:pt x="8" y="28"/>
                    <a:pt x="8" y="28"/>
                  </a:cubicBezTo>
                  <a:cubicBezTo>
                    <a:pt x="4" y="28"/>
                    <a:pt x="0" y="24"/>
                    <a:pt x="0" y="20"/>
                  </a:cubicBezTo>
                  <a:lnTo>
                    <a:pt x="0" y="0"/>
                  </a:ln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9" name="Oval 203">
              <a:extLst>
                <a:ext uri="{FF2B5EF4-FFF2-40B4-BE49-F238E27FC236}">
                  <a16:creationId xmlns:a16="http://schemas.microsoft.com/office/drawing/2014/main" id="{C117E178-BAF2-4A83-BBF0-1AE8AA26888D}"/>
                </a:ext>
              </a:extLst>
            </p:cNvPr>
            <p:cNvSpPr>
              <a:spLocks noChangeArrowheads="1"/>
            </p:cNvSpPr>
            <p:nvPr/>
          </p:nvSpPr>
          <p:spPr bwMode="auto">
            <a:xfrm>
              <a:off x="9394826" y="1495426"/>
              <a:ext cx="74613" cy="76200"/>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0" name="Line 204">
              <a:extLst>
                <a:ext uri="{FF2B5EF4-FFF2-40B4-BE49-F238E27FC236}">
                  <a16:creationId xmlns:a16="http://schemas.microsoft.com/office/drawing/2014/main" id="{87B7A6DA-40E2-4151-A80B-C7C5F8BD7871}"/>
                </a:ext>
              </a:extLst>
            </p:cNvPr>
            <p:cNvSpPr>
              <a:spLocks noChangeShapeType="1"/>
            </p:cNvSpPr>
            <p:nvPr/>
          </p:nvSpPr>
          <p:spPr bwMode="auto">
            <a:xfrm>
              <a:off x="9183688" y="1465264"/>
              <a:ext cx="0" cy="331788"/>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1" name="Freeform 206">
              <a:extLst>
                <a:ext uri="{FF2B5EF4-FFF2-40B4-BE49-F238E27FC236}">
                  <a16:creationId xmlns:a16="http://schemas.microsoft.com/office/drawing/2014/main" id="{4C1B09BC-E204-4DD8-B1F4-E7EF8BFAAA15}"/>
                </a:ext>
              </a:extLst>
            </p:cNvPr>
            <p:cNvSpPr>
              <a:spLocks/>
            </p:cNvSpPr>
            <p:nvPr/>
          </p:nvSpPr>
          <p:spPr bwMode="auto">
            <a:xfrm>
              <a:off x="9183688" y="1495426"/>
              <a:ext cx="150813" cy="90488"/>
            </a:xfrm>
            <a:custGeom>
              <a:avLst/>
              <a:gdLst>
                <a:gd name="T0" fmla="*/ 95 w 95"/>
                <a:gd name="T1" fmla="*/ 57 h 57"/>
                <a:gd name="T2" fmla="*/ 0 w 95"/>
                <a:gd name="T3" fmla="*/ 57 h 57"/>
                <a:gd name="T4" fmla="*/ 0 w 95"/>
                <a:gd name="T5" fmla="*/ 0 h 57"/>
                <a:gd name="T6" fmla="*/ 95 w 95"/>
                <a:gd name="T7" fmla="*/ 0 h 57"/>
                <a:gd name="T8" fmla="*/ 66 w 95"/>
                <a:gd name="T9" fmla="*/ 29 h 57"/>
                <a:gd name="T10" fmla="*/ 95 w 95"/>
                <a:gd name="T11" fmla="*/ 57 h 57"/>
              </a:gdLst>
              <a:ahLst/>
              <a:cxnLst>
                <a:cxn ang="0">
                  <a:pos x="T0" y="T1"/>
                </a:cxn>
                <a:cxn ang="0">
                  <a:pos x="T2" y="T3"/>
                </a:cxn>
                <a:cxn ang="0">
                  <a:pos x="T4" y="T5"/>
                </a:cxn>
                <a:cxn ang="0">
                  <a:pos x="T6" y="T7"/>
                </a:cxn>
                <a:cxn ang="0">
                  <a:pos x="T8" y="T9"/>
                </a:cxn>
                <a:cxn ang="0">
                  <a:pos x="T10" y="T11"/>
                </a:cxn>
              </a:cxnLst>
              <a:rect l="0" t="0" r="r" b="b"/>
              <a:pathLst>
                <a:path w="95" h="57">
                  <a:moveTo>
                    <a:pt x="95" y="57"/>
                  </a:moveTo>
                  <a:lnTo>
                    <a:pt x="0" y="57"/>
                  </a:lnTo>
                  <a:lnTo>
                    <a:pt x="0" y="0"/>
                  </a:lnTo>
                  <a:lnTo>
                    <a:pt x="95" y="0"/>
                  </a:lnTo>
                  <a:lnTo>
                    <a:pt x="66" y="29"/>
                  </a:lnTo>
                  <a:lnTo>
                    <a:pt x="95" y="57"/>
                  </a:ln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7949316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06A139-B820-47C4-B9DE-D9A7CF468BD8}"/>
              </a:ext>
            </a:extLst>
          </p:cNvPr>
          <p:cNvPicPr>
            <a:picLocks noChangeAspect="1"/>
          </p:cNvPicPr>
          <p:nvPr/>
        </p:nvPicPr>
        <p:blipFill rotWithShape="1">
          <a:blip r:embed="rId2">
            <a:extLst>
              <a:ext uri="{28A0092B-C50C-407E-A947-70E740481C1C}">
                <a14:useLocalDpi xmlns:a14="http://schemas.microsoft.com/office/drawing/2010/main" val="0"/>
              </a:ext>
            </a:extLst>
          </a:blip>
          <a:srcRect l="2880" r="4252" b="6866"/>
          <a:stretch/>
        </p:blipFill>
        <p:spPr>
          <a:xfrm>
            <a:off x="133830" y="51992"/>
            <a:ext cx="3805084" cy="2146499"/>
          </a:xfrm>
          <a:prstGeom prst="rect">
            <a:avLst/>
          </a:prstGeom>
        </p:spPr>
      </p:pic>
      <p:pic>
        <p:nvPicPr>
          <p:cNvPr id="5" name="Picture 4">
            <a:extLst>
              <a:ext uri="{FF2B5EF4-FFF2-40B4-BE49-F238E27FC236}">
                <a16:creationId xmlns:a16="http://schemas.microsoft.com/office/drawing/2014/main" id="{0E45F21A-0291-4320-B5C6-7BBCF9B2A2BE}"/>
              </a:ext>
            </a:extLst>
          </p:cNvPr>
          <p:cNvPicPr>
            <a:picLocks noChangeAspect="1"/>
          </p:cNvPicPr>
          <p:nvPr/>
        </p:nvPicPr>
        <p:blipFill rotWithShape="1">
          <a:blip r:embed="rId3">
            <a:extLst>
              <a:ext uri="{28A0092B-C50C-407E-A947-70E740481C1C}">
                <a14:useLocalDpi xmlns:a14="http://schemas.microsoft.com/office/drawing/2010/main" val="0"/>
              </a:ext>
            </a:extLst>
          </a:blip>
          <a:srcRect l="2299" r="2463" b="5969"/>
          <a:stretch/>
        </p:blipFill>
        <p:spPr>
          <a:xfrm>
            <a:off x="8140927" y="4520816"/>
            <a:ext cx="3893756" cy="2162501"/>
          </a:xfrm>
          <a:prstGeom prst="rect">
            <a:avLst/>
          </a:prstGeom>
        </p:spPr>
      </p:pic>
      <p:pic>
        <p:nvPicPr>
          <p:cNvPr id="7" name="Picture 6">
            <a:extLst>
              <a:ext uri="{FF2B5EF4-FFF2-40B4-BE49-F238E27FC236}">
                <a16:creationId xmlns:a16="http://schemas.microsoft.com/office/drawing/2014/main" id="{57192415-83A1-48DB-AEA4-0FFE6D3D6DCF}"/>
              </a:ext>
            </a:extLst>
          </p:cNvPr>
          <p:cNvPicPr>
            <a:picLocks noChangeAspect="1"/>
          </p:cNvPicPr>
          <p:nvPr/>
        </p:nvPicPr>
        <p:blipFill rotWithShape="1">
          <a:blip r:embed="rId4">
            <a:extLst>
              <a:ext uri="{28A0092B-C50C-407E-A947-70E740481C1C}">
                <a14:useLocalDpi xmlns:a14="http://schemas.microsoft.com/office/drawing/2010/main" val="0"/>
              </a:ext>
            </a:extLst>
          </a:blip>
          <a:srcRect b="8420"/>
          <a:stretch/>
        </p:blipFill>
        <p:spPr>
          <a:xfrm>
            <a:off x="4053911" y="73535"/>
            <a:ext cx="4026975" cy="2074434"/>
          </a:xfrm>
          <a:prstGeom prst="rect">
            <a:avLst/>
          </a:prstGeom>
        </p:spPr>
      </p:pic>
      <p:pic>
        <p:nvPicPr>
          <p:cNvPr id="9" name="Picture 8">
            <a:extLst>
              <a:ext uri="{FF2B5EF4-FFF2-40B4-BE49-F238E27FC236}">
                <a16:creationId xmlns:a16="http://schemas.microsoft.com/office/drawing/2014/main" id="{C7392187-7B89-4FA5-AD76-97DCF23793D0}"/>
              </a:ext>
            </a:extLst>
          </p:cNvPr>
          <p:cNvPicPr>
            <a:picLocks noChangeAspect="1"/>
          </p:cNvPicPr>
          <p:nvPr/>
        </p:nvPicPr>
        <p:blipFill rotWithShape="1">
          <a:blip r:embed="rId5">
            <a:extLst>
              <a:ext uri="{28A0092B-C50C-407E-A947-70E740481C1C}">
                <a14:useLocalDpi xmlns:a14="http://schemas.microsoft.com/office/drawing/2010/main" val="0"/>
              </a:ext>
            </a:extLst>
          </a:blip>
          <a:srcRect l="2878" r="3581" b="6977"/>
          <a:stretch/>
        </p:blipFill>
        <p:spPr>
          <a:xfrm>
            <a:off x="157315" y="2308689"/>
            <a:ext cx="3758182" cy="2102307"/>
          </a:xfrm>
          <a:prstGeom prst="rect">
            <a:avLst/>
          </a:prstGeom>
        </p:spPr>
      </p:pic>
      <p:pic>
        <p:nvPicPr>
          <p:cNvPr id="11" name="Picture 10">
            <a:extLst>
              <a:ext uri="{FF2B5EF4-FFF2-40B4-BE49-F238E27FC236}">
                <a16:creationId xmlns:a16="http://schemas.microsoft.com/office/drawing/2014/main" id="{D005A0DB-6E16-4869-A96B-CC715EE4B724}"/>
              </a:ext>
            </a:extLst>
          </p:cNvPr>
          <p:cNvPicPr>
            <a:picLocks noChangeAspect="1"/>
          </p:cNvPicPr>
          <p:nvPr/>
        </p:nvPicPr>
        <p:blipFill rotWithShape="1">
          <a:blip r:embed="rId6">
            <a:extLst>
              <a:ext uri="{28A0092B-C50C-407E-A947-70E740481C1C}">
                <a14:useLocalDpi xmlns:a14="http://schemas.microsoft.com/office/drawing/2010/main" val="0"/>
              </a:ext>
            </a:extLst>
          </a:blip>
          <a:srcRect l="4070" r="3287" b="6821"/>
          <a:stretch/>
        </p:blipFill>
        <p:spPr>
          <a:xfrm>
            <a:off x="4050686" y="2296737"/>
            <a:ext cx="4026975" cy="2074434"/>
          </a:xfrm>
          <a:prstGeom prst="rect">
            <a:avLst/>
          </a:prstGeom>
        </p:spPr>
      </p:pic>
      <p:pic>
        <p:nvPicPr>
          <p:cNvPr id="13" name="Picture 12">
            <a:extLst>
              <a:ext uri="{FF2B5EF4-FFF2-40B4-BE49-F238E27FC236}">
                <a16:creationId xmlns:a16="http://schemas.microsoft.com/office/drawing/2014/main" id="{9EFEAC1B-0E5F-402E-87EC-DF39D50344BD}"/>
              </a:ext>
            </a:extLst>
          </p:cNvPr>
          <p:cNvPicPr>
            <a:picLocks noChangeAspect="1"/>
          </p:cNvPicPr>
          <p:nvPr/>
        </p:nvPicPr>
        <p:blipFill rotWithShape="1">
          <a:blip r:embed="rId7">
            <a:extLst>
              <a:ext uri="{28A0092B-C50C-407E-A947-70E740481C1C}">
                <a14:useLocalDpi xmlns:a14="http://schemas.microsoft.com/office/drawing/2010/main" val="0"/>
              </a:ext>
            </a:extLst>
          </a:blip>
          <a:srcRect l="3159" r="2979" b="6080"/>
          <a:stretch/>
        </p:blipFill>
        <p:spPr>
          <a:xfrm>
            <a:off x="8140928" y="2271476"/>
            <a:ext cx="3917242" cy="2204807"/>
          </a:xfrm>
          <a:prstGeom prst="rect">
            <a:avLst/>
          </a:prstGeom>
        </p:spPr>
      </p:pic>
      <p:pic>
        <p:nvPicPr>
          <p:cNvPr id="15" name="Picture 14">
            <a:extLst>
              <a:ext uri="{FF2B5EF4-FFF2-40B4-BE49-F238E27FC236}">
                <a16:creationId xmlns:a16="http://schemas.microsoft.com/office/drawing/2014/main" id="{96CB9870-7930-4E17-B5F4-402CC026E2E2}"/>
              </a:ext>
            </a:extLst>
          </p:cNvPr>
          <p:cNvPicPr>
            <a:picLocks noChangeAspect="1"/>
          </p:cNvPicPr>
          <p:nvPr/>
        </p:nvPicPr>
        <p:blipFill rotWithShape="1">
          <a:blip r:embed="rId8">
            <a:extLst>
              <a:ext uri="{28A0092B-C50C-407E-A947-70E740481C1C}">
                <a14:useLocalDpi xmlns:a14="http://schemas.microsoft.com/office/drawing/2010/main" val="0"/>
              </a:ext>
            </a:extLst>
          </a:blip>
          <a:srcRect l="3803" r="2904" b="6547"/>
          <a:stretch/>
        </p:blipFill>
        <p:spPr>
          <a:xfrm>
            <a:off x="157315" y="4521194"/>
            <a:ext cx="3751733" cy="2113935"/>
          </a:xfrm>
          <a:prstGeom prst="rect">
            <a:avLst/>
          </a:prstGeom>
        </p:spPr>
      </p:pic>
      <p:pic>
        <p:nvPicPr>
          <p:cNvPr id="17" name="Picture 16">
            <a:extLst>
              <a:ext uri="{FF2B5EF4-FFF2-40B4-BE49-F238E27FC236}">
                <a16:creationId xmlns:a16="http://schemas.microsoft.com/office/drawing/2014/main" id="{A54BA6A0-C976-4962-B036-F79C3AD8A48D}"/>
              </a:ext>
            </a:extLst>
          </p:cNvPr>
          <p:cNvPicPr>
            <a:picLocks noChangeAspect="1"/>
          </p:cNvPicPr>
          <p:nvPr/>
        </p:nvPicPr>
        <p:blipFill rotWithShape="1">
          <a:blip r:embed="rId9">
            <a:extLst>
              <a:ext uri="{28A0092B-C50C-407E-A947-70E740481C1C}">
                <a14:useLocalDpi xmlns:a14="http://schemas.microsoft.com/office/drawing/2010/main" val="0"/>
              </a:ext>
            </a:extLst>
          </a:blip>
          <a:srcRect l="2806" r="3597" b="8432"/>
          <a:stretch/>
        </p:blipFill>
        <p:spPr>
          <a:xfrm>
            <a:off x="8164413" y="78515"/>
            <a:ext cx="3893757" cy="2142754"/>
          </a:xfrm>
          <a:prstGeom prst="rect">
            <a:avLst/>
          </a:prstGeom>
        </p:spPr>
      </p:pic>
      <p:pic>
        <p:nvPicPr>
          <p:cNvPr id="19" name="Picture 18">
            <a:extLst>
              <a:ext uri="{FF2B5EF4-FFF2-40B4-BE49-F238E27FC236}">
                <a16:creationId xmlns:a16="http://schemas.microsoft.com/office/drawing/2014/main" id="{B360CB81-E5E5-4854-A408-8E4EA08A4623}"/>
              </a:ext>
            </a:extLst>
          </p:cNvPr>
          <p:cNvPicPr>
            <a:picLocks noChangeAspect="1"/>
          </p:cNvPicPr>
          <p:nvPr/>
        </p:nvPicPr>
        <p:blipFill rotWithShape="1">
          <a:blip r:embed="rId10">
            <a:extLst>
              <a:ext uri="{28A0092B-C50C-407E-A947-70E740481C1C}">
                <a14:useLocalDpi xmlns:a14="http://schemas.microsoft.com/office/drawing/2010/main" val="0"/>
              </a:ext>
            </a:extLst>
          </a:blip>
          <a:srcRect l="3647" t="10846" r="3866" b="14924"/>
          <a:stretch/>
        </p:blipFill>
        <p:spPr>
          <a:xfrm>
            <a:off x="4050686" y="4521194"/>
            <a:ext cx="4026975" cy="2225881"/>
          </a:xfrm>
          <a:prstGeom prst="rect">
            <a:avLst/>
          </a:prstGeom>
        </p:spPr>
      </p:pic>
    </p:spTree>
    <p:extLst>
      <p:ext uri="{BB962C8B-B14F-4D97-AF65-F5344CB8AC3E}">
        <p14:creationId xmlns:p14="http://schemas.microsoft.com/office/powerpoint/2010/main" val="2170964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56975F-7E4B-4E34-9297-698655719D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258328"/>
            <a:ext cx="10852114" cy="5521021"/>
          </a:xfrm>
          <a:prstGeom prst="rect">
            <a:avLst/>
          </a:prstGeom>
        </p:spPr>
      </p:pic>
      <p:sp>
        <p:nvSpPr>
          <p:cNvPr id="39" name="Freeform: Shape 38">
            <a:extLst>
              <a:ext uri="{FF2B5EF4-FFF2-40B4-BE49-F238E27FC236}">
                <a16:creationId xmlns:a16="http://schemas.microsoft.com/office/drawing/2014/main" id="{4907A1FC-45F9-485A-879F-1BF68FBA4FB5}"/>
              </a:ext>
            </a:extLst>
          </p:cNvPr>
          <p:cNvSpPr/>
          <p:nvPr/>
        </p:nvSpPr>
        <p:spPr>
          <a:xfrm>
            <a:off x="-4288" y="2935439"/>
            <a:ext cx="11421587" cy="3922561"/>
          </a:xfrm>
          <a:custGeom>
            <a:avLst/>
            <a:gdLst>
              <a:gd name="connsiteX0" fmla="*/ 0 w 9568392"/>
              <a:gd name="connsiteY0" fmla="*/ 0 h 3286111"/>
              <a:gd name="connsiteX1" fmla="*/ 109082 w 9568392"/>
              <a:gd name="connsiteY1" fmla="*/ 50087 h 3286111"/>
              <a:gd name="connsiteX2" fmla="*/ 4145955 w 9568392"/>
              <a:gd name="connsiteY2" fmla="*/ 2841611 h 3286111"/>
              <a:gd name="connsiteX3" fmla="*/ 7841655 w 9568392"/>
              <a:gd name="connsiteY3" fmla="*/ 2651111 h 3286111"/>
              <a:gd name="connsiteX4" fmla="*/ 9531846 w 9568392"/>
              <a:gd name="connsiteY4" fmla="*/ 3262919 h 3286111"/>
              <a:gd name="connsiteX5" fmla="*/ 9568392 w 9568392"/>
              <a:gd name="connsiteY5" fmla="*/ 3286111 h 3286111"/>
              <a:gd name="connsiteX6" fmla="*/ 0 w 9568392"/>
              <a:gd name="connsiteY6" fmla="*/ 3286111 h 3286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68392" h="3286111">
                <a:moveTo>
                  <a:pt x="0" y="0"/>
                </a:moveTo>
                <a:lnTo>
                  <a:pt x="109082" y="50087"/>
                </a:lnTo>
                <a:cubicBezTo>
                  <a:pt x="1319504" y="639672"/>
                  <a:pt x="2878733" y="2413053"/>
                  <a:pt x="4145955" y="2841611"/>
                </a:cubicBezTo>
                <a:cubicBezTo>
                  <a:pt x="5454055" y="3283994"/>
                  <a:pt x="6859522" y="2515644"/>
                  <a:pt x="7841655" y="2651111"/>
                </a:cubicBezTo>
                <a:cubicBezTo>
                  <a:pt x="8455488" y="2735778"/>
                  <a:pt x="9097433" y="3008961"/>
                  <a:pt x="9531846" y="3262919"/>
                </a:cubicBezTo>
                <a:lnTo>
                  <a:pt x="9568392" y="3286111"/>
                </a:lnTo>
                <a:lnTo>
                  <a:pt x="0" y="3286111"/>
                </a:lnTo>
                <a:close/>
              </a:path>
            </a:pathLst>
          </a:custGeom>
          <a:solidFill>
            <a:schemeClr val="accent6">
              <a:lumMod val="40000"/>
              <a:lumOff val="60000"/>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2" name="Title 1">
            <a:extLst>
              <a:ext uri="{FF2B5EF4-FFF2-40B4-BE49-F238E27FC236}">
                <a16:creationId xmlns:a16="http://schemas.microsoft.com/office/drawing/2014/main" id="{21C00BE2-9936-4800-8599-13DBC0DB7402}"/>
              </a:ext>
            </a:extLst>
          </p:cNvPr>
          <p:cNvSpPr>
            <a:spLocks noGrp="1"/>
          </p:cNvSpPr>
          <p:nvPr>
            <p:ph type="title"/>
          </p:nvPr>
        </p:nvSpPr>
        <p:spPr>
          <a:xfrm>
            <a:off x="501686" y="295570"/>
            <a:ext cx="4659775" cy="1153988"/>
          </a:xfrm>
        </p:spPr>
        <p:txBody>
          <a:bodyPr>
            <a:normAutofit/>
          </a:bodyPr>
          <a:lstStyle/>
          <a:p>
            <a:r>
              <a:rPr lang="en-IN" dirty="0"/>
              <a:t>Valley of </a:t>
            </a:r>
            <a:r>
              <a:rPr lang="en-IN" b="1" dirty="0"/>
              <a:t>Death</a:t>
            </a:r>
            <a:endParaRPr lang="en-US" b="1" dirty="0"/>
          </a:p>
        </p:txBody>
      </p:sp>
      <p:sp>
        <p:nvSpPr>
          <p:cNvPr id="5" name="Slide Number Placeholder 4">
            <a:extLst>
              <a:ext uri="{FF2B5EF4-FFF2-40B4-BE49-F238E27FC236}">
                <a16:creationId xmlns:a16="http://schemas.microsoft.com/office/drawing/2014/main" id="{DC138C29-2509-4D5C-9F90-BE3E4541DEC6}"/>
              </a:ext>
            </a:extLst>
          </p:cNvPr>
          <p:cNvSpPr>
            <a:spLocks noGrp="1"/>
          </p:cNvSpPr>
          <p:nvPr>
            <p:ph type="sldNum" sz="quarter" idx="12"/>
          </p:nvPr>
        </p:nvSpPr>
        <p:spPr/>
        <p:txBody>
          <a:bodyPr/>
          <a:lstStyle/>
          <a:p>
            <a:fld id="{66953FAA-0042-4AB5-AB8F-C115E6331DA8}" type="slidenum">
              <a:rPr lang="en-US" smtClean="0"/>
              <a:pPr/>
              <a:t>15</a:t>
            </a:fld>
            <a:endParaRPr lang="en-US" dirty="0"/>
          </a:p>
        </p:txBody>
      </p:sp>
      <p:sp>
        <p:nvSpPr>
          <p:cNvPr id="35" name="Freeform: Shape 34">
            <a:extLst>
              <a:ext uri="{FF2B5EF4-FFF2-40B4-BE49-F238E27FC236}">
                <a16:creationId xmlns:a16="http://schemas.microsoft.com/office/drawing/2014/main" id="{ECEF4AC3-88AA-4E00-98CA-71999AE5E4B6}"/>
              </a:ext>
            </a:extLst>
          </p:cNvPr>
          <p:cNvSpPr/>
          <p:nvPr/>
        </p:nvSpPr>
        <p:spPr>
          <a:xfrm flipV="1">
            <a:off x="0" y="3100360"/>
            <a:ext cx="6473371" cy="3757640"/>
          </a:xfrm>
          <a:custGeom>
            <a:avLst/>
            <a:gdLst>
              <a:gd name="connsiteX0" fmla="*/ 0 w 6487254"/>
              <a:gd name="connsiteY0" fmla="*/ 0 h 1933129"/>
              <a:gd name="connsiteX1" fmla="*/ 6487254 w 6487254"/>
              <a:gd name="connsiteY1" fmla="*/ 0 h 1933129"/>
              <a:gd name="connsiteX2" fmla="*/ 6273142 w 6487254"/>
              <a:gd name="connsiteY2" fmla="*/ 81288 h 1933129"/>
              <a:gd name="connsiteX3" fmla="*/ 4423887 w 6487254"/>
              <a:gd name="connsiteY3" fmla="*/ 647700 h 1933129"/>
              <a:gd name="connsiteX4" fmla="*/ 1261587 w 6487254"/>
              <a:gd name="connsiteY4" fmla="*/ 787400 h 1933129"/>
              <a:gd name="connsiteX5" fmla="*/ 129303 w 6487254"/>
              <a:gd name="connsiteY5" fmla="*/ 1760140 h 1933129"/>
              <a:gd name="connsiteX6" fmla="*/ 0 w 6487254"/>
              <a:gd name="connsiteY6" fmla="*/ 1933129 h 1933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87254" h="1933129">
                <a:moveTo>
                  <a:pt x="0" y="0"/>
                </a:moveTo>
                <a:lnTo>
                  <a:pt x="6487254" y="0"/>
                </a:lnTo>
                <a:lnTo>
                  <a:pt x="6273142" y="81288"/>
                </a:lnTo>
                <a:cubicBezTo>
                  <a:pt x="5625831" y="317798"/>
                  <a:pt x="4854497" y="540279"/>
                  <a:pt x="4423887" y="647700"/>
                </a:cubicBezTo>
                <a:cubicBezTo>
                  <a:pt x="3439637" y="893233"/>
                  <a:pt x="2131537" y="370417"/>
                  <a:pt x="1261587" y="787400"/>
                </a:cubicBezTo>
                <a:cubicBezTo>
                  <a:pt x="826612" y="995892"/>
                  <a:pt x="460693" y="1343289"/>
                  <a:pt x="129303" y="1760140"/>
                </a:cubicBezTo>
                <a:lnTo>
                  <a:pt x="0" y="1933129"/>
                </a:lnTo>
                <a:close/>
              </a:path>
            </a:pathLst>
          </a:custGeom>
          <a:solidFill>
            <a:srgbClr val="9C6BCF">
              <a:alpha val="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Shape 36">
            <a:extLst>
              <a:ext uri="{FF2B5EF4-FFF2-40B4-BE49-F238E27FC236}">
                <a16:creationId xmlns:a16="http://schemas.microsoft.com/office/drawing/2014/main" id="{1BD09FC1-B8AE-49C9-82D0-95F5FDD748AD}"/>
              </a:ext>
            </a:extLst>
          </p:cNvPr>
          <p:cNvSpPr/>
          <p:nvPr/>
        </p:nvSpPr>
        <p:spPr>
          <a:xfrm>
            <a:off x="0" y="0"/>
            <a:ext cx="4727781" cy="2080247"/>
          </a:xfrm>
          <a:custGeom>
            <a:avLst/>
            <a:gdLst>
              <a:gd name="connsiteX0" fmla="*/ 0 w 6487254"/>
              <a:gd name="connsiteY0" fmla="*/ 0 h 1933129"/>
              <a:gd name="connsiteX1" fmla="*/ 6487254 w 6487254"/>
              <a:gd name="connsiteY1" fmla="*/ 0 h 1933129"/>
              <a:gd name="connsiteX2" fmla="*/ 6273142 w 6487254"/>
              <a:gd name="connsiteY2" fmla="*/ 81288 h 1933129"/>
              <a:gd name="connsiteX3" fmla="*/ 4423887 w 6487254"/>
              <a:gd name="connsiteY3" fmla="*/ 647700 h 1933129"/>
              <a:gd name="connsiteX4" fmla="*/ 1261587 w 6487254"/>
              <a:gd name="connsiteY4" fmla="*/ 787400 h 1933129"/>
              <a:gd name="connsiteX5" fmla="*/ 129303 w 6487254"/>
              <a:gd name="connsiteY5" fmla="*/ 1760140 h 1933129"/>
              <a:gd name="connsiteX6" fmla="*/ 0 w 6487254"/>
              <a:gd name="connsiteY6" fmla="*/ 1933129 h 1933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87254" h="1933129">
                <a:moveTo>
                  <a:pt x="0" y="0"/>
                </a:moveTo>
                <a:lnTo>
                  <a:pt x="6487254" y="0"/>
                </a:lnTo>
                <a:lnTo>
                  <a:pt x="6273142" y="81288"/>
                </a:lnTo>
                <a:cubicBezTo>
                  <a:pt x="5625831" y="317798"/>
                  <a:pt x="4854497" y="540279"/>
                  <a:pt x="4423887" y="647700"/>
                </a:cubicBezTo>
                <a:cubicBezTo>
                  <a:pt x="3439637" y="893233"/>
                  <a:pt x="2131537" y="370417"/>
                  <a:pt x="1261587" y="787400"/>
                </a:cubicBezTo>
                <a:cubicBezTo>
                  <a:pt x="826612" y="995892"/>
                  <a:pt x="460693" y="1343289"/>
                  <a:pt x="129303" y="1760140"/>
                </a:cubicBezTo>
                <a:lnTo>
                  <a:pt x="0" y="1933129"/>
                </a:lnTo>
                <a:close/>
              </a:path>
            </a:pathLst>
          </a:custGeom>
          <a:solidFill>
            <a:srgbClr val="9C6BCF">
              <a:alpha val="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85580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84E66B4-E06D-42AF-B98D-B9B46A2DA0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29988" y="705742"/>
            <a:ext cx="8289504" cy="6048321"/>
          </a:xfrm>
          <a:prstGeom prst="rect">
            <a:avLst/>
          </a:prstGeom>
        </p:spPr>
      </p:pic>
      <p:sp>
        <p:nvSpPr>
          <p:cNvPr id="2" name="Title 1">
            <a:extLst>
              <a:ext uri="{FF2B5EF4-FFF2-40B4-BE49-F238E27FC236}">
                <a16:creationId xmlns:a16="http://schemas.microsoft.com/office/drawing/2014/main" id="{21C00BE2-9936-4800-8599-13DBC0DB7402}"/>
              </a:ext>
            </a:extLst>
          </p:cNvPr>
          <p:cNvSpPr>
            <a:spLocks noGrp="1"/>
          </p:cNvSpPr>
          <p:nvPr>
            <p:ph type="title"/>
          </p:nvPr>
        </p:nvSpPr>
        <p:spPr>
          <a:xfrm>
            <a:off x="586336" y="480764"/>
            <a:ext cx="4659775" cy="1153988"/>
          </a:xfrm>
        </p:spPr>
        <p:txBody>
          <a:bodyPr>
            <a:normAutofit fontScale="90000"/>
          </a:bodyPr>
          <a:lstStyle/>
          <a:p>
            <a:r>
              <a:rPr lang="en-IN" dirty="0"/>
              <a:t>Critical Success Factors </a:t>
            </a:r>
            <a:r>
              <a:rPr lang="en-IN" b="1" dirty="0"/>
              <a:t>Framework</a:t>
            </a:r>
            <a:endParaRPr lang="en-US" b="1" dirty="0"/>
          </a:p>
        </p:txBody>
      </p:sp>
      <p:sp>
        <p:nvSpPr>
          <p:cNvPr id="5" name="Slide Number Placeholder 4">
            <a:extLst>
              <a:ext uri="{FF2B5EF4-FFF2-40B4-BE49-F238E27FC236}">
                <a16:creationId xmlns:a16="http://schemas.microsoft.com/office/drawing/2014/main" id="{DC138C29-2509-4D5C-9F90-BE3E4541DEC6}"/>
              </a:ext>
            </a:extLst>
          </p:cNvPr>
          <p:cNvSpPr>
            <a:spLocks noGrp="1"/>
          </p:cNvSpPr>
          <p:nvPr>
            <p:ph type="sldNum" sz="quarter" idx="12"/>
          </p:nvPr>
        </p:nvSpPr>
        <p:spPr/>
        <p:txBody>
          <a:bodyPr/>
          <a:lstStyle/>
          <a:p>
            <a:fld id="{66953FAA-0042-4AB5-AB8F-C115E6331DA8}" type="slidenum">
              <a:rPr lang="en-US" smtClean="0"/>
              <a:pPr/>
              <a:t>16</a:t>
            </a:fld>
            <a:endParaRPr lang="en-US" dirty="0"/>
          </a:p>
        </p:txBody>
      </p:sp>
      <p:grpSp>
        <p:nvGrpSpPr>
          <p:cNvPr id="18" name="Group 17">
            <a:extLst>
              <a:ext uri="{FF2B5EF4-FFF2-40B4-BE49-F238E27FC236}">
                <a16:creationId xmlns:a16="http://schemas.microsoft.com/office/drawing/2014/main" id="{18C5D05A-1FCD-4458-BE60-9865D651CE4F}"/>
              </a:ext>
            </a:extLst>
          </p:cNvPr>
          <p:cNvGrpSpPr/>
          <p:nvPr/>
        </p:nvGrpSpPr>
        <p:grpSpPr>
          <a:xfrm>
            <a:off x="586336" y="1903575"/>
            <a:ext cx="3440036" cy="4452775"/>
            <a:chOff x="618141" y="2004639"/>
            <a:chExt cx="3440036" cy="4452775"/>
          </a:xfrm>
        </p:grpSpPr>
        <p:grpSp>
          <p:nvGrpSpPr>
            <p:cNvPr id="4" name="Group 3">
              <a:extLst>
                <a:ext uri="{FF2B5EF4-FFF2-40B4-BE49-F238E27FC236}">
                  <a16:creationId xmlns:a16="http://schemas.microsoft.com/office/drawing/2014/main" id="{47EA029C-B966-43E6-B159-C6EA38AC0821}"/>
                </a:ext>
              </a:extLst>
            </p:cNvPr>
            <p:cNvGrpSpPr/>
            <p:nvPr/>
          </p:nvGrpSpPr>
          <p:grpSpPr>
            <a:xfrm>
              <a:off x="2177821" y="3204925"/>
              <a:ext cx="1880356" cy="1772186"/>
              <a:chOff x="5416863" y="1993504"/>
              <a:chExt cx="1487424" cy="1401858"/>
            </a:xfrm>
          </p:grpSpPr>
          <p:sp>
            <p:nvSpPr>
              <p:cNvPr id="9" name="Freeform 5">
                <a:extLst>
                  <a:ext uri="{FF2B5EF4-FFF2-40B4-BE49-F238E27FC236}">
                    <a16:creationId xmlns:a16="http://schemas.microsoft.com/office/drawing/2014/main" id="{D4117EA2-8DCA-4875-9F55-E2543176AB14}"/>
                  </a:ext>
                </a:extLst>
              </p:cNvPr>
              <p:cNvSpPr>
                <a:spLocks/>
              </p:cNvSpPr>
              <p:nvPr/>
            </p:nvSpPr>
            <p:spPr bwMode="auto">
              <a:xfrm>
                <a:off x="6119931" y="2157506"/>
                <a:ext cx="126923" cy="239585"/>
              </a:xfrm>
              <a:custGeom>
                <a:avLst/>
                <a:gdLst>
                  <a:gd name="T0" fmla="*/ 13 w 47"/>
                  <a:gd name="T1" fmla="*/ 46 h 89"/>
                  <a:gd name="T2" fmla="*/ 13 w 47"/>
                  <a:gd name="T3" fmla="*/ 6 h 89"/>
                  <a:gd name="T4" fmla="*/ 7 w 47"/>
                  <a:gd name="T5" fmla="*/ 0 h 89"/>
                  <a:gd name="T6" fmla="*/ 0 w 47"/>
                  <a:gd name="T7" fmla="*/ 6 h 89"/>
                  <a:gd name="T8" fmla="*/ 0 w 47"/>
                  <a:gd name="T9" fmla="*/ 49 h 89"/>
                  <a:gd name="T10" fmla="*/ 2 w 47"/>
                  <a:gd name="T11" fmla="*/ 54 h 89"/>
                  <a:gd name="T12" fmla="*/ 35 w 47"/>
                  <a:gd name="T13" fmla="*/ 87 h 89"/>
                  <a:gd name="T14" fmla="*/ 40 w 47"/>
                  <a:gd name="T15" fmla="*/ 89 h 89"/>
                  <a:gd name="T16" fmla="*/ 44 w 47"/>
                  <a:gd name="T17" fmla="*/ 87 h 89"/>
                  <a:gd name="T18" fmla="*/ 44 w 47"/>
                  <a:gd name="T19" fmla="*/ 78 h 89"/>
                  <a:gd name="T20" fmla="*/ 13 w 47"/>
                  <a:gd name="T21" fmla="*/ 4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89">
                    <a:moveTo>
                      <a:pt x="13" y="46"/>
                    </a:moveTo>
                    <a:cubicBezTo>
                      <a:pt x="13" y="6"/>
                      <a:pt x="13" y="6"/>
                      <a:pt x="13" y="6"/>
                    </a:cubicBezTo>
                    <a:cubicBezTo>
                      <a:pt x="13" y="3"/>
                      <a:pt x="10" y="0"/>
                      <a:pt x="7" y="0"/>
                    </a:cubicBezTo>
                    <a:cubicBezTo>
                      <a:pt x="3" y="0"/>
                      <a:pt x="0" y="3"/>
                      <a:pt x="0" y="6"/>
                    </a:cubicBezTo>
                    <a:cubicBezTo>
                      <a:pt x="0" y="49"/>
                      <a:pt x="0" y="49"/>
                      <a:pt x="0" y="49"/>
                    </a:cubicBezTo>
                    <a:cubicBezTo>
                      <a:pt x="0" y="51"/>
                      <a:pt x="1" y="53"/>
                      <a:pt x="2" y="54"/>
                    </a:cubicBezTo>
                    <a:cubicBezTo>
                      <a:pt x="35" y="87"/>
                      <a:pt x="35" y="87"/>
                      <a:pt x="35" y="87"/>
                    </a:cubicBezTo>
                    <a:cubicBezTo>
                      <a:pt x="36" y="88"/>
                      <a:pt x="38" y="89"/>
                      <a:pt x="40" y="89"/>
                    </a:cubicBezTo>
                    <a:cubicBezTo>
                      <a:pt x="41" y="89"/>
                      <a:pt x="43" y="88"/>
                      <a:pt x="44" y="87"/>
                    </a:cubicBezTo>
                    <a:cubicBezTo>
                      <a:pt x="47" y="84"/>
                      <a:pt x="47" y="80"/>
                      <a:pt x="44" y="78"/>
                    </a:cubicBezTo>
                    <a:lnTo>
                      <a:pt x="13" y="4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045CD54E-CF39-4535-BA91-46E3882C4B0E}"/>
                  </a:ext>
                </a:extLst>
              </p:cNvPr>
              <p:cNvSpPr>
                <a:spLocks noEditPoints="1"/>
              </p:cNvSpPr>
              <p:nvPr/>
            </p:nvSpPr>
            <p:spPr bwMode="auto">
              <a:xfrm>
                <a:off x="5416863" y="1993504"/>
                <a:ext cx="1487424" cy="1401858"/>
              </a:xfrm>
              <a:custGeom>
                <a:avLst/>
                <a:gdLst>
                  <a:gd name="T0" fmla="*/ 477 w 552"/>
                  <a:gd name="T1" fmla="*/ 132 h 521"/>
                  <a:gd name="T2" fmla="*/ 495 w 552"/>
                  <a:gd name="T3" fmla="*/ 132 h 521"/>
                  <a:gd name="T4" fmla="*/ 506 w 552"/>
                  <a:gd name="T5" fmla="*/ 121 h 521"/>
                  <a:gd name="T6" fmla="*/ 495 w 552"/>
                  <a:gd name="T7" fmla="*/ 109 h 521"/>
                  <a:gd name="T8" fmla="*/ 374 w 552"/>
                  <a:gd name="T9" fmla="*/ 109 h 521"/>
                  <a:gd name="T10" fmla="*/ 374 w 552"/>
                  <a:gd name="T11" fmla="*/ 107 h 521"/>
                  <a:gd name="T12" fmla="*/ 268 w 552"/>
                  <a:gd name="T13" fmla="*/ 0 h 521"/>
                  <a:gd name="T14" fmla="*/ 161 w 552"/>
                  <a:gd name="T15" fmla="*/ 107 h 521"/>
                  <a:gd name="T16" fmla="*/ 161 w 552"/>
                  <a:gd name="T17" fmla="*/ 109 h 521"/>
                  <a:gd name="T18" fmla="*/ 57 w 552"/>
                  <a:gd name="T19" fmla="*/ 109 h 521"/>
                  <a:gd name="T20" fmla="*/ 46 w 552"/>
                  <a:gd name="T21" fmla="*/ 121 h 521"/>
                  <a:gd name="T22" fmla="*/ 57 w 552"/>
                  <a:gd name="T23" fmla="*/ 132 h 521"/>
                  <a:gd name="T24" fmla="*/ 74 w 552"/>
                  <a:gd name="T25" fmla="*/ 132 h 521"/>
                  <a:gd name="T26" fmla="*/ 0 w 552"/>
                  <a:gd name="T27" fmla="*/ 298 h 521"/>
                  <a:gd name="T28" fmla="*/ 0 w 552"/>
                  <a:gd name="T29" fmla="*/ 304 h 521"/>
                  <a:gd name="T30" fmla="*/ 92 w 552"/>
                  <a:gd name="T31" fmla="*/ 395 h 521"/>
                  <a:gd name="T32" fmla="*/ 184 w 552"/>
                  <a:gd name="T33" fmla="*/ 304 h 521"/>
                  <a:gd name="T34" fmla="*/ 184 w 552"/>
                  <a:gd name="T35" fmla="*/ 298 h 521"/>
                  <a:gd name="T36" fmla="*/ 109 w 552"/>
                  <a:gd name="T37" fmla="*/ 132 h 521"/>
                  <a:gd name="T38" fmla="*/ 164 w 552"/>
                  <a:gd name="T39" fmla="*/ 132 h 521"/>
                  <a:gd name="T40" fmla="*/ 253 w 552"/>
                  <a:gd name="T41" fmla="*/ 212 h 521"/>
                  <a:gd name="T42" fmla="*/ 253 w 552"/>
                  <a:gd name="T43" fmla="*/ 498 h 521"/>
                  <a:gd name="T44" fmla="*/ 184 w 552"/>
                  <a:gd name="T45" fmla="*/ 498 h 521"/>
                  <a:gd name="T46" fmla="*/ 172 w 552"/>
                  <a:gd name="T47" fmla="*/ 509 h 521"/>
                  <a:gd name="T48" fmla="*/ 184 w 552"/>
                  <a:gd name="T49" fmla="*/ 521 h 521"/>
                  <a:gd name="T50" fmla="*/ 357 w 552"/>
                  <a:gd name="T51" fmla="*/ 521 h 521"/>
                  <a:gd name="T52" fmla="*/ 368 w 552"/>
                  <a:gd name="T53" fmla="*/ 509 h 521"/>
                  <a:gd name="T54" fmla="*/ 357 w 552"/>
                  <a:gd name="T55" fmla="*/ 498 h 521"/>
                  <a:gd name="T56" fmla="*/ 276 w 552"/>
                  <a:gd name="T57" fmla="*/ 498 h 521"/>
                  <a:gd name="T58" fmla="*/ 276 w 552"/>
                  <a:gd name="T59" fmla="*/ 213 h 521"/>
                  <a:gd name="T60" fmla="*/ 371 w 552"/>
                  <a:gd name="T61" fmla="*/ 132 h 521"/>
                  <a:gd name="T62" fmla="*/ 443 w 552"/>
                  <a:gd name="T63" fmla="*/ 132 h 521"/>
                  <a:gd name="T64" fmla="*/ 368 w 552"/>
                  <a:gd name="T65" fmla="*/ 298 h 521"/>
                  <a:gd name="T66" fmla="*/ 368 w 552"/>
                  <a:gd name="T67" fmla="*/ 304 h 521"/>
                  <a:gd name="T68" fmla="*/ 460 w 552"/>
                  <a:gd name="T69" fmla="*/ 395 h 521"/>
                  <a:gd name="T70" fmla="*/ 552 w 552"/>
                  <a:gd name="T71" fmla="*/ 304 h 521"/>
                  <a:gd name="T72" fmla="*/ 552 w 552"/>
                  <a:gd name="T73" fmla="*/ 298 h 521"/>
                  <a:gd name="T74" fmla="*/ 477 w 552"/>
                  <a:gd name="T75" fmla="*/ 132 h 521"/>
                  <a:gd name="T76" fmla="*/ 155 w 552"/>
                  <a:gd name="T77" fmla="*/ 292 h 521"/>
                  <a:gd name="T78" fmla="*/ 28 w 552"/>
                  <a:gd name="T79" fmla="*/ 292 h 521"/>
                  <a:gd name="T80" fmla="*/ 92 w 552"/>
                  <a:gd name="T81" fmla="*/ 149 h 521"/>
                  <a:gd name="T82" fmla="*/ 155 w 552"/>
                  <a:gd name="T83" fmla="*/ 292 h 521"/>
                  <a:gd name="T84" fmla="*/ 268 w 552"/>
                  <a:gd name="T85" fmla="*/ 186 h 521"/>
                  <a:gd name="T86" fmla="*/ 188 w 552"/>
                  <a:gd name="T87" fmla="*/ 107 h 521"/>
                  <a:gd name="T88" fmla="*/ 268 w 552"/>
                  <a:gd name="T89" fmla="*/ 28 h 521"/>
                  <a:gd name="T90" fmla="*/ 347 w 552"/>
                  <a:gd name="T91" fmla="*/ 107 h 521"/>
                  <a:gd name="T92" fmla="*/ 268 w 552"/>
                  <a:gd name="T93" fmla="*/ 186 h 521"/>
                  <a:gd name="T94" fmla="*/ 397 w 552"/>
                  <a:gd name="T95" fmla="*/ 292 h 521"/>
                  <a:gd name="T96" fmla="*/ 460 w 552"/>
                  <a:gd name="T97" fmla="*/ 149 h 521"/>
                  <a:gd name="T98" fmla="*/ 524 w 552"/>
                  <a:gd name="T99" fmla="*/ 292 h 521"/>
                  <a:gd name="T100" fmla="*/ 397 w 552"/>
                  <a:gd name="T101" fmla="*/ 292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2" h="521">
                    <a:moveTo>
                      <a:pt x="477" y="132"/>
                    </a:moveTo>
                    <a:cubicBezTo>
                      <a:pt x="495" y="132"/>
                      <a:pt x="495" y="132"/>
                      <a:pt x="495" y="132"/>
                    </a:cubicBezTo>
                    <a:cubicBezTo>
                      <a:pt x="500" y="132"/>
                      <a:pt x="506" y="127"/>
                      <a:pt x="506" y="121"/>
                    </a:cubicBezTo>
                    <a:cubicBezTo>
                      <a:pt x="506" y="115"/>
                      <a:pt x="500" y="109"/>
                      <a:pt x="495" y="109"/>
                    </a:cubicBezTo>
                    <a:cubicBezTo>
                      <a:pt x="440" y="109"/>
                      <a:pt x="401" y="109"/>
                      <a:pt x="374" y="109"/>
                    </a:cubicBezTo>
                    <a:cubicBezTo>
                      <a:pt x="374" y="109"/>
                      <a:pt x="374" y="108"/>
                      <a:pt x="374" y="107"/>
                    </a:cubicBezTo>
                    <a:cubicBezTo>
                      <a:pt x="374" y="48"/>
                      <a:pt x="327" y="0"/>
                      <a:pt x="268" y="0"/>
                    </a:cubicBezTo>
                    <a:cubicBezTo>
                      <a:pt x="209" y="0"/>
                      <a:pt x="161" y="48"/>
                      <a:pt x="161" y="107"/>
                    </a:cubicBezTo>
                    <a:cubicBezTo>
                      <a:pt x="161" y="108"/>
                      <a:pt x="161" y="109"/>
                      <a:pt x="161" y="109"/>
                    </a:cubicBezTo>
                    <a:cubicBezTo>
                      <a:pt x="57" y="109"/>
                      <a:pt x="57" y="109"/>
                      <a:pt x="57" y="109"/>
                    </a:cubicBezTo>
                    <a:cubicBezTo>
                      <a:pt x="51" y="109"/>
                      <a:pt x="46" y="115"/>
                      <a:pt x="46" y="121"/>
                    </a:cubicBezTo>
                    <a:cubicBezTo>
                      <a:pt x="46" y="127"/>
                      <a:pt x="51" y="132"/>
                      <a:pt x="57" y="132"/>
                    </a:cubicBezTo>
                    <a:cubicBezTo>
                      <a:pt x="74" y="132"/>
                      <a:pt x="74" y="132"/>
                      <a:pt x="74" y="132"/>
                    </a:cubicBezTo>
                    <a:cubicBezTo>
                      <a:pt x="0" y="298"/>
                      <a:pt x="0" y="298"/>
                      <a:pt x="0" y="298"/>
                    </a:cubicBezTo>
                    <a:cubicBezTo>
                      <a:pt x="0" y="298"/>
                      <a:pt x="0" y="298"/>
                      <a:pt x="0" y="304"/>
                    </a:cubicBezTo>
                    <a:cubicBezTo>
                      <a:pt x="0" y="355"/>
                      <a:pt x="40" y="395"/>
                      <a:pt x="92" y="395"/>
                    </a:cubicBezTo>
                    <a:cubicBezTo>
                      <a:pt x="144" y="395"/>
                      <a:pt x="184" y="355"/>
                      <a:pt x="184" y="304"/>
                    </a:cubicBezTo>
                    <a:cubicBezTo>
                      <a:pt x="184" y="298"/>
                      <a:pt x="184" y="298"/>
                      <a:pt x="184" y="298"/>
                    </a:cubicBezTo>
                    <a:cubicBezTo>
                      <a:pt x="109" y="132"/>
                      <a:pt x="109" y="132"/>
                      <a:pt x="109" y="132"/>
                    </a:cubicBezTo>
                    <a:cubicBezTo>
                      <a:pt x="132" y="132"/>
                      <a:pt x="150" y="132"/>
                      <a:pt x="164" y="132"/>
                    </a:cubicBezTo>
                    <a:cubicBezTo>
                      <a:pt x="174" y="174"/>
                      <a:pt x="209" y="206"/>
                      <a:pt x="253" y="212"/>
                    </a:cubicBezTo>
                    <a:cubicBezTo>
                      <a:pt x="253" y="498"/>
                      <a:pt x="253" y="498"/>
                      <a:pt x="253" y="498"/>
                    </a:cubicBezTo>
                    <a:cubicBezTo>
                      <a:pt x="184" y="498"/>
                      <a:pt x="184" y="498"/>
                      <a:pt x="184" y="498"/>
                    </a:cubicBezTo>
                    <a:cubicBezTo>
                      <a:pt x="178" y="498"/>
                      <a:pt x="172" y="504"/>
                      <a:pt x="172" y="509"/>
                    </a:cubicBezTo>
                    <a:cubicBezTo>
                      <a:pt x="172" y="515"/>
                      <a:pt x="178" y="521"/>
                      <a:pt x="184" y="521"/>
                    </a:cubicBezTo>
                    <a:cubicBezTo>
                      <a:pt x="357" y="521"/>
                      <a:pt x="357" y="521"/>
                      <a:pt x="357" y="521"/>
                    </a:cubicBezTo>
                    <a:cubicBezTo>
                      <a:pt x="362" y="521"/>
                      <a:pt x="368" y="515"/>
                      <a:pt x="368" y="509"/>
                    </a:cubicBezTo>
                    <a:cubicBezTo>
                      <a:pt x="368" y="504"/>
                      <a:pt x="362" y="498"/>
                      <a:pt x="357" y="498"/>
                    </a:cubicBezTo>
                    <a:cubicBezTo>
                      <a:pt x="276" y="498"/>
                      <a:pt x="276" y="498"/>
                      <a:pt x="276" y="498"/>
                    </a:cubicBezTo>
                    <a:cubicBezTo>
                      <a:pt x="276" y="339"/>
                      <a:pt x="276" y="256"/>
                      <a:pt x="276" y="213"/>
                    </a:cubicBezTo>
                    <a:cubicBezTo>
                      <a:pt x="322" y="210"/>
                      <a:pt x="361" y="176"/>
                      <a:pt x="371" y="132"/>
                    </a:cubicBezTo>
                    <a:cubicBezTo>
                      <a:pt x="443" y="132"/>
                      <a:pt x="443" y="132"/>
                      <a:pt x="443" y="132"/>
                    </a:cubicBezTo>
                    <a:cubicBezTo>
                      <a:pt x="368" y="298"/>
                      <a:pt x="368" y="298"/>
                      <a:pt x="368" y="298"/>
                    </a:cubicBezTo>
                    <a:cubicBezTo>
                      <a:pt x="368" y="298"/>
                      <a:pt x="368" y="298"/>
                      <a:pt x="368" y="304"/>
                    </a:cubicBezTo>
                    <a:cubicBezTo>
                      <a:pt x="368" y="355"/>
                      <a:pt x="408" y="395"/>
                      <a:pt x="460" y="395"/>
                    </a:cubicBezTo>
                    <a:cubicBezTo>
                      <a:pt x="512" y="395"/>
                      <a:pt x="552" y="355"/>
                      <a:pt x="552" y="304"/>
                    </a:cubicBezTo>
                    <a:cubicBezTo>
                      <a:pt x="552" y="298"/>
                      <a:pt x="552" y="298"/>
                      <a:pt x="552" y="298"/>
                    </a:cubicBezTo>
                    <a:cubicBezTo>
                      <a:pt x="477" y="132"/>
                      <a:pt x="477" y="132"/>
                      <a:pt x="477" y="132"/>
                    </a:cubicBezTo>
                    <a:close/>
                    <a:moveTo>
                      <a:pt x="155" y="292"/>
                    </a:moveTo>
                    <a:cubicBezTo>
                      <a:pt x="28" y="292"/>
                      <a:pt x="28" y="292"/>
                      <a:pt x="28" y="292"/>
                    </a:cubicBezTo>
                    <a:cubicBezTo>
                      <a:pt x="92" y="149"/>
                      <a:pt x="92" y="149"/>
                      <a:pt x="92" y="149"/>
                    </a:cubicBezTo>
                    <a:lnTo>
                      <a:pt x="155" y="292"/>
                    </a:lnTo>
                    <a:close/>
                    <a:moveTo>
                      <a:pt x="268" y="186"/>
                    </a:moveTo>
                    <a:cubicBezTo>
                      <a:pt x="224" y="186"/>
                      <a:pt x="188" y="151"/>
                      <a:pt x="188" y="107"/>
                    </a:cubicBezTo>
                    <a:cubicBezTo>
                      <a:pt x="188" y="63"/>
                      <a:pt x="224" y="28"/>
                      <a:pt x="268" y="28"/>
                    </a:cubicBezTo>
                    <a:cubicBezTo>
                      <a:pt x="311" y="28"/>
                      <a:pt x="347" y="63"/>
                      <a:pt x="347" y="107"/>
                    </a:cubicBezTo>
                    <a:cubicBezTo>
                      <a:pt x="347" y="151"/>
                      <a:pt x="311" y="186"/>
                      <a:pt x="268" y="186"/>
                    </a:cubicBezTo>
                    <a:close/>
                    <a:moveTo>
                      <a:pt x="397" y="292"/>
                    </a:moveTo>
                    <a:cubicBezTo>
                      <a:pt x="460" y="149"/>
                      <a:pt x="460" y="149"/>
                      <a:pt x="460" y="149"/>
                    </a:cubicBezTo>
                    <a:cubicBezTo>
                      <a:pt x="524" y="292"/>
                      <a:pt x="524" y="292"/>
                      <a:pt x="524" y="292"/>
                    </a:cubicBezTo>
                    <a:lnTo>
                      <a:pt x="397" y="29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 name="Group 7">
              <a:extLst>
                <a:ext uri="{FF2B5EF4-FFF2-40B4-BE49-F238E27FC236}">
                  <a16:creationId xmlns:a16="http://schemas.microsoft.com/office/drawing/2014/main" id="{C1425972-EFA3-48DF-933B-C60028561330}"/>
                </a:ext>
              </a:extLst>
            </p:cNvPr>
            <p:cNvGrpSpPr/>
            <p:nvPr/>
          </p:nvGrpSpPr>
          <p:grpSpPr>
            <a:xfrm flipH="1">
              <a:off x="618141" y="2004639"/>
              <a:ext cx="1719598" cy="4452775"/>
              <a:chOff x="9236047" y="1825222"/>
              <a:chExt cx="1719598" cy="4452775"/>
            </a:xfrm>
          </p:grpSpPr>
          <p:sp>
            <p:nvSpPr>
              <p:cNvPr id="127" name="Freeform 103">
                <a:extLst>
                  <a:ext uri="{FF2B5EF4-FFF2-40B4-BE49-F238E27FC236}">
                    <a16:creationId xmlns:a16="http://schemas.microsoft.com/office/drawing/2014/main" id="{CF3C31FC-6305-40BF-9DDB-8342AFBDB80F}"/>
                  </a:ext>
                </a:extLst>
              </p:cNvPr>
              <p:cNvSpPr>
                <a:spLocks/>
              </p:cNvSpPr>
              <p:nvPr/>
            </p:nvSpPr>
            <p:spPr bwMode="auto">
              <a:xfrm>
                <a:off x="9236047" y="6119552"/>
                <a:ext cx="477667" cy="158445"/>
              </a:xfrm>
              <a:custGeom>
                <a:avLst/>
                <a:gdLst>
                  <a:gd name="T0" fmla="*/ 80 w 81"/>
                  <a:gd name="T1" fmla="*/ 7 h 27"/>
                  <a:gd name="T2" fmla="*/ 76 w 81"/>
                  <a:gd name="T3" fmla="*/ 6 h 27"/>
                  <a:gd name="T4" fmla="*/ 63 w 81"/>
                  <a:gd name="T5" fmla="*/ 9 h 27"/>
                  <a:gd name="T6" fmla="*/ 52 w 81"/>
                  <a:gd name="T7" fmla="*/ 3 h 27"/>
                  <a:gd name="T8" fmla="*/ 49 w 81"/>
                  <a:gd name="T9" fmla="*/ 1 h 27"/>
                  <a:gd name="T10" fmla="*/ 7 w 81"/>
                  <a:gd name="T11" fmla="*/ 17 h 27"/>
                  <a:gd name="T12" fmla="*/ 1 w 81"/>
                  <a:gd name="T13" fmla="*/ 22 h 27"/>
                  <a:gd name="T14" fmla="*/ 4 w 81"/>
                  <a:gd name="T15" fmla="*/ 26 h 27"/>
                  <a:gd name="T16" fmla="*/ 76 w 81"/>
                  <a:gd name="T17" fmla="*/ 27 h 27"/>
                  <a:gd name="T18" fmla="*/ 81 w 81"/>
                  <a:gd name="T19" fmla="*/ 22 h 27"/>
                  <a:gd name="T20" fmla="*/ 81 w 81"/>
                  <a:gd name="T21" fmla="*/ 9 h 27"/>
                  <a:gd name="T22" fmla="*/ 81 w 81"/>
                  <a:gd name="T23" fmla="*/ 9 h 27"/>
                  <a:gd name="T24" fmla="*/ 80 w 81"/>
                  <a:gd name="T25"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27">
                    <a:moveTo>
                      <a:pt x="80" y="7"/>
                    </a:moveTo>
                    <a:cubicBezTo>
                      <a:pt x="79" y="6"/>
                      <a:pt x="78" y="5"/>
                      <a:pt x="76" y="6"/>
                    </a:cubicBezTo>
                    <a:cubicBezTo>
                      <a:pt x="72" y="8"/>
                      <a:pt x="67" y="9"/>
                      <a:pt x="63" y="9"/>
                    </a:cubicBezTo>
                    <a:cubicBezTo>
                      <a:pt x="58" y="8"/>
                      <a:pt x="54" y="6"/>
                      <a:pt x="52" y="3"/>
                    </a:cubicBezTo>
                    <a:cubicBezTo>
                      <a:pt x="51" y="1"/>
                      <a:pt x="51" y="0"/>
                      <a:pt x="49" y="1"/>
                    </a:cubicBezTo>
                    <a:cubicBezTo>
                      <a:pt x="35" y="6"/>
                      <a:pt x="20" y="12"/>
                      <a:pt x="7" y="17"/>
                    </a:cubicBezTo>
                    <a:cubicBezTo>
                      <a:pt x="4" y="18"/>
                      <a:pt x="2" y="19"/>
                      <a:pt x="1" y="22"/>
                    </a:cubicBezTo>
                    <a:cubicBezTo>
                      <a:pt x="0" y="24"/>
                      <a:pt x="1" y="26"/>
                      <a:pt x="4" y="26"/>
                    </a:cubicBezTo>
                    <a:cubicBezTo>
                      <a:pt x="28" y="26"/>
                      <a:pt x="53" y="27"/>
                      <a:pt x="76" y="27"/>
                    </a:cubicBezTo>
                    <a:cubicBezTo>
                      <a:pt x="80" y="27"/>
                      <a:pt x="81" y="25"/>
                      <a:pt x="81" y="22"/>
                    </a:cubicBezTo>
                    <a:cubicBezTo>
                      <a:pt x="81" y="19"/>
                      <a:pt x="81" y="13"/>
                      <a:pt x="81" y="9"/>
                    </a:cubicBezTo>
                    <a:cubicBezTo>
                      <a:pt x="81" y="9"/>
                      <a:pt x="81" y="9"/>
                      <a:pt x="81" y="9"/>
                    </a:cubicBezTo>
                    <a:cubicBezTo>
                      <a:pt x="80" y="8"/>
                      <a:pt x="80" y="7"/>
                      <a:pt x="80" y="7"/>
                    </a:cubicBezTo>
                    <a:close/>
                  </a:path>
                </a:pathLst>
              </a:custGeom>
              <a:solidFill>
                <a:srgbClr val="201C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grpSp>
            <p:nvGrpSpPr>
              <p:cNvPr id="7" name="Group 6">
                <a:extLst>
                  <a:ext uri="{FF2B5EF4-FFF2-40B4-BE49-F238E27FC236}">
                    <a16:creationId xmlns:a16="http://schemas.microsoft.com/office/drawing/2014/main" id="{68C8FD2A-7221-46BF-90F1-969FC993626C}"/>
                  </a:ext>
                </a:extLst>
              </p:cNvPr>
              <p:cNvGrpSpPr/>
              <p:nvPr/>
            </p:nvGrpSpPr>
            <p:grpSpPr>
              <a:xfrm>
                <a:off x="9501677" y="1825222"/>
                <a:ext cx="1453968" cy="4436465"/>
                <a:chOff x="9501677" y="1825222"/>
                <a:chExt cx="1453968" cy="4436465"/>
              </a:xfrm>
            </p:grpSpPr>
            <p:sp>
              <p:nvSpPr>
                <p:cNvPr id="123" name="Freeform 99">
                  <a:extLst>
                    <a:ext uri="{FF2B5EF4-FFF2-40B4-BE49-F238E27FC236}">
                      <a16:creationId xmlns:a16="http://schemas.microsoft.com/office/drawing/2014/main" id="{268EB4B8-296F-460A-AE0D-0CA3D510CFCC}"/>
                    </a:ext>
                  </a:extLst>
                </p:cNvPr>
                <p:cNvSpPr>
                  <a:spLocks/>
                </p:cNvSpPr>
                <p:nvPr/>
              </p:nvSpPr>
              <p:spPr bwMode="auto">
                <a:xfrm>
                  <a:off x="9636822" y="3209288"/>
                  <a:ext cx="554558" cy="246987"/>
                </a:xfrm>
                <a:custGeom>
                  <a:avLst/>
                  <a:gdLst>
                    <a:gd name="T0" fmla="*/ 36 w 94"/>
                    <a:gd name="T1" fmla="*/ 39 h 42"/>
                    <a:gd name="T2" fmla="*/ 93 w 94"/>
                    <a:gd name="T3" fmla="*/ 28 h 42"/>
                    <a:gd name="T4" fmla="*/ 89 w 94"/>
                    <a:gd name="T5" fmla="*/ 5 h 42"/>
                    <a:gd name="T6" fmla="*/ 48 w 94"/>
                    <a:gd name="T7" fmla="*/ 3 h 42"/>
                    <a:gd name="T8" fmla="*/ 17 w 94"/>
                    <a:gd name="T9" fmla="*/ 3 h 42"/>
                    <a:gd name="T10" fmla="*/ 4 w 94"/>
                    <a:gd name="T11" fmla="*/ 18 h 42"/>
                    <a:gd name="T12" fmla="*/ 0 w 94"/>
                    <a:gd name="T13" fmla="*/ 27 h 42"/>
                    <a:gd name="T14" fmla="*/ 11 w 94"/>
                    <a:gd name="T15" fmla="*/ 41 h 42"/>
                    <a:gd name="T16" fmla="*/ 36 w 94"/>
                    <a:gd name="T17" fmla="*/ 3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42">
                      <a:moveTo>
                        <a:pt x="36" y="39"/>
                      </a:moveTo>
                      <a:cubicBezTo>
                        <a:pt x="55" y="37"/>
                        <a:pt x="74" y="32"/>
                        <a:pt x="93" y="28"/>
                      </a:cubicBezTo>
                      <a:cubicBezTo>
                        <a:pt x="94" y="19"/>
                        <a:pt x="94" y="12"/>
                        <a:pt x="89" y="5"/>
                      </a:cubicBezTo>
                      <a:cubicBezTo>
                        <a:pt x="75" y="5"/>
                        <a:pt x="62" y="2"/>
                        <a:pt x="48" y="3"/>
                      </a:cubicBezTo>
                      <a:cubicBezTo>
                        <a:pt x="38" y="1"/>
                        <a:pt x="28" y="0"/>
                        <a:pt x="17" y="3"/>
                      </a:cubicBezTo>
                      <a:cubicBezTo>
                        <a:pt x="10" y="5"/>
                        <a:pt x="7" y="12"/>
                        <a:pt x="4" y="18"/>
                      </a:cubicBezTo>
                      <a:cubicBezTo>
                        <a:pt x="2" y="21"/>
                        <a:pt x="1" y="24"/>
                        <a:pt x="0" y="27"/>
                      </a:cubicBezTo>
                      <a:cubicBezTo>
                        <a:pt x="1" y="33"/>
                        <a:pt x="3" y="39"/>
                        <a:pt x="11" y="41"/>
                      </a:cubicBezTo>
                      <a:cubicBezTo>
                        <a:pt x="19" y="42"/>
                        <a:pt x="28" y="42"/>
                        <a:pt x="36" y="39"/>
                      </a:cubicBezTo>
                      <a:close/>
                    </a:path>
                  </a:pathLst>
                </a:custGeom>
                <a:solidFill>
                  <a:srgbClr val="F5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24" name="Freeform 100">
                  <a:extLst>
                    <a:ext uri="{FF2B5EF4-FFF2-40B4-BE49-F238E27FC236}">
                      <a16:creationId xmlns:a16="http://schemas.microsoft.com/office/drawing/2014/main" id="{B021FF3C-66C6-4008-A620-12F1D2FA4E8E}"/>
                    </a:ext>
                  </a:extLst>
                </p:cNvPr>
                <p:cNvSpPr>
                  <a:spLocks/>
                </p:cNvSpPr>
                <p:nvPr/>
              </p:nvSpPr>
              <p:spPr bwMode="auto">
                <a:xfrm>
                  <a:off x="9601870" y="2929678"/>
                  <a:ext cx="365823" cy="438054"/>
                </a:xfrm>
                <a:custGeom>
                  <a:avLst/>
                  <a:gdLst>
                    <a:gd name="T0" fmla="*/ 6 w 62"/>
                    <a:gd name="T1" fmla="*/ 74 h 74"/>
                    <a:gd name="T2" fmla="*/ 14 w 62"/>
                    <a:gd name="T3" fmla="*/ 60 h 74"/>
                    <a:gd name="T4" fmla="*/ 32 w 62"/>
                    <a:gd name="T5" fmla="*/ 50 h 74"/>
                    <a:gd name="T6" fmla="*/ 54 w 62"/>
                    <a:gd name="T7" fmla="*/ 50 h 74"/>
                    <a:gd name="T8" fmla="*/ 61 w 62"/>
                    <a:gd name="T9" fmla="*/ 17 h 74"/>
                    <a:gd name="T10" fmla="*/ 61 w 62"/>
                    <a:gd name="T11" fmla="*/ 16 h 74"/>
                    <a:gd name="T12" fmla="*/ 61 w 62"/>
                    <a:gd name="T13" fmla="*/ 7 h 74"/>
                    <a:gd name="T14" fmla="*/ 53 w 62"/>
                    <a:gd name="T15" fmla="*/ 6 h 74"/>
                    <a:gd name="T16" fmla="*/ 8 w 62"/>
                    <a:gd name="T17" fmla="*/ 0 h 74"/>
                    <a:gd name="T18" fmla="*/ 2 w 62"/>
                    <a:gd name="T19" fmla="*/ 55 h 74"/>
                    <a:gd name="T20" fmla="*/ 6 w 62"/>
                    <a:gd name="T2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74">
                      <a:moveTo>
                        <a:pt x="6" y="74"/>
                      </a:moveTo>
                      <a:cubicBezTo>
                        <a:pt x="11" y="70"/>
                        <a:pt x="11" y="65"/>
                        <a:pt x="14" y="60"/>
                      </a:cubicBezTo>
                      <a:cubicBezTo>
                        <a:pt x="19" y="53"/>
                        <a:pt x="24" y="50"/>
                        <a:pt x="32" y="50"/>
                      </a:cubicBezTo>
                      <a:cubicBezTo>
                        <a:pt x="39" y="50"/>
                        <a:pt x="47" y="50"/>
                        <a:pt x="54" y="50"/>
                      </a:cubicBezTo>
                      <a:cubicBezTo>
                        <a:pt x="56" y="39"/>
                        <a:pt x="59" y="28"/>
                        <a:pt x="61" y="17"/>
                      </a:cubicBezTo>
                      <a:cubicBezTo>
                        <a:pt x="61" y="17"/>
                        <a:pt x="61" y="16"/>
                        <a:pt x="61" y="16"/>
                      </a:cubicBezTo>
                      <a:cubicBezTo>
                        <a:pt x="62" y="12"/>
                        <a:pt x="62" y="9"/>
                        <a:pt x="61" y="7"/>
                      </a:cubicBezTo>
                      <a:cubicBezTo>
                        <a:pt x="59" y="5"/>
                        <a:pt x="54" y="5"/>
                        <a:pt x="53" y="6"/>
                      </a:cubicBezTo>
                      <a:cubicBezTo>
                        <a:pt x="46" y="6"/>
                        <a:pt x="33" y="5"/>
                        <a:pt x="8" y="0"/>
                      </a:cubicBezTo>
                      <a:cubicBezTo>
                        <a:pt x="4" y="13"/>
                        <a:pt x="0" y="33"/>
                        <a:pt x="2" y="55"/>
                      </a:cubicBezTo>
                      <a:cubicBezTo>
                        <a:pt x="3" y="62"/>
                        <a:pt x="4" y="69"/>
                        <a:pt x="6" y="74"/>
                      </a:cubicBezTo>
                      <a:close/>
                    </a:path>
                  </a:pathLst>
                </a:custGeom>
                <a:solidFill>
                  <a:srgbClr val="F5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25" name="Freeform 101">
                  <a:extLst>
                    <a:ext uri="{FF2B5EF4-FFF2-40B4-BE49-F238E27FC236}">
                      <a16:creationId xmlns:a16="http://schemas.microsoft.com/office/drawing/2014/main" id="{033D2F59-A119-49B4-9111-9CAB6F82D96F}"/>
                    </a:ext>
                  </a:extLst>
                </p:cNvPr>
                <p:cNvSpPr>
                  <a:spLocks/>
                </p:cNvSpPr>
                <p:nvPr/>
              </p:nvSpPr>
              <p:spPr bwMode="auto">
                <a:xfrm>
                  <a:off x="9541287" y="5977418"/>
                  <a:ext cx="195726" cy="212037"/>
                </a:xfrm>
                <a:custGeom>
                  <a:avLst/>
                  <a:gdLst>
                    <a:gd name="T0" fmla="*/ 33 w 33"/>
                    <a:gd name="T1" fmla="*/ 3 h 36"/>
                    <a:gd name="T2" fmla="*/ 25 w 33"/>
                    <a:gd name="T3" fmla="*/ 36 h 36"/>
                    <a:gd name="T4" fmla="*/ 0 w 33"/>
                    <a:gd name="T5" fmla="*/ 33 h 36"/>
                    <a:gd name="T6" fmla="*/ 8 w 33"/>
                    <a:gd name="T7" fmla="*/ 0 h 36"/>
                    <a:gd name="T8" fmla="*/ 33 w 33"/>
                    <a:gd name="T9" fmla="*/ 3 h 36"/>
                  </a:gdLst>
                  <a:ahLst/>
                  <a:cxnLst>
                    <a:cxn ang="0">
                      <a:pos x="T0" y="T1"/>
                    </a:cxn>
                    <a:cxn ang="0">
                      <a:pos x="T2" y="T3"/>
                    </a:cxn>
                    <a:cxn ang="0">
                      <a:pos x="T4" y="T5"/>
                    </a:cxn>
                    <a:cxn ang="0">
                      <a:pos x="T6" y="T7"/>
                    </a:cxn>
                    <a:cxn ang="0">
                      <a:pos x="T8" y="T9"/>
                    </a:cxn>
                  </a:cxnLst>
                  <a:rect l="0" t="0" r="r" b="b"/>
                  <a:pathLst>
                    <a:path w="33" h="36">
                      <a:moveTo>
                        <a:pt x="33" y="3"/>
                      </a:moveTo>
                      <a:cubicBezTo>
                        <a:pt x="30" y="14"/>
                        <a:pt x="27" y="25"/>
                        <a:pt x="25" y="36"/>
                      </a:cubicBezTo>
                      <a:cubicBezTo>
                        <a:pt x="16" y="35"/>
                        <a:pt x="8" y="34"/>
                        <a:pt x="0" y="33"/>
                      </a:cubicBezTo>
                      <a:cubicBezTo>
                        <a:pt x="2" y="22"/>
                        <a:pt x="5" y="11"/>
                        <a:pt x="8" y="0"/>
                      </a:cubicBezTo>
                      <a:cubicBezTo>
                        <a:pt x="16" y="1"/>
                        <a:pt x="24" y="2"/>
                        <a:pt x="33" y="3"/>
                      </a:cubicBezTo>
                      <a:close/>
                    </a:path>
                  </a:pathLst>
                </a:custGeom>
                <a:solidFill>
                  <a:srgbClr val="F5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26" name="Freeform 102">
                  <a:extLst>
                    <a:ext uri="{FF2B5EF4-FFF2-40B4-BE49-F238E27FC236}">
                      <a16:creationId xmlns:a16="http://schemas.microsoft.com/office/drawing/2014/main" id="{54297D3D-473F-4992-90F3-649E25DA4FB9}"/>
                    </a:ext>
                  </a:extLst>
                </p:cNvPr>
                <p:cNvSpPr>
                  <a:spLocks/>
                </p:cNvSpPr>
                <p:nvPr/>
              </p:nvSpPr>
              <p:spPr bwMode="auto">
                <a:xfrm>
                  <a:off x="10382447" y="5965767"/>
                  <a:ext cx="153785" cy="205047"/>
                </a:xfrm>
                <a:custGeom>
                  <a:avLst/>
                  <a:gdLst>
                    <a:gd name="T0" fmla="*/ 26 w 26"/>
                    <a:gd name="T1" fmla="*/ 0 h 35"/>
                    <a:gd name="T2" fmla="*/ 26 w 26"/>
                    <a:gd name="T3" fmla="*/ 33 h 35"/>
                    <a:gd name="T4" fmla="*/ 0 w 26"/>
                    <a:gd name="T5" fmla="*/ 35 h 35"/>
                    <a:gd name="T6" fmla="*/ 1 w 26"/>
                    <a:gd name="T7" fmla="*/ 2 h 35"/>
                    <a:gd name="T8" fmla="*/ 26 w 26"/>
                    <a:gd name="T9" fmla="*/ 0 h 35"/>
                  </a:gdLst>
                  <a:ahLst/>
                  <a:cxnLst>
                    <a:cxn ang="0">
                      <a:pos x="T0" y="T1"/>
                    </a:cxn>
                    <a:cxn ang="0">
                      <a:pos x="T2" y="T3"/>
                    </a:cxn>
                    <a:cxn ang="0">
                      <a:pos x="T4" y="T5"/>
                    </a:cxn>
                    <a:cxn ang="0">
                      <a:pos x="T6" y="T7"/>
                    </a:cxn>
                    <a:cxn ang="0">
                      <a:pos x="T8" y="T9"/>
                    </a:cxn>
                  </a:cxnLst>
                  <a:rect l="0" t="0" r="r" b="b"/>
                  <a:pathLst>
                    <a:path w="26" h="35">
                      <a:moveTo>
                        <a:pt x="26" y="0"/>
                      </a:moveTo>
                      <a:cubicBezTo>
                        <a:pt x="26" y="11"/>
                        <a:pt x="26" y="22"/>
                        <a:pt x="26" y="33"/>
                      </a:cubicBezTo>
                      <a:cubicBezTo>
                        <a:pt x="17" y="34"/>
                        <a:pt x="9" y="34"/>
                        <a:pt x="0" y="35"/>
                      </a:cubicBezTo>
                      <a:cubicBezTo>
                        <a:pt x="0" y="24"/>
                        <a:pt x="1" y="13"/>
                        <a:pt x="1" y="2"/>
                      </a:cubicBezTo>
                      <a:cubicBezTo>
                        <a:pt x="9" y="1"/>
                        <a:pt x="17" y="0"/>
                        <a:pt x="26" y="0"/>
                      </a:cubicBezTo>
                      <a:close/>
                    </a:path>
                  </a:pathLst>
                </a:custGeom>
                <a:solidFill>
                  <a:srgbClr val="F5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28" name="Freeform 104">
                  <a:extLst>
                    <a:ext uri="{FF2B5EF4-FFF2-40B4-BE49-F238E27FC236}">
                      <a16:creationId xmlns:a16="http://schemas.microsoft.com/office/drawing/2014/main" id="{A85BEDED-E7B4-455E-AB06-ACD2693C333C}"/>
                    </a:ext>
                  </a:extLst>
                </p:cNvPr>
                <p:cNvSpPr>
                  <a:spLocks/>
                </p:cNvSpPr>
                <p:nvPr/>
              </p:nvSpPr>
              <p:spPr bwMode="auto">
                <a:xfrm>
                  <a:off x="10359145" y="6107902"/>
                  <a:ext cx="484656" cy="153785"/>
                </a:xfrm>
                <a:custGeom>
                  <a:avLst/>
                  <a:gdLst>
                    <a:gd name="T0" fmla="*/ 2 w 82"/>
                    <a:gd name="T1" fmla="*/ 6 h 26"/>
                    <a:gd name="T2" fmla="*/ 6 w 82"/>
                    <a:gd name="T3" fmla="*/ 5 h 26"/>
                    <a:gd name="T4" fmla="*/ 19 w 82"/>
                    <a:gd name="T5" fmla="*/ 8 h 26"/>
                    <a:gd name="T6" fmla="*/ 29 w 82"/>
                    <a:gd name="T7" fmla="*/ 2 h 26"/>
                    <a:gd name="T8" fmla="*/ 33 w 82"/>
                    <a:gd name="T9" fmla="*/ 0 h 26"/>
                    <a:gd name="T10" fmla="*/ 75 w 82"/>
                    <a:gd name="T11" fmla="*/ 16 h 26"/>
                    <a:gd name="T12" fmla="*/ 81 w 82"/>
                    <a:gd name="T13" fmla="*/ 22 h 26"/>
                    <a:gd name="T14" fmla="*/ 77 w 82"/>
                    <a:gd name="T15" fmla="*/ 26 h 26"/>
                    <a:gd name="T16" fmla="*/ 5 w 82"/>
                    <a:gd name="T17" fmla="*/ 26 h 26"/>
                    <a:gd name="T18" fmla="*/ 0 w 82"/>
                    <a:gd name="T19" fmla="*/ 21 h 26"/>
                    <a:gd name="T20" fmla="*/ 1 w 82"/>
                    <a:gd name="T21" fmla="*/ 8 h 26"/>
                    <a:gd name="T22" fmla="*/ 1 w 82"/>
                    <a:gd name="T23" fmla="*/ 8 h 26"/>
                    <a:gd name="T24" fmla="*/ 2 w 82"/>
                    <a:gd name="T25"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26">
                      <a:moveTo>
                        <a:pt x="2" y="6"/>
                      </a:moveTo>
                      <a:cubicBezTo>
                        <a:pt x="3" y="5"/>
                        <a:pt x="4" y="4"/>
                        <a:pt x="6" y="5"/>
                      </a:cubicBezTo>
                      <a:cubicBezTo>
                        <a:pt x="9" y="7"/>
                        <a:pt x="14" y="8"/>
                        <a:pt x="19" y="8"/>
                      </a:cubicBezTo>
                      <a:cubicBezTo>
                        <a:pt x="24" y="8"/>
                        <a:pt x="28" y="5"/>
                        <a:pt x="29" y="2"/>
                      </a:cubicBezTo>
                      <a:cubicBezTo>
                        <a:pt x="30" y="0"/>
                        <a:pt x="31" y="0"/>
                        <a:pt x="33" y="0"/>
                      </a:cubicBezTo>
                      <a:cubicBezTo>
                        <a:pt x="47" y="5"/>
                        <a:pt x="61" y="11"/>
                        <a:pt x="75" y="16"/>
                      </a:cubicBezTo>
                      <a:cubicBezTo>
                        <a:pt x="78" y="18"/>
                        <a:pt x="80" y="19"/>
                        <a:pt x="81" y="22"/>
                      </a:cubicBezTo>
                      <a:cubicBezTo>
                        <a:pt x="82" y="24"/>
                        <a:pt x="81" y="26"/>
                        <a:pt x="77" y="26"/>
                      </a:cubicBezTo>
                      <a:cubicBezTo>
                        <a:pt x="54" y="26"/>
                        <a:pt x="29" y="26"/>
                        <a:pt x="5" y="26"/>
                      </a:cubicBezTo>
                      <a:cubicBezTo>
                        <a:pt x="2" y="26"/>
                        <a:pt x="0" y="24"/>
                        <a:pt x="0" y="21"/>
                      </a:cubicBezTo>
                      <a:cubicBezTo>
                        <a:pt x="0" y="18"/>
                        <a:pt x="1" y="12"/>
                        <a:pt x="1" y="8"/>
                      </a:cubicBezTo>
                      <a:cubicBezTo>
                        <a:pt x="1" y="8"/>
                        <a:pt x="1" y="8"/>
                        <a:pt x="1" y="8"/>
                      </a:cubicBezTo>
                      <a:cubicBezTo>
                        <a:pt x="1" y="7"/>
                        <a:pt x="1" y="6"/>
                        <a:pt x="2" y="6"/>
                      </a:cubicBezTo>
                      <a:close/>
                    </a:path>
                  </a:pathLst>
                </a:custGeom>
                <a:solidFill>
                  <a:srgbClr val="201C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29" name="Freeform 105">
                  <a:extLst>
                    <a:ext uri="{FF2B5EF4-FFF2-40B4-BE49-F238E27FC236}">
                      <a16:creationId xmlns:a16="http://schemas.microsoft.com/office/drawing/2014/main" id="{3F95E049-59FF-48B9-9BEF-295CA6A0949F}"/>
                    </a:ext>
                  </a:extLst>
                </p:cNvPr>
                <p:cNvSpPr>
                  <a:spLocks/>
                </p:cNvSpPr>
                <p:nvPr/>
              </p:nvSpPr>
              <p:spPr bwMode="auto">
                <a:xfrm>
                  <a:off x="9501677" y="3889670"/>
                  <a:ext cx="1211640" cy="2164641"/>
                </a:xfrm>
                <a:custGeom>
                  <a:avLst/>
                  <a:gdLst>
                    <a:gd name="T0" fmla="*/ 160 w 205"/>
                    <a:gd name="T1" fmla="*/ 13 h 366"/>
                    <a:gd name="T2" fmla="*/ 161 w 205"/>
                    <a:gd name="T3" fmla="*/ 12 h 366"/>
                    <a:gd name="T4" fmla="*/ 120 w 205"/>
                    <a:gd name="T5" fmla="*/ 12 h 366"/>
                    <a:gd name="T6" fmla="*/ 79 w 205"/>
                    <a:gd name="T7" fmla="*/ 0 h 366"/>
                    <a:gd name="T8" fmla="*/ 39 w 205"/>
                    <a:gd name="T9" fmla="*/ 189 h 366"/>
                    <a:gd name="T10" fmla="*/ 0 w 205"/>
                    <a:gd name="T11" fmla="*/ 366 h 366"/>
                    <a:gd name="T12" fmla="*/ 45 w 205"/>
                    <a:gd name="T13" fmla="*/ 366 h 366"/>
                    <a:gd name="T14" fmla="*/ 137 w 205"/>
                    <a:gd name="T15" fmla="*/ 83 h 366"/>
                    <a:gd name="T16" fmla="*/ 149 w 205"/>
                    <a:gd name="T17" fmla="*/ 364 h 366"/>
                    <a:gd name="T18" fmla="*/ 197 w 205"/>
                    <a:gd name="T19" fmla="*/ 364 h 366"/>
                    <a:gd name="T20" fmla="*/ 205 w 205"/>
                    <a:gd name="T21" fmla="*/ 12 h 366"/>
                    <a:gd name="T22" fmla="*/ 160 w 205"/>
                    <a:gd name="T23" fmla="*/ 13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5" h="366">
                      <a:moveTo>
                        <a:pt x="160" y="13"/>
                      </a:moveTo>
                      <a:cubicBezTo>
                        <a:pt x="160" y="13"/>
                        <a:pt x="161" y="12"/>
                        <a:pt x="161" y="12"/>
                      </a:cubicBezTo>
                      <a:cubicBezTo>
                        <a:pt x="151" y="13"/>
                        <a:pt x="136" y="14"/>
                        <a:pt x="120" y="12"/>
                      </a:cubicBezTo>
                      <a:cubicBezTo>
                        <a:pt x="103" y="9"/>
                        <a:pt x="89" y="4"/>
                        <a:pt x="79" y="0"/>
                      </a:cubicBezTo>
                      <a:cubicBezTo>
                        <a:pt x="67" y="62"/>
                        <a:pt x="53" y="125"/>
                        <a:pt x="39" y="189"/>
                      </a:cubicBezTo>
                      <a:cubicBezTo>
                        <a:pt x="26" y="249"/>
                        <a:pt x="13" y="308"/>
                        <a:pt x="0" y="366"/>
                      </a:cubicBezTo>
                      <a:cubicBezTo>
                        <a:pt x="15" y="366"/>
                        <a:pt x="30" y="366"/>
                        <a:pt x="45" y="366"/>
                      </a:cubicBezTo>
                      <a:cubicBezTo>
                        <a:pt x="76" y="271"/>
                        <a:pt x="106" y="177"/>
                        <a:pt x="137" y="83"/>
                      </a:cubicBezTo>
                      <a:cubicBezTo>
                        <a:pt x="142" y="176"/>
                        <a:pt x="145" y="270"/>
                        <a:pt x="149" y="364"/>
                      </a:cubicBezTo>
                      <a:cubicBezTo>
                        <a:pt x="165" y="364"/>
                        <a:pt x="181" y="364"/>
                        <a:pt x="197" y="364"/>
                      </a:cubicBezTo>
                      <a:cubicBezTo>
                        <a:pt x="200" y="247"/>
                        <a:pt x="204" y="129"/>
                        <a:pt x="205" y="12"/>
                      </a:cubicBezTo>
                      <a:cubicBezTo>
                        <a:pt x="190" y="12"/>
                        <a:pt x="175" y="13"/>
                        <a:pt x="160" y="13"/>
                      </a:cubicBezTo>
                      <a:close/>
                    </a:path>
                  </a:pathLst>
                </a:custGeom>
                <a:solidFill>
                  <a:srgbClr val="2C3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30" name="Freeform 106">
                  <a:extLst>
                    <a:ext uri="{FF2B5EF4-FFF2-40B4-BE49-F238E27FC236}">
                      <a16:creationId xmlns:a16="http://schemas.microsoft.com/office/drawing/2014/main" id="{FC99A4FC-B084-4DC9-AA93-8078272C3AF7}"/>
                    </a:ext>
                  </a:extLst>
                </p:cNvPr>
                <p:cNvSpPr>
                  <a:spLocks/>
                </p:cNvSpPr>
                <p:nvPr/>
              </p:nvSpPr>
              <p:spPr bwMode="auto">
                <a:xfrm>
                  <a:off x="9643811" y="2456673"/>
                  <a:ext cx="1293194" cy="1656685"/>
                </a:xfrm>
                <a:custGeom>
                  <a:avLst/>
                  <a:gdLst>
                    <a:gd name="T0" fmla="*/ 214 w 219"/>
                    <a:gd name="T1" fmla="*/ 103 h 280"/>
                    <a:gd name="T2" fmla="*/ 212 w 219"/>
                    <a:gd name="T3" fmla="*/ 105 h 280"/>
                    <a:gd name="T4" fmla="*/ 208 w 219"/>
                    <a:gd name="T5" fmla="*/ 105 h 280"/>
                    <a:gd name="T6" fmla="*/ 172 w 219"/>
                    <a:gd name="T7" fmla="*/ 108 h 280"/>
                    <a:gd name="T8" fmla="*/ 164 w 219"/>
                    <a:gd name="T9" fmla="*/ 114 h 280"/>
                    <a:gd name="T10" fmla="*/ 170 w 219"/>
                    <a:gd name="T11" fmla="*/ 145 h 280"/>
                    <a:gd name="T12" fmla="*/ 172 w 219"/>
                    <a:gd name="T13" fmla="*/ 150 h 280"/>
                    <a:gd name="T14" fmla="*/ 172 w 219"/>
                    <a:gd name="T15" fmla="*/ 150 h 280"/>
                    <a:gd name="T16" fmla="*/ 177 w 219"/>
                    <a:gd name="T17" fmla="*/ 186 h 280"/>
                    <a:gd name="T18" fmla="*/ 183 w 219"/>
                    <a:gd name="T19" fmla="*/ 259 h 280"/>
                    <a:gd name="T20" fmla="*/ 181 w 219"/>
                    <a:gd name="T21" fmla="*/ 259 h 280"/>
                    <a:gd name="T22" fmla="*/ 54 w 219"/>
                    <a:gd name="T23" fmla="*/ 250 h 280"/>
                    <a:gd name="T24" fmla="*/ 56 w 219"/>
                    <a:gd name="T25" fmla="*/ 218 h 280"/>
                    <a:gd name="T26" fmla="*/ 62 w 219"/>
                    <a:gd name="T27" fmla="*/ 162 h 280"/>
                    <a:gd name="T28" fmla="*/ 59 w 219"/>
                    <a:gd name="T29" fmla="*/ 154 h 280"/>
                    <a:gd name="T30" fmla="*/ 41 w 219"/>
                    <a:gd name="T31" fmla="*/ 130 h 280"/>
                    <a:gd name="T32" fmla="*/ 39 w 219"/>
                    <a:gd name="T33" fmla="*/ 128 h 280"/>
                    <a:gd name="T34" fmla="*/ 38 w 219"/>
                    <a:gd name="T35" fmla="*/ 127 h 280"/>
                    <a:gd name="T36" fmla="*/ 36 w 219"/>
                    <a:gd name="T37" fmla="*/ 108 h 280"/>
                    <a:gd name="T38" fmla="*/ 0 w 219"/>
                    <a:gd name="T39" fmla="*/ 83 h 280"/>
                    <a:gd name="T40" fmla="*/ 1 w 219"/>
                    <a:gd name="T41" fmla="*/ 80 h 280"/>
                    <a:gd name="T42" fmla="*/ 81 w 219"/>
                    <a:gd name="T43" fmla="*/ 2 h 280"/>
                    <a:gd name="T44" fmla="*/ 88 w 219"/>
                    <a:gd name="T45" fmla="*/ 0 h 280"/>
                    <a:gd name="T46" fmla="*/ 92 w 219"/>
                    <a:gd name="T47" fmla="*/ 3 h 280"/>
                    <a:gd name="T48" fmla="*/ 130 w 219"/>
                    <a:gd name="T49" fmla="*/ 3 h 280"/>
                    <a:gd name="T50" fmla="*/ 130 w 219"/>
                    <a:gd name="T51" fmla="*/ 3 h 280"/>
                    <a:gd name="T52" fmla="*/ 133 w 219"/>
                    <a:gd name="T53" fmla="*/ 2 h 280"/>
                    <a:gd name="T54" fmla="*/ 133 w 219"/>
                    <a:gd name="T55" fmla="*/ 2 h 280"/>
                    <a:gd name="T56" fmla="*/ 134 w 219"/>
                    <a:gd name="T57" fmla="*/ 2 h 280"/>
                    <a:gd name="T58" fmla="*/ 134 w 219"/>
                    <a:gd name="T59" fmla="*/ 2 h 280"/>
                    <a:gd name="T60" fmla="*/ 137 w 219"/>
                    <a:gd name="T61" fmla="*/ 3 h 280"/>
                    <a:gd name="T62" fmla="*/ 168 w 219"/>
                    <a:gd name="T63" fmla="*/ 17 h 280"/>
                    <a:gd name="T64" fmla="*/ 174 w 219"/>
                    <a:gd name="T65" fmla="*/ 21 h 280"/>
                    <a:gd name="T66" fmla="*/ 179 w 219"/>
                    <a:gd name="T67" fmla="*/ 25 h 280"/>
                    <a:gd name="T68" fmla="*/ 184 w 219"/>
                    <a:gd name="T69" fmla="*/ 31 h 280"/>
                    <a:gd name="T70" fmla="*/ 214 w 219"/>
                    <a:gd name="T71" fmla="*/ 10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9" h="280">
                      <a:moveTo>
                        <a:pt x="214" y="103"/>
                      </a:moveTo>
                      <a:cubicBezTo>
                        <a:pt x="214" y="103"/>
                        <a:pt x="214" y="103"/>
                        <a:pt x="214" y="103"/>
                      </a:cubicBezTo>
                      <a:cubicBezTo>
                        <a:pt x="214" y="104"/>
                        <a:pt x="214" y="104"/>
                        <a:pt x="213" y="104"/>
                      </a:cubicBezTo>
                      <a:cubicBezTo>
                        <a:pt x="213" y="105"/>
                        <a:pt x="212" y="105"/>
                        <a:pt x="212" y="105"/>
                      </a:cubicBezTo>
                      <a:cubicBezTo>
                        <a:pt x="211" y="105"/>
                        <a:pt x="211" y="105"/>
                        <a:pt x="210" y="105"/>
                      </a:cubicBezTo>
                      <a:cubicBezTo>
                        <a:pt x="209" y="105"/>
                        <a:pt x="209" y="105"/>
                        <a:pt x="208" y="105"/>
                      </a:cubicBezTo>
                      <a:cubicBezTo>
                        <a:pt x="208" y="105"/>
                        <a:pt x="207" y="105"/>
                        <a:pt x="207" y="105"/>
                      </a:cubicBezTo>
                      <a:cubicBezTo>
                        <a:pt x="195" y="106"/>
                        <a:pt x="184" y="108"/>
                        <a:pt x="172" y="108"/>
                      </a:cubicBezTo>
                      <a:cubicBezTo>
                        <a:pt x="168" y="108"/>
                        <a:pt x="166" y="108"/>
                        <a:pt x="165" y="109"/>
                      </a:cubicBezTo>
                      <a:cubicBezTo>
                        <a:pt x="164" y="110"/>
                        <a:pt x="164" y="112"/>
                        <a:pt x="164" y="114"/>
                      </a:cubicBezTo>
                      <a:cubicBezTo>
                        <a:pt x="164" y="115"/>
                        <a:pt x="164" y="116"/>
                        <a:pt x="165" y="117"/>
                      </a:cubicBezTo>
                      <a:cubicBezTo>
                        <a:pt x="167" y="126"/>
                        <a:pt x="167" y="136"/>
                        <a:pt x="170" y="145"/>
                      </a:cubicBezTo>
                      <a:cubicBezTo>
                        <a:pt x="171" y="146"/>
                        <a:pt x="172" y="148"/>
                        <a:pt x="172" y="149"/>
                      </a:cubicBezTo>
                      <a:cubicBezTo>
                        <a:pt x="172" y="150"/>
                        <a:pt x="172" y="150"/>
                        <a:pt x="172" y="150"/>
                      </a:cubicBezTo>
                      <a:cubicBezTo>
                        <a:pt x="172" y="150"/>
                        <a:pt x="172" y="150"/>
                        <a:pt x="172" y="150"/>
                      </a:cubicBezTo>
                      <a:cubicBezTo>
                        <a:pt x="172" y="150"/>
                        <a:pt x="172" y="150"/>
                        <a:pt x="172" y="150"/>
                      </a:cubicBezTo>
                      <a:cubicBezTo>
                        <a:pt x="175" y="161"/>
                        <a:pt x="176" y="172"/>
                        <a:pt x="177" y="183"/>
                      </a:cubicBezTo>
                      <a:cubicBezTo>
                        <a:pt x="177" y="184"/>
                        <a:pt x="177" y="185"/>
                        <a:pt x="177" y="186"/>
                      </a:cubicBezTo>
                      <a:cubicBezTo>
                        <a:pt x="178" y="186"/>
                        <a:pt x="178" y="186"/>
                        <a:pt x="178" y="186"/>
                      </a:cubicBezTo>
                      <a:cubicBezTo>
                        <a:pt x="180" y="210"/>
                        <a:pt x="182" y="235"/>
                        <a:pt x="183" y="259"/>
                      </a:cubicBezTo>
                      <a:cubicBezTo>
                        <a:pt x="181" y="259"/>
                        <a:pt x="184" y="259"/>
                        <a:pt x="181" y="259"/>
                      </a:cubicBezTo>
                      <a:cubicBezTo>
                        <a:pt x="181" y="259"/>
                        <a:pt x="181" y="259"/>
                        <a:pt x="181" y="259"/>
                      </a:cubicBezTo>
                      <a:cubicBezTo>
                        <a:pt x="169" y="261"/>
                        <a:pt x="76" y="280"/>
                        <a:pt x="56" y="253"/>
                      </a:cubicBezTo>
                      <a:cubicBezTo>
                        <a:pt x="55" y="252"/>
                        <a:pt x="54" y="251"/>
                        <a:pt x="54" y="250"/>
                      </a:cubicBezTo>
                      <a:cubicBezTo>
                        <a:pt x="49" y="241"/>
                        <a:pt x="50" y="231"/>
                        <a:pt x="56" y="219"/>
                      </a:cubicBezTo>
                      <a:cubicBezTo>
                        <a:pt x="56" y="218"/>
                        <a:pt x="56" y="218"/>
                        <a:pt x="56" y="218"/>
                      </a:cubicBezTo>
                      <a:cubicBezTo>
                        <a:pt x="63" y="202"/>
                        <a:pt x="67" y="181"/>
                        <a:pt x="62" y="162"/>
                      </a:cubicBezTo>
                      <a:cubicBezTo>
                        <a:pt x="62" y="162"/>
                        <a:pt x="62" y="162"/>
                        <a:pt x="62" y="162"/>
                      </a:cubicBezTo>
                      <a:cubicBezTo>
                        <a:pt x="62" y="162"/>
                        <a:pt x="62" y="162"/>
                        <a:pt x="62" y="162"/>
                      </a:cubicBezTo>
                      <a:cubicBezTo>
                        <a:pt x="61" y="159"/>
                        <a:pt x="60" y="157"/>
                        <a:pt x="59" y="154"/>
                      </a:cubicBezTo>
                      <a:cubicBezTo>
                        <a:pt x="55" y="145"/>
                        <a:pt x="49" y="138"/>
                        <a:pt x="41" y="130"/>
                      </a:cubicBezTo>
                      <a:cubicBezTo>
                        <a:pt x="41" y="130"/>
                        <a:pt x="41" y="130"/>
                        <a:pt x="41" y="130"/>
                      </a:cubicBezTo>
                      <a:cubicBezTo>
                        <a:pt x="40" y="129"/>
                        <a:pt x="40" y="129"/>
                        <a:pt x="40" y="129"/>
                      </a:cubicBezTo>
                      <a:cubicBezTo>
                        <a:pt x="39" y="129"/>
                        <a:pt x="39" y="129"/>
                        <a:pt x="39" y="128"/>
                      </a:cubicBezTo>
                      <a:cubicBezTo>
                        <a:pt x="39" y="128"/>
                        <a:pt x="39" y="128"/>
                        <a:pt x="39" y="128"/>
                      </a:cubicBezTo>
                      <a:cubicBezTo>
                        <a:pt x="38" y="127"/>
                        <a:pt x="38" y="127"/>
                        <a:pt x="38" y="127"/>
                      </a:cubicBezTo>
                      <a:cubicBezTo>
                        <a:pt x="37" y="124"/>
                        <a:pt x="37" y="114"/>
                        <a:pt x="36" y="108"/>
                      </a:cubicBezTo>
                      <a:cubicBezTo>
                        <a:pt x="36" y="108"/>
                        <a:pt x="36" y="108"/>
                        <a:pt x="36" y="108"/>
                      </a:cubicBezTo>
                      <a:cubicBezTo>
                        <a:pt x="35" y="102"/>
                        <a:pt x="24" y="95"/>
                        <a:pt x="24" y="95"/>
                      </a:cubicBezTo>
                      <a:cubicBezTo>
                        <a:pt x="0" y="83"/>
                        <a:pt x="0" y="83"/>
                        <a:pt x="0" y="83"/>
                      </a:cubicBezTo>
                      <a:cubicBezTo>
                        <a:pt x="0" y="83"/>
                        <a:pt x="0" y="82"/>
                        <a:pt x="1" y="80"/>
                      </a:cubicBezTo>
                      <a:cubicBezTo>
                        <a:pt x="1" y="80"/>
                        <a:pt x="1" y="80"/>
                        <a:pt x="1" y="80"/>
                      </a:cubicBezTo>
                      <a:cubicBezTo>
                        <a:pt x="4" y="71"/>
                        <a:pt x="14" y="37"/>
                        <a:pt x="30" y="24"/>
                      </a:cubicBezTo>
                      <a:cubicBezTo>
                        <a:pt x="40" y="17"/>
                        <a:pt x="65" y="5"/>
                        <a:pt x="81" y="2"/>
                      </a:cubicBezTo>
                      <a:cubicBezTo>
                        <a:pt x="83" y="2"/>
                        <a:pt x="86" y="1"/>
                        <a:pt x="88" y="0"/>
                      </a:cubicBezTo>
                      <a:cubicBezTo>
                        <a:pt x="88" y="0"/>
                        <a:pt x="88" y="0"/>
                        <a:pt x="88" y="0"/>
                      </a:cubicBezTo>
                      <a:cubicBezTo>
                        <a:pt x="89" y="0"/>
                        <a:pt x="89" y="0"/>
                        <a:pt x="90" y="0"/>
                      </a:cubicBezTo>
                      <a:cubicBezTo>
                        <a:pt x="90" y="1"/>
                        <a:pt x="91" y="2"/>
                        <a:pt x="92" y="3"/>
                      </a:cubicBezTo>
                      <a:cubicBezTo>
                        <a:pt x="103" y="11"/>
                        <a:pt x="117" y="7"/>
                        <a:pt x="130" y="3"/>
                      </a:cubicBezTo>
                      <a:cubicBezTo>
                        <a:pt x="130" y="3"/>
                        <a:pt x="130" y="3"/>
                        <a:pt x="130" y="3"/>
                      </a:cubicBezTo>
                      <a:cubicBezTo>
                        <a:pt x="130" y="3"/>
                        <a:pt x="130" y="3"/>
                        <a:pt x="130" y="3"/>
                      </a:cubicBezTo>
                      <a:cubicBezTo>
                        <a:pt x="130" y="3"/>
                        <a:pt x="130" y="3"/>
                        <a:pt x="130" y="3"/>
                      </a:cubicBezTo>
                      <a:cubicBezTo>
                        <a:pt x="131" y="3"/>
                        <a:pt x="131" y="3"/>
                        <a:pt x="131" y="3"/>
                      </a:cubicBezTo>
                      <a:cubicBezTo>
                        <a:pt x="132" y="3"/>
                        <a:pt x="132" y="2"/>
                        <a:pt x="133" y="2"/>
                      </a:cubicBezTo>
                      <a:cubicBezTo>
                        <a:pt x="133" y="2"/>
                        <a:pt x="133" y="2"/>
                        <a:pt x="133" y="2"/>
                      </a:cubicBezTo>
                      <a:cubicBezTo>
                        <a:pt x="133" y="2"/>
                        <a:pt x="133" y="2"/>
                        <a:pt x="133" y="2"/>
                      </a:cubicBezTo>
                      <a:cubicBezTo>
                        <a:pt x="133" y="2"/>
                        <a:pt x="133" y="2"/>
                        <a:pt x="133" y="2"/>
                      </a:cubicBezTo>
                      <a:cubicBezTo>
                        <a:pt x="134" y="2"/>
                        <a:pt x="134" y="2"/>
                        <a:pt x="134" y="2"/>
                      </a:cubicBezTo>
                      <a:cubicBezTo>
                        <a:pt x="134" y="2"/>
                        <a:pt x="134" y="2"/>
                        <a:pt x="134" y="2"/>
                      </a:cubicBezTo>
                      <a:cubicBezTo>
                        <a:pt x="134" y="2"/>
                        <a:pt x="134" y="2"/>
                        <a:pt x="134" y="2"/>
                      </a:cubicBezTo>
                      <a:cubicBezTo>
                        <a:pt x="134" y="2"/>
                        <a:pt x="134" y="2"/>
                        <a:pt x="134" y="2"/>
                      </a:cubicBezTo>
                      <a:cubicBezTo>
                        <a:pt x="135" y="2"/>
                        <a:pt x="136" y="2"/>
                        <a:pt x="137" y="3"/>
                      </a:cubicBezTo>
                      <a:cubicBezTo>
                        <a:pt x="146" y="5"/>
                        <a:pt x="155" y="9"/>
                        <a:pt x="163" y="14"/>
                      </a:cubicBezTo>
                      <a:cubicBezTo>
                        <a:pt x="165" y="15"/>
                        <a:pt x="166" y="16"/>
                        <a:pt x="168" y="17"/>
                      </a:cubicBezTo>
                      <a:cubicBezTo>
                        <a:pt x="168" y="18"/>
                        <a:pt x="169" y="18"/>
                        <a:pt x="169" y="18"/>
                      </a:cubicBezTo>
                      <a:cubicBezTo>
                        <a:pt x="171" y="19"/>
                        <a:pt x="172" y="20"/>
                        <a:pt x="174" y="21"/>
                      </a:cubicBezTo>
                      <a:cubicBezTo>
                        <a:pt x="174" y="22"/>
                        <a:pt x="174" y="22"/>
                        <a:pt x="174" y="22"/>
                      </a:cubicBezTo>
                      <a:cubicBezTo>
                        <a:pt x="175" y="23"/>
                        <a:pt x="177" y="24"/>
                        <a:pt x="179" y="25"/>
                      </a:cubicBezTo>
                      <a:cubicBezTo>
                        <a:pt x="180" y="27"/>
                        <a:pt x="182" y="28"/>
                        <a:pt x="183" y="29"/>
                      </a:cubicBezTo>
                      <a:cubicBezTo>
                        <a:pt x="183" y="30"/>
                        <a:pt x="184" y="30"/>
                        <a:pt x="184" y="31"/>
                      </a:cubicBezTo>
                      <a:cubicBezTo>
                        <a:pt x="195" y="41"/>
                        <a:pt x="205" y="51"/>
                        <a:pt x="211" y="65"/>
                      </a:cubicBezTo>
                      <a:cubicBezTo>
                        <a:pt x="216" y="76"/>
                        <a:pt x="219" y="91"/>
                        <a:pt x="214" y="103"/>
                      </a:cubicBezTo>
                    </a:path>
                  </a:pathLst>
                </a:custGeom>
                <a:solidFill>
                  <a:srgbClr val="A2D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31" name="Freeform 107">
                  <a:extLst>
                    <a:ext uri="{FF2B5EF4-FFF2-40B4-BE49-F238E27FC236}">
                      <a16:creationId xmlns:a16="http://schemas.microsoft.com/office/drawing/2014/main" id="{DE09E116-490C-4D80-A6D0-77A33E1556D4}"/>
                    </a:ext>
                  </a:extLst>
                </p:cNvPr>
                <p:cNvSpPr>
                  <a:spLocks noEditPoints="1"/>
                </p:cNvSpPr>
                <p:nvPr/>
              </p:nvSpPr>
              <p:spPr bwMode="auto">
                <a:xfrm>
                  <a:off x="10410408" y="2468323"/>
                  <a:ext cx="514948" cy="664073"/>
                </a:xfrm>
                <a:custGeom>
                  <a:avLst/>
                  <a:gdLst>
                    <a:gd name="T0" fmla="*/ 84 w 87"/>
                    <a:gd name="T1" fmla="*/ 101 h 112"/>
                    <a:gd name="T2" fmla="*/ 84 w 87"/>
                    <a:gd name="T3" fmla="*/ 101 h 112"/>
                    <a:gd name="T4" fmla="*/ 83 w 87"/>
                    <a:gd name="T5" fmla="*/ 102 h 112"/>
                    <a:gd name="T6" fmla="*/ 83 w 87"/>
                    <a:gd name="T7" fmla="*/ 109 h 112"/>
                    <a:gd name="T8" fmla="*/ 84 w 87"/>
                    <a:gd name="T9" fmla="*/ 112 h 112"/>
                    <a:gd name="T10" fmla="*/ 84 w 87"/>
                    <a:gd name="T11" fmla="*/ 112 h 112"/>
                    <a:gd name="T12" fmla="*/ 85 w 87"/>
                    <a:gd name="T13" fmla="*/ 112 h 112"/>
                    <a:gd name="T14" fmla="*/ 87 w 87"/>
                    <a:gd name="T15" fmla="*/ 112 h 112"/>
                    <a:gd name="T16" fmla="*/ 84 w 87"/>
                    <a:gd name="T17" fmla="*/ 101 h 112"/>
                    <a:gd name="T18" fmla="*/ 3 w 87"/>
                    <a:gd name="T19" fmla="*/ 0 h 112"/>
                    <a:gd name="T20" fmla="*/ 3 w 87"/>
                    <a:gd name="T21" fmla="*/ 0 h 112"/>
                    <a:gd name="T22" fmla="*/ 3 w 87"/>
                    <a:gd name="T23" fmla="*/ 0 h 112"/>
                    <a:gd name="T24" fmla="*/ 3 w 87"/>
                    <a:gd name="T25" fmla="*/ 0 h 112"/>
                    <a:gd name="T26" fmla="*/ 2 w 87"/>
                    <a:gd name="T27" fmla="*/ 0 h 112"/>
                    <a:gd name="T28" fmla="*/ 2 w 87"/>
                    <a:gd name="T29" fmla="*/ 0 h 112"/>
                    <a:gd name="T30" fmla="*/ 0 w 87"/>
                    <a:gd name="T31" fmla="*/ 1 h 112"/>
                    <a:gd name="T32" fmla="*/ 0 w 87"/>
                    <a:gd name="T33" fmla="*/ 1 h 112"/>
                    <a:gd name="T34" fmla="*/ 1 w 87"/>
                    <a:gd name="T35" fmla="*/ 1 h 112"/>
                    <a:gd name="T36" fmla="*/ 3 w 87"/>
                    <a:gd name="T37" fmla="*/ 0 h 112"/>
                    <a:gd name="T38" fmla="*/ 3 w 87"/>
                    <a:gd name="T39" fmla="*/ 0 h 112"/>
                    <a:gd name="T40" fmla="*/ 3 w 87"/>
                    <a:gd name="T4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112">
                      <a:moveTo>
                        <a:pt x="84" y="101"/>
                      </a:moveTo>
                      <a:cubicBezTo>
                        <a:pt x="84" y="101"/>
                        <a:pt x="84" y="101"/>
                        <a:pt x="84" y="101"/>
                      </a:cubicBezTo>
                      <a:cubicBezTo>
                        <a:pt x="84" y="102"/>
                        <a:pt x="84" y="102"/>
                        <a:pt x="83" y="102"/>
                      </a:cubicBezTo>
                      <a:cubicBezTo>
                        <a:pt x="83" y="105"/>
                        <a:pt x="83" y="107"/>
                        <a:pt x="83" y="109"/>
                      </a:cubicBezTo>
                      <a:cubicBezTo>
                        <a:pt x="83" y="110"/>
                        <a:pt x="83" y="111"/>
                        <a:pt x="84" y="112"/>
                      </a:cubicBezTo>
                      <a:cubicBezTo>
                        <a:pt x="84" y="112"/>
                        <a:pt x="84" y="112"/>
                        <a:pt x="84" y="112"/>
                      </a:cubicBezTo>
                      <a:cubicBezTo>
                        <a:pt x="84" y="112"/>
                        <a:pt x="85" y="112"/>
                        <a:pt x="85" y="112"/>
                      </a:cubicBezTo>
                      <a:cubicBezTo>
                        <a:pt x="85" y="112"/>
                        <a:pt x="86" y="112"/>
                        <a:pt x="87" y="112"/>
                      </a:cubicBezTo>
                      <a:cubicBezTo>
                        <a:pt x="86" y="105"/>
                        <a:pt x="85" y="101"/>
                        <a:pt x="84" y="101"/>
                      </a:cubicBezTo>
                      <a:moveTo>
                        <a:pt x="3" y="0"/>
                      </a:moveTo>
                      <a:cubicBezTo>
                        <a:pt x="3" y="0"/>
                        <a:pt x="3" y="0"/>
                        <a:pt x="3" y="0"/>
                      </a:cubicBezTo>
                      <a:cubicBezTo>
                        <a:pt x="3" y="0"/>
                        <a:pt x="3" y="0"/>
                        <a:pt x="3" y="0"/>
                      </a:cubicBezTo>
                      <a:cubicBezTo>
                        <a:pt x="3" y="0"/>
                        <a:pt x="3" y="0"/>
                        <a:pt x="3" y="0"/>
                      </a:cubicBezTo>
                      <a:cubicBezTo>
                        <a:pt x="2" y="0"/>
                        <a:pt x="2" y="0"/>
                        <a:pt x="2" y="0"/>
                      </a:cubicBezTo>
                      <a:cubicBezTo>
                        <a:pt x="2" y="0"/>
                        <a:pt x="2" y="0"/>
                        <a:pt x="2" y="0"/>
                      </a:cubicBezTo>
                      <a:cubicBezTo>
                        <a:pt x="2" y="0"/>
                        <a:pt x="1" y="1"/>
                        <a:pt x="0" y="1"/>
                      </a:cubicBezTo>
                      <a:cubicBezTo>
                        <a:pt x="0" y="1"/>
                        <a:pt x="0" y="1"/>
                        <a:pt x="0" y="1"/>
                      </a:cubicBezTo>
                      <a:cubicBezTo>
                        <a:pt x="1" y="1"/>
                        <a:pt x="1" y="1"/>
                        <a:pt x="1" y="1"/>
                      </a:cubicBezTo>
                      <a:cubicBezTo>
                        <a:pt x="2" y="1"/>
                        <a:pt x="2" y="0"/>
                        <a:pt x="3" y="0"/>
                      </a:cubicBezTo>
                      <a:cubicBezTo>
                        <a:pt x="3" y="0"/>
                        <a:pt x="3" y="0"/>
                        <a:pt x="3" y="0"/>
                      </a:cubicBezTo>
                      <a:cubicBezTo>
                        <a:pt x="3" y="0"/>
                        <a:pt x="3" y="0"/>
                        <a:pt x="3" y="0"/>
                      </a:cubicBezTo>
                    </a:path>
                  </a:pathLst>
                </a:custGeom>
                <a:solidFill>
                  <a:srgbClr val="DCF1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32" name="Freeform 108">
                  <a:extLst>
                    <a:ext uri="{FF2B5EF4-FFF2-40B4-BE49-F238E27FC236}">
                      <a16:creationId xmlns:a16="http://schemas.microsoft.com/office/drawing/2014/main" id="{EF2A0923-3B1E-4D4D-96C9-24C938177DC2}"/>
                    </a:ext>
                  </a:extLst>
                </p:cNvPr>
                <p:cNvSpPr>
                  <a:spLocks/>
                </p:cNvSpPr>
                <p:nvPr/>
              </p:nvSpPr>
              <p:spPr bwMode="auto">
                <a:xfrm>
                  <a:off x="10410408" y="2468323"/>
                  <a:ext cx="514948" cy="603491"/>
                </a:xfrm>
                <a:custGeom>
                  <a:avLst/>
                  <a:gdLst>
                    <a:gd name="T0" fmla="*/ 3 w 87"/>
                    <a:gd name="T1" fmla="*/ 0 h 102"/>
                    <a:gd name="T2" fmla="*/ 3 w 87"/>
                    <a:gd name="T3" fmla="*/ 0 h 102"/>
                    <a:gd name="T4" fmla="*/ 3 w 87"/>
                    <a:gd name="T5" fmla="*/ 0 h 102"/>
                    <a:gd name="T6" fmla="*/ 3 w 87"/>
                    <a:gd name="T7" fmla="*/ 0 h 102"/>
                    <a:gd name="T8" fmla="*/ 1 w 87"/>
                    <a:gd name="T9" fmla="*/ 1 h 102"/>
                    <a:gd name="T10" fmla="*/ 0 w 87"/>
                    <a:gd name="T11" fmla="*/ 1 h 102"/>
                    <a:gd name="T12" fmla="*/ 0 w 87"/>
                    <a:gd name="T13" fmla="*/ 1 h 102"/>
                    <a:gd name="T14" fmla="*/ 0 w 87"/>
                    <a:gd name="T15" fmla="*/ 1 h 102"/>
                    <a:gd name="T16" fmla="*/ 0 w 87"/>
                    <a:gd name="T17" fmla="*/ 1 h 102"/>
                    <a:gd name="T18" fmla="*/ 0 w 87"/>
                    <a:gd name="T19" fmla="*/ 1 h 102"/>
                    <a:gd name="T20" fmla="*/ 1 w 87"/>
                    <a:gd name="T21" fmla="*/ 1 h 102"/>
                    <a:gd name="T22" fmla="*/ 4 w 87"/>
                    <a:gd name="T23" fmla="*/ 3 h 102"/>
                    <a:gd name="T24" fmla="*/ 4 w 87"/>
                    <a:gd name="T25" fmla="*/ 3 h 102"/>
                    <a:gd name="T26" fmla="*/ 44 w 87"/>
                    <a:gd name="T27" fmla="*/ 27 h 102"/>
                    <a:gd name="T28" fmla="*/ 49 w 87"/>
                    <a:gd name="T29" fmla="*/ 38 h 102"/>
                    <a:gd name="T30" fmla="*/ 66 w 87"/>
                    <a:gd name="T31" fmla="*/ 51 h 102"/>
                    <a:gd name="T32" fmla="*/ 83 w 87"/>
                    <a:gd name="T33" fmla="*/ 101 h 102"/>
                    <a:gd name="T34" fmla="*/ 83 w 87"/>
                    <a:gd name="T35" fmla="*/ 102 h 102"/>
                    <a:gd name="T36" fmla="*/ 83 w 87"/>
                    <a:gd name="T37" fmla="*/ 102 h 102"/>
                    <a:gd name="T38" fmla="*/ 84 w 87"/>
                    <a:gd name="T39" fmla="*/ 101 h 102"/>
                    <a:gd name="T40" fmla="*/ 84 w 87"/>
                    <a:gd name="T41" fmla="*/ 101 h 102"/>
                    <a:gd name="T42" fmla="*/ 84 w 87"/>
                    <a:gd name="T43" fmla="*/ 101 h 102"/>
                    <a:gd name="T44" fmla="*/ 87 w 87"/>
                    <a:gd name="T45" fmla="*/ 88 h 102"/>
                    <a:gd name="T46" fmla="*/ 81 w 87"/>
                    <a:gd name="T47" fmla="*/ 63 h 102"/>
                    <a:gd name="T48" fmla="*/ 54 w 87"/>
                    <a:gd name="T49" fmla="*/ 29 h 102"/>
                    <a:gd name="T50" fmla="*/ 53 w 87"/>
                    <a:gd name="T51" fmla="*/ 27 h 102"/>
                    <a:gd name="T52" fmla="*/ 49 w 87"/>
                    <a:gd name="T53" fmla="*/ 23 h 102"/>
                    <a:gd name="T54" fmla="*/ 44 w 87"/>
                    <a:gd name="T55" fmla="*/ 20 h 102"/>
                    <a:gd name="T56" fmla="*/ 44 w 87"/>
                    <a:gd name="T57" fmla="*/ 19 h 102"/>
                    <a:gd name="T58" fmla="*/ 39 w 87"/>
                    <a:gd name="T59" fmla="*/ 16 h 102"/>
                    <a:gd name="T60" fmla="*/ 38 w 87"/>
                    <a:gd name="T61" fmla="*/ 15 h 102"/>
                    <a:gd name="T62" fmla="*/ 33 w 87"/>
                    <a:gd name="T63" fmla="*/ 12 h 102"/>
                    <a:gd name="T64" fmla="*/ 7 w 87"/>
                    <a:gd name="T65" fmla="*/ 1 h 102"/>
                    <a:gd name="T66" fmla="*/ 7 w 87"/>
                    <a:gd name="T67" fmla="*/ 1 h 102"/>
                    <a:gd name="T68" fmla="*/ 4 w 87"/>
                    <a:gd name="T69" fmla="*/ 0 h 102"/>
                    <a:gd name="T70" fmla="*/ 3 w 87"/>
                    <a:gd name="T7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7" h="102">
                      <a:moveTo>
                        <a:pt x="3" y="0"/>
                      </a:moveTo>
                      <a:cubicBezTo>
                        <a:pt x="3" y="0"/>
                        <a:pt x="3" y="0"/>
                        <a:pt x="3" y="0"/>
                      </a:cubicBezTo>
                      <a:cubicBezTo>
                        <a:pt x="3" y="0"/>
                        <a:pt x="3" y="0"/>
                        <a:pt x="3" y="0"/>
                      </a:cubicBezTo>
                      <a:cubicBezTo>
                        <a:pt x="3" y="0"/>
                        <a:pt x="3" y="0"/>
                        <a:pt x="3" y="0"/>
                      </a:cubicBezTo>
                      <a:cubicBezTo>
                        <a:pt x="2" y="0"/>
                        <a:pt x="2"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2" y="2"/>
                        <a:pt x="1" y="2"/>
                        <a:pt x="4" y="3"/>
                      </a:cubicBezTo>
                      <a:cubicBezTo>
                        <a:pt x="4" y="3"/>
                        <a:pt x="4" y="3"/>
                        <a:pt x="4" y="3"/>
                      </a:cubicBezTo>
                      <a:cubicBezTo>
                        <a:pt x="17" y="9"/>
                        <a:pt x="35" y="15"/>
                        <a:pt x="44" y="27"/>
                      </a:cubicBezTo>
                      <a:cubicBezTo>
                        <a:pt x="47" y="32"/>
                        <a:pt x="45" y="34"/>
                        <a:pt x="49" y="38"/>
                      </a:cubicBezTo>
                      <a:cubicBezTo>
                        <a:pt x="57" y="47"/>
                        <a:pt x="55" y="44"/>
                        <a:pt x="66" y="51"/>
                      </a:cubicBezTo>
                      <a:cubicBezTo>
                        <a:pt x="79" y="59"/>
                        <a:pt x="82" y="83"/>
                        <a:pt x="83" y="101"/>
                      </a:cubicBezTo>
                      <a:cubicBezTo>
                        <a:pt x="83" y="101"/>
                        <a:pt x="83" y="102"/>
                        <a:pt x="83" y="102"/>
                      </a:cubicBezTo>
                      <a:cubicBezTo>
                        <a:pt x="83" y="102"/>
                        <a:pt x="83" y="102"/>
                        <a:pt x="83" y="102"/>
                      </a:cubicBezTo>
                      <a:cubicBezTo>
                        <a:pt x="84" y="102"/>
                        <a:pt x="84" y="102"/>
                        <a:pt x="84" y="101"/>
                      </a:cubicBezTo>
                      <a:cubicBezTo>
                        <a:pt x="84" y="101"/>
                        <a:pt x="84" y="101"/>
                        <a:pt x="84" y="101"/>
                      </a:cubicBezTo>
                      <a:cubicBezTo>
                        <a:pt x="84" y="101"/>
                        <a:pt x="84" y="101"/>
                        <a:pt x="84" y="101"/>
                      </a:cubicBezTo>
                      <a:cubicBezTo>
                        <a:pt x="86" y="97"/>
                        <a:pt x="87" y="93"/>
                        <a:pt x="87" y="88"/>
                      </a:cubicBezTo>
                      <a:cubicBezTo>
                        <a:pt x="87" y="80"/>
                        <a:pt x="84" y="71"/>
                        <a:pt x="81" y="63"/>
                      </a:cubicBezTo>
                      <a:cubicBezTo>
                        <a:pt x="75" y="49"/>
                        <a:pt x="65" y="39"/>
                        <a:pt x="54" y="29"/>
                      </a:cubicBezTo>
                      <a:cubicBezTo>
                        <a:pt x="54" y="28"/>
                        <a:pt x="53" y="28"/>
                        <a:pt x="53" y="27"/>
                      </a:cubicBezTo>
                      <a:cubicBezTo>
                        <a:pt x="52" y="26"/>
                        <a:pt x="50" y="25"/>
                        <a:pt x="49" y="23"/>
                      </a:cubicBezTo>
                      <a:cubicBezTo>
                        <a:pt x="47" y="22"/>
                        <a:pt x="45" y="21"/>
                        <a:pt x="44" y="20"/>
                      </a:cubicBezTo>
                      <a:cubicBezTo>
                        <a:pt x="44" y="19"/>
                        <a:pt x="44" y="19"/>
                        <a:pt x="44" y="19"/>
                      </a:cubicBezTo>
                      <a:cubicBezTo>
                        <a:pt x="42" y="18"/>
                        <a:pt x="41" y="17"/>
                        <a:pt x="39" y="16"/>
                      </a:cubicBezTo>
                      <a:cubicBezTo>
                        <a:pt x="39" y="16"/>
                        <a:pt x="38" y="16"/>
                        <a:pt x="38" y="15"/>
                      </a:cubicBezTo>
                      <a:cubicBezTo>
                        <a:pt x="36" y="14"/>
                        <a:pt x="35" y="13"/>
                        <a:pt x="33" y="12"/>
                      </a:cubicBezTo>
                      <a:cubicBezTo>
                        <a:pt x="25" y="7"/>
                        <a:pt x="16" y="3"/>
                        <a:pt x="7" y="1"/>
                      </a:cubicBezTo>
                      <a:cubicBezTo>
                        <a:pt x="7" y="1"/>
                        <a:pt x="7" y="1"/>
                        <a:pt x="7" y="1"/>
                      </a:cubicBezTo>
                      <a:cubicBezTo>
                        <a:pt x="6" y="1"/>
                        <a:pt x="5" y="0"/>
                        <a:pt x="4" y="0"/>
                      </a:cubicBezTo>
                      <a:cubicBezTo>
                        <a:pt x="3" y="0"/>
                        <a:pt x="3" y="0"/>
                        <a:pt x="3" y="0"/>
                      </a:cubicBezTo>
                    </a:path>
                  </a:pathLst>
                </a:custGeom>
                <a:solidFill>
                  <a:srgbClr val="98DA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33" name="Freeform 109">
                  <a:extLst>
                    <a:ext uri="{FF2B5EF4-FFF2-40B4-BE49-F238E27FC236}">
                      <a16:creationId xmlns:a16="http://schemas.microsoft.com/office/drawing/2014/main" id="{CFEE3838-4514-405A-A3FB-A68D60F9E840}"/>
                    </a:ext>
                  </a:extLst>
                </p:cNvPr>
                <p:cNvSpPr>
                  <a:spLocks/>
                </p:cNvSpPr>
                <p:nvPr/>
              </p:nvSpPr>
              <p:spPr bwMode="auto">
                <a:xfrm>
                  <a:off x="10517591" y="2894727"/>
                  <a:ext cx="111844" cy="242328"/>
                </a:xfrm>
                <a:custGeom>
                  <a:avLst/>
                  <a:gdLst>
                    <a:gd name="T0" fmla="*/ 17 w 19"/>
                    <a:gd name="T1" fmla="*/ 35 h 41"/>
                    <a:gd name="T2" fmla="*/ 14 w 19"/>
                    <a:gd name="T3" fmla="*/ 41 h 41"/>
                    <a:gd name="T4" fmla="*/ 5 w 19"/>
                    <a:gd name="T5" fmla="*/ 18 h 41"/>
                    <a:gd name="T6" fmla="*/ 1 w 19"/>
                    <a:gd name="T7" fmla="*/ 6 h 41"/>
                    <a:gd name="T8" fmla="*/ 3 w 19"/>
                    <a:gd name="T9" fmla="*/ 1 h 41"/>
                    <a:gd name="T10" fmla="*/ 7 w 19"/>
                    <a:gd name="T11" fmla="*/ 3 h 41"/>
                    <a:gd name="T12" fmla="*/ 11 w 19"/>
                    <a:gd name="T13" fmla="*/ 16 h 41"/>
                    <a:gd name="T14" fmla="*/ 17 w 19"/>
                    <a:gd name="T15" fmla="*/ 35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41">
                      <a:moveTo>
                        <a:pt x="17" y="35"/>
                      </a:moveTo>
                      <a:cubicBezTo>
                        <a:pt x="17" y="38"/>
                        <a:pt x="19" y="40"/>
                        <a:pt x="14" y="41"/>
                      </a:cubicBezTo>
                      <a:cubicBezTo>
                        <a:pt x="10" y="34"/>
                        <a:pt x="8" y="25"/>
                        <a:pt x="5" y="18"/>
                      </a:cubicBezTo>
                      <a:cubicBezTo>
                        <a:pt x="4" y="14"/>
                        <a:pt x="3" y="10"/>
                        <a:pt x="1" y="6"/>
                      </a:cubicBezTo>
                      <a:cubicBezTo>
                        <a:pt x="0" y="3"/>
                        <a:pt x="0" y="2"/>
                        <a:pt x="3" y="1"/>
                      </a:cubicBezTo>
                      <a:cubicBezTo>
                        <a:pt x="5" y="0"/>
                        <a:pt x="6" y="2"/>
                        <a:pt x="7" y="3"/>
                      </a:cubicBezTo>
                      <a:cubicBezTo>
                        <a:pt x="8" y="8"/>
                        <a:pt x="10" y="12"/>
                        <a:pt x="11" y="16"/>
                      </a:cubicBezTo>
                      <a:cubicBezTo>
                        <a:pt x="13" y="23"/>
                        <a:pt x="15" y="29"/>
                        <a:pt x="17" y="35"/>
                      </a:cubicBezTo>
                      <a:close/>
                    </a:path>
                  </a:pathLst>
                </a:custGeom>
                <a:solidFill>
                  <a:srgbClr val="81D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34" name="Freeform 110">
                  <a:extLst>
                    <a:ext uri="{FF2B5EF4-FFF2-40B4-BE49-F238E27FC236}">
                      <a16:creationId xmlns:a16="http://schemas.microsoft.com/office/drawing/2014/main" id="{64E6946F-9EE3-4C24-8490-5C05D76B44C6}"/>
                    </a:ext>
                  </a:extLst>
                </p:cNvPr>
                <p:cNvSpPr>
                  <a:spLocks/>
                </p:cNvSpPr>
                <p:nvPr/>
              </p:nvSpPr>
              <p:spPr bwMode="auto">
                <a:xfrm>
                  <a:off x="9594879" y="3090453"/>
                  <a:ext cx="992614" cy="661741"/>
                </a:xfrm>
                <a:custGeom>
                  <a:avLst/>
                  <a:gdLst>
                    <a:gd name="T0" fmla="*/ 163 w 168"/>
                    <a:gd name="T1" fmla="*/ 111 h 112"/>
                    <a:gd name="T2" fmla="*/ 59 w 168"/>
                    <a:gd name="T3" fmla="*/ 112 h 112"/>
                    <a:gd name="T4" fmla="*/ 50 w 168"/>
                    <a:gd name="T5" fmla="*/ 106 h 112"/>
                    <a:gd name="T6" fmla="*/ 2 w 168"/>
                    <a:gd name="T7" fmla="*/ 7 h 112"/>
                    <a:gd name="T8" fmla="*/ 5 w 168"/>
                    <a:gd name="T9" fmla="*/ 2 h 112"/>
                    <a:gd name="T10" fmla="*/ 109 w 168"/>
                    <a:gd name="T11" fmla="*/ 1 h 112"/>
                    <a:gd name="T12" fmla="*/ 118 w 168"/>
                    <a:gd name="T13" fmla="*/ 6 h 112"/>
                    <a:gd name="T14" fmla="*/ 167 w 168"/>
                    <a:gd name="T15" fmla="*/ 106 h 112"/>
                    <a:gd name="T16" fmla="*/ 163 w 168"/>
                    <a:gd name="T1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112">
                      <a:moveTo>
                        <a:pt x="163" y="111"/>
                      </a:moveTo>
                      <a:cubicBezTo>
                        <a:pt x="129" y="112"/>
                        <a:pt x="94" y="112"/>
                        <a:pt x="59" y="112"/>
                      </a:cubicBezTo>
                      <a:cubicBezTo>
                        <a:pt x="55" y="112"/>
                        <a:pt x="52" y="110"/>
                        <a:pt x="50" y="106"/>
                      </a:cubicBezTo>
                      <a:cubicBezTo>
                        <a:pt x="34" y="74"/>
                        <a:pt x="17" y="40"/>
                        <a:pt x="2" y="7"/>
                      </a:cubicBezTo>
                      <a:cubicBezTo>
                        <a:pt x="0" y="3"/>
                        <a:pt x="1" y="2"/>
                        <a:pt x="5" y="2"/>
                      </a:cubicBezTo>
                      <a:cubicBezTo>
                        <a:pt x="39" y="1"/>
                        <a:pt x="74" y="0"/>
                        <a:pt x="109" y="1"/>
                      </a:cubicBezTo>
                      <a:cubicBezTo>
                        <a:pt x="113" y="1"/>
                        <a:pt x="116" y="2"/>
                        <a:pt x="118" y="6"/>
                      </a:cubicBezTo>
                      <a:cubicBezTo>
                        <a:pt x="134" y="39"/>
                        <a:pt x="151" y="73"/>
                        <a:pt x="167" y="106"/>
                      </a:cubicBezTo>
                      <a:cubicBezTo>
                        <a:pt x="168" y="110"/>
                        <a:pt x="168" y="111"/>
                        <a:pt x="163" y="111"/>
                      </a:cubicBezTo>
                      <a:close/>
                    </a:path>
                  </a:pathLst>
                </a:custGeom>
                <a:solidFill>
                  <a:srgbClr val="332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35" name="Freeform 111">
                  <a:extLst>
                    <a:ext uri="{FF2B5EF4-FFF2-40B4-BE49-F238E27FC236}">
                      <a16:creationId xmlns:a16="http://schemas.microsoft.com/office/drawing/2014/main" id="{4C041274-73DC-4F4B-B555-5ED9E7708E29}"/>
                    </a:ext>
                  </a:extLst>
                </p:cNvPr>
                <p:cNvSpPr>
                  <a:spLocks/>
                </p:cNvSpPr>
                <p:nvPr/>
              </p:nvSpPr>
              <p:spPr bwMode="auto">
                <a:xfrm>
                  <a:off x="10109826" y="2186383"/>
                  <a:ext cx="330871" cy="335532"/>
                </a:xfrm>
                <a:custGeom>
                  <a:avLst/>
                  <a:gdLst>
                    <a:gd name="T0" fmla="*/ 55 w 56"/>
                    <a:gd name="T1" fmla="*/ 48 h 57"/>
                    <a:gd name="T2" fmla="*/ 52 w 56"/>
                    <a:gd name="T3" fmla="*/ 53 h 57"/>
                    <a:gd name="T4" fmla="*/ 16 w 56"/>
                    <a:gd name="T5" fmla="*/ 54 h 57"/>
                    <a:gd name="T6" fmla="*/ 14 w 56"/>
                    <a:gd name="T7" fmla="*/ 52 h 57"/>
                    <a:gd name="T8" fmla="*/ 3 w 56"/>
                    <a:gd name="T9" fmla="*/ 33 h 57"/>
                    <a:gd name="T10" fmla="*/ 18 w 56"/>
                    <a:gd name="T11" fmla="*/ 33 h 57"/>
                    <a:gd name="T12" fmla="*/ 27 w 56"/>
                    <a:gd name="T13" fmla="*/ 21 h 57"/>
                    <a:gd name="T14" fmla="*/ 28 w 56"/>
                    <a:gd name="T15" fmla="*/ 14 h 57"/>
                    <a:gd name="T16" fmla="*/ 34 w 56"/>
                    <a:gd name="T17" fmla="*/ 0 h 57"/>
                    <a:gd name="T18" fmla="*/ 36 w 56"/>
                    <a:gd name="T19" fmla="*/ 13 h 57"/>
                    <a:gd name="T20" fmla="*/ 44 w 56"/>
                    <a:gd name="T21" fmla="*/ 31 h 57"/>
                    <a:gd name="T22" fmla="*/ 55 w 56"/>
                    <a:gd name="T23"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7">
                      <a:moveTo>
                        <a:pt x="55" y="48"/>
                      </a:moveTo>
                      <a:cubicBezTo>
                        <a:pt x="56" y="50"/>
                        <a:pt x="54" y="52"/>
                        <a:pt x="52" y="53"/>
                      </a:cubicBezTo>
                      <a:cubicBezTo>
                        <a:pt x="40" y="56"/>
                        <a:pt x="29" y="57"/>
                        <a:pt x="16" y="54"/>
                      </a:cubicBezTo>
                      <a:cubicBezTo>
                        <a:pt x="15" y="54"/>
                        <a:pt x="14" y="52"/>
                        <a:pt x="14" y="52"/>
                      </a:cubicBezTo>
                      <a:cubicBezTo>
                        <a:pt x="11" y="49"/>
                        <a:pt x="0" y="36"/>
                        <a:pt x="3" y="33"/>
                      </a:cubicBezTo>
                      <a:cubicBezTo>
                        <a:pt x="7" y="29"/>
                        <a:pt x="13" y="36"/>
                        <a:pt x="18" y="33"/>
                      </a:cubicBezTo>
                      <a:cubicBezTo>
                        <a:pt x="22" y="31"/>
                        <a:pt x="26" y="26"/>
                        <a:pt x="27" y="21"/>
                      </a:cubicBezTo>
                      <a:cubicBezTo>
                        <a:pt x="28" y="18"/>
                        <a:pt x="27" y="18"/>
                        <a:pt x="28" y="14"/>
                      </a:cubicBezTo>
                      <a:cubicBezTo>
                        <a:pt x="28" y="10"/>
                        <a:pt x="31" y="3"/>
                        <a:pt x="34" y="0"/>
                      </a:cubicBezTo>
                      <a:cubicBezTo>
                        <a:pt x="35" y="5"/>
                        <a:pt x="34" y="6"/>
                        <a:pt x="36" y="13"/>
                      </a:cubicBezTo>
                      <a:cubicBezTo>
                        <a:pt x="37" y="15"/>
                        <a:pt x="40" y="25"/>
                        <a:pt x="44" y="31"/>
                      </a:cubicBezTo>
                      <a:cubicBezTo>
                        <a:pt x="45" y="33"/>
                        <a:pt x="52" y="44"/>
                        <a:pt x="55" y="48"/>
                      </a:cubicBezTo>
                      <a:close/>
                    </a:path>
                  </a:pathLst>
                </a:custGeom>
                <a:solidFill>
                  <a:srgbClr val="F5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36" name="Freeform 112">
                  <a:extLst>
                    <a:ext uri="{FF2B5EF4-FFF2-40B4-BE49-F238E27FC236}">
                      <a16:creationId xmlns:a16="http://schemas.microsoft.com/office/drawing/2014/main" id="{60D5200A-6B8F-4FA4-837E-3D31AC352BE5}"/>
                    </a:ext>
                  </a:extLst>
                </p:cNvPr>
                <p:cNvSpPr>
                  <a:spLocks/>
                </p:cNvSpPr>
                <p:nvPr/>
              </p:nvSpPr>
              <p:spPr bwMode="auto">
                <a:xfrm>
                  <a:off x="9925750" y="1930074"/>
                  <a:ext cx="414754" cy="498636"/>
                </a:xfrm>
                <a:custGeom>
                  <a:avLst/>
                  <a:gdLst>
                    <a:gd name="T0" fmla="*/ 68 w 70"/>
                    <a:gd name="T1" fmla="*/ 46 h 84"/>
                    <a:gd name="T2" fmla="*/ 65 w 70"/>
                    <a:gd name="T3" fmla="*/ 49 h 84"/>
                    <a:gd name="T4" fmla="*/ 63 w 70"/>
                    <a:gd name="T5" fmla="*/ 50 h 84"/>
                    <a:gd name="T6" fmla="*/ 60 w 70"/>
                    <a:gd name="T7" fmla="*/ 58 h 84"/>
                    <a:gd name="T8" fmla="*/ 51 w 70"/>
                    <a:gd name="T9" fmla="*/ 77 h 84"/>
                    <a:gd name="T10" fmla="*/ 35 w 70"/>
                    <a:gd name="T11" fmla="*/ 83 h 84"/>
                    <a:gd name="T12" fmla="*/ 27 w 70"/>
                    <a:gd name="T13" fmla="*/ 80 h 84"/>
                    <a:gd name="T14" fmla="*/ 26 w 70"/>
                    <a:gd name="T15" fmla="*/ 79 h 84"/>
                    <a:gd name="T16" fmla="*/ 8 w 70"/>
                    <a:gd name="T17" fmla="*/ 52 h 84"/>
                    <a:gd name="T18" fmla="*/ 0 w 70"/>
                    <a:gd name="T19" fmla="*/ 29 h 84"/>
                    <a:gd name="T20" fmla="*/ 46 w 70"/>
                    <a:gd name="T21" fmla="*/ 5 h 84"/>
                    <a:gd name="T22" fmla="*/ 55 w 70"/>
                    <a:gd name="T23" fmla="*/ 32 h 84"/>
                    <a:gd name="T24" fmla="*/ 66 w 70"/>
                    <a:gd name="T25" fmla="*/ 31 h 84"/>
                    <a:gd name="T26" fmla="*/ 68 w 70"/>
                    <a:gd name="T27" fmla="*/ 4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84">
                      <a:moveTo>
                        <a:pt x="68" y="46"/>
                      </a:moveTo>
                      <a:cubicBezTo>
                        <a:pt x="67" y="48"/>
                        <a:pt x="66" y="49"/>
                        <a:pt x="65" y="49"/>
                      </a:cubicBezTo>
                      <a:cubicBezTo>
                        <a:pt x="64" y="50"/>
                        <a:pt x="64" y="49"/>
                        <a:pt x="63" y="50"/>
                      </a:cubicBezTo>
                      <a:cubicBezTo>
                        <a:pt x="60" y="52"/>
                        <a:pt x="60" y="55"/>
                        <a:pt x="60" y="58"/>
                      </a:cubicBezTo>
                      <a:cubicBezTo>
                        <a:pt x="62" y="66"/>
                        <a:pt x="57" y="73"/>
                        <a:pt x="51" y="77"/>
                      </a:cubicBezTo>
                      <a:cubicBezTo>
                        <a:pt x="45" y="81"/>
                        <a:pt x="42" y="82"/>
                        <a:pt x="35" y="83"/>
                      </a:cubicBezTo>
                      <a:cubicBezTo>
                        <a:pt x="32" y="84"/>
                        <a:pt x="29" y="82"/>
                        <a:pt x="27" y="80"/>
                      </a:cubicBezTo>
                      <a:cubicBezTo>
                        <a:pt x="26" y="79"/>
                        <a:pt x="26" y="79"/>
                        <a:pt x="26" y="79"/>
                      </a:cubicBezTo>
                      <a:cubicBezTo>
                        <a:pt x="19" y="72"/>
                        <a:pt x="12" y="61"/>
                        <a:pt x="8" y="52"/>
                      </a:cubicBezTo>
                      <a:cubicBezTo>
                        <a:pt x="4" y="44"/>
                        <a:pt x="2" y="37"/>
                        <a:pt x="0" y="29"/>
                      </a:cubicBezTo>
                      <a:cubicBezTo>
                        <a:pt x="6" y="22"/>
                        <a:pt x="38" y="0"/>
                        <a:pt x="46" y="5"/>
                      </a:cubicBezTo>
                      <a:cubicBezTo>
                        <a:pt x="58" y="13"/>
                        <a:pt x="45" y="25"/>
                        <a:pt x="55" y="32"/>
                      </a:cubicBezTo>
                      <a:cubicBezTo>
                        <a:pt x="60" y="35"/>
                        <a:pt x="62" y="32"/>
                        <a:pt x="66" y="31"/>
                      </a:cubicBezTo>
                      <a:cubicBezTo>
                        <a:pt x="69" y="36"/>
                        <a:pt x="70" y="41"/>
                        <a:pt x="68" y="46"/>
                      </a:cubicBezTo>
                      <a:close/>
                    </a:path>
                  </a:pathLst>
                </a:custGeom>
                <a:solidFill>
                  <a:srgbClr val="F5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37" name="Freeform 113">
                  <a:extLst>
                    <a:ext uri="{FF2B5EF4-FFF2-40B4-BE49-F238E27FC236}">
                      <a16:creationId xmlns:a16="http://schemas.microsoft.com/office/drawing/2014/main" id="{D11B16FF-DE79-4DD6-84E0-97A8CD18F2E2}"/>
                    </a:ext>
                  </a:extLst>
                </p:cNvPr>
                <p:cNvSpPr>
                  <a:spLocks/>
                </p:cNvSpPr>
                <p:nvPr/>
              </p:nvSpPr>
              <p:spPr bwMode="auto">
                <a:xfrm>
                  <a:off x="9802256" y="1825222"/>
                  <a:ext cx="584850" cy="461356"/>
                </a:xfrm>
                <a:custGeom>
                  <a:avLst/>
                  <a:gdLst>
                    <a:gd name="T0" fmla="*/ 97 w 99"/>
                    <a:gd name="T1" fmla="*/ 72 h 78"/>
                    <a:gd name="T2" fmla="*/ 94 w 99"/>
                    <a:gd name="T3" fmla="*/ 58 h 78"/>
                    <a:gd name="T4" fmla="*/ 92 w 99"/>
                    <a:gd name="T5" fmla="*/ 50 h 78"/>
                    <a:gd name="T6" fmla="*/ 73 w 99"/>
                    <a:gd name="T7" fmla="*/ 18 h 78"/>
                    <a:gd name="T8" fmla="*/ 18 w 99"/>
                    <a:gd name="T9" fmla="*/ 29 h 78"/>
                    <a:gd name="T10" fmla="*/ 0 w 99"/>
                    <a:gd name="T11" fmla="*/ 40 h 78"/>
                    <a:gd name="T12" fmla="*/ 63 w 99"/>
                    <a:gd name="T13" fmla="*/ 31 h 78"/>
                    <a:gd name="T14" fmla="*/ 76 w 99"/>
                    <a:gd name="T15" fmla="*/ 56 h 78"/>
                    <a:gd name="T16" fmla="*/ 87 w 99"/>
                    <a:gd name="T17" fmla="*/ 52 h 78"/>
                    <a:gd name="T18" fmla="*/ 83 w 99"/>
                    <a:gd name="T19" fmla="*/ 65 h 78"/>
                    <a:gd name="T20" fmla="*/ 86 w 99"/>
                    <a:gd name="T21" fmla="*/ 71 h 78"/>
                    <a:gd name="T22" fmla="*/ 97 w 99"/>
                    <a:gd name="T23" fmla="*/ 75 h 78"/>
                    <a:gd name="T24" fmla="*/ 97 w 99"/>
                    <a:gd name="T25" fmla="*/ 7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78">
                      <a:moveTo>
                        <a:pt x="97" y="72"/>
                      </a:moveTo>
                      <a:cubicBezTo>
                        <a:pt x="96" y="68"/>
                        <a:pt x="95" y="62"/>
                        <a:pt x="94" y="58"/>
                      </a:cubicBezTo>
                      <a:cubicBezTo>
                        <a:pt x="94" y="55"/>
                        <a:pt x="93" y="52"/>
                        <a:pt x="92" y="50"/>
                      </a:cubicBezTo>
                      <a:cubicBezTo>
                        <a:pt x="92" y="37"/>
                        <a:pt x="93" y="16"/>
                        <a:pt x="73" y="18"/>
                      </a:cubicBezTo>
                      <a:cubicBezTo>
                        <a:pt x="52" y="0"/>
                        <a:pt x="31" y="12"/>
                        <a:pt x="18" y="29"/>
                      </a:cubicBezTo>
                      <a:cubicBezTo>
                        <a:pt x="11" y="38"/>
                        <a:pt x="9" y="36"/>
                        <a:pt x="0" y="40"/>
                      </a:cubicBezTo>
                      <a:cubicBezTo>
                        <a:pt x="24" y="53"/>
                        <a:pt x="44" y="48"/>
                        <a:pt x="63" y="31"/>
                      </a:cubicBezTo>
                      <a:cubicBezTo>
                        <a:pt x="64" y="41"/>
                        <a:pt x="65" y="52"/>
                        <a:pt x="76" y="56"/>
                      </a:cubicBezTo>
                      <a:cubicBezTo>
                        <a:pt x="80" y="55"/>
                        <a:pt x="83" y="53"/>
                        <a:pt x="87" y="52"/>
                      </a:cubicBezTo>
                      <a:cubicBezTo>
                        <a:pt x="88" y="57"/>
                        <a:pt x="87" y="61"/>
                        <a:pt x="83" y="65"/>
                      </a:cubicBezTo>
                      <a:cubicBezTo>
                        <a:pt x="83" y="67"/>
                        <a:pt x="84" y="70"/>
                        <a:pt x="86" y="71"/>
                      </a:cubicBezTo>
                      <a:cubicBezTo>
                        <a:pt x="88" y="74"/>
                        <a:pt x="94" y="78"/>
                        <a:pt x="97" y="75"/>
                      </a:cubicBezTo>
                      <a:cubicBezTo>
                        <a:pt x="99" y="75"/>
                        <a:pt x="98" y="74"/>
                        <a:pt x="97" y="72"/>
                      </a:cubicBezTo>
                      <a:close/>
                    </a:path>
                  </a:pathLst>
                </a:custGeom>
                <a:solidFill>
                  <a:srgbClr val="2C3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38" name="Freeform 114">
                  <a:extLst>
                    <a:ext uri="{FF2B5EF4-FFF2-40B4-BE49-F238E27FC236}">
                      <a16:creationId xmlns:a16="http://schemas.microsoft.com/office/drawing/2014/main" id="{EE969302-A99F-48F6-960B-8477CDBF387A}"/>
                    </a:ext>
                  </a:extLst>
                </p:cNvPr>
                <p:cNvSpPr>
                  <a:spLocks/>
                </p:cNvSpPr>
                <p:nvPr/>
              </p:nvSpPr>
              <p:spPr bwMode="auto">
                <a:xfrm>
                  <a:off x="10079535" y="2132793"/>
                  <a:ext cx="242328" cy="295921"/>
                </a:xfrm>
                <a:custGeom>
                  <a:avLst/>
                  <a:gdLst>
                    <a:gd name="T0" fmla="*/ 34 w 41"/>
                    <a:gd name="T1" fmla="*/ 20 h 50"/>
                    <a:gd name="T2" fmla="*/ 34 w 41"/>
                    <a:gd name="T3" fmla="*/ 21 h 50"/>
                    <a:gd name="T4" fmla="*/ 34 w 41"/>
                    <a:gd name="T5" fmla="*/ 24 h 50"/>
                    <a:gd name="T6" fmla="*/ 25 w 41"/>
                    <a:gd name="T7" fmla="*/ 43 h 50"/>
                    <a:gd name="T8" fmla="*/ 9 w 41"/>
                    <a:gd name="T9" fmla="*/ 49 h 50"/>
                    <a:gd name="T10" fmla="*/ 1 w 41"/>
                    <a:gd name="T11" fmla="*/ 46 h 50"/>
                    <a:gd name="T12" fmla="*/ 0 w 41"/>
                    <a:gd name="T13" fmla="*/ 45 h 50"/>
                    <a:gd name="T14" fmla="*/ 8 w 41"/>
                    <a:gd name="T15" fmla="*/ 41 h 50"/>
                    <a:gd name="T16" fmla="*/ 20 w 41"/>
                    <a:gd name="T17" fmla="*/ 34 h 50"/>
                    <a:gd name="T18" fmla="*/ 30 w 41"/>
                    <a:gd name="T19" fmla="*/ 19 h 50"/>
                    <a:gd name="T20" fmla="*/ 31 w 41"/>
                    <a:gd name="T21" fmla="*/ 14 h 50"/>
                    <a:gd name="T22" fmla="*/ 32 w 41"/>
                    <a:gd name="T23" fmla="*/ 11 h 50"/>
                    <a:gd name="T24" fmla="*/ 40 w 41"/>
                    <a:gd name="T25" fmla="*/ 0 h 50"/>
                    <a:gd name="T26" fmla="*/ 41 w 41"/>
                    <a:gd name="T27" fmla="*/ 3 h 50"/>
                    <a:gd name="T28" fmla="*/ 34 w 41"/>
                    <a:gd name="T29" fmla="*/ 2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 h="50">
                      <a:moveTo>
                        <a:pt x="34" y="20"/>
                      </a:moveTo>
                      <a:cubicBezTo>
                        <a:pt x="34" y="20"/>
                        <a:pt x="34" y="20"/>
                        <a:pt x="34" y="21"/>
                      </a:cubicBezTo>
                      <a:cubicBezTo>
                        <a:pt x="34" y="22"/>
                        <a:pt x="34" y="23"/>
                        <a:pt x="34" y="24"/>
                      </a:cubicBezTo>
                      <a:cubicBezTo>
                        <a:pt x="36" y="32"/>
                        <a:pt x="31" y="39"/>
                        <a:pt x="25" y="43"/>
                      </a:cubicBezTo>
                      <a:cubicBezTo>
                        <a:pt x="19" y="47"/>
                        <a:pt x="16" y="48"/>
                        <a:pt x="9" y="49"/>
                      </a:cubicBezTo>
                      <a:cubicBezTo>
                        <a:pt x="6" y="50"/>
                        <a:pt x="3" y="48"/>
                        <a:pt x="1" y="46"/>
                      </a:cubicBezTo>
                      <a:cubicBezTo>
                        <a:pt x="0" y="45"/>
                        <a:pt x="0" y="45"/>
                        <a:pt x="0" y="45"/>
                      </a:cubicBezTo>
                      <a:cubicBezTo>
                        <a:pt x="2" y="44"/>
                        <a:pt x="6" y="43"/>
                        <a:pt x="8" y="41"/>
                      </a:cubicBezTo>
                      <a:cubicBezTo>
                        <a:pt x="12" y="39"/>
                        <a:pt x="17" y="36"/>
                        <a:pt x="20" y="34"/>
                      </a:cubicBezTo>
                      <a:cubicBezTo>
                        <a:pt x="26" y="29"/>
                        <a:pt x="29" y="25"/>
                        <a:pt x="30" y="19"/>
                      </a:cubicBezTo>
                      <a:cubicBezTo>
                        <a:pt x="30" y="17"/>
                        <a:pt x="30" y="16"/>
                        <a:pt x="31" y="14"/>
                      </a:cubicBezTo>
                      <a:cubicBezTo>
                        <a:pt x="31" y="13"/>
                        <a:pt x="32" y="12"/>
                        <a:pt x="32" y="11"/>
                      </a:cubicBezTo>
                      <a:cubicBezTo>
                        <a:pt x="35" y="7"/>
                        <a:pt x="37" y="4"/>
                        <a:pt x="40" y="0"/>
                      </a:cubicBezTo>
                      <a:cubicBezTo>
                        <a:pt x="40" y="1"/>
                        <a:pt x="41" y="2"/>
                        <a:pt x="41" y="3"/>
                      </a:cubicBezTo>
                      <a:cubicBezTo>
                        <a:pt x="41" y="10"/>
                        <a:pt x="37" y="14"/>
                        <a:pt x="34" y="20"/>
                      </a:cubicBezTo>
                      <a:close/>
                    </a:path>
                  </a:pathLst>
                </a:custGeom>
                <a:solidFill>
                  <a:srgbClr val="EE77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39" name="Freeform 115">
                  <a:extLst>
                    <a:ext uri="{FF2B5EF4-FFF2-40B4-BE49-F238E27FC236}">
                      <a16:creationId xmlns:a16="http://schemas.microsoft.com/office/drawing/2014/main" id="{D93B050A-3FC8-4514-B9EE-0D03F232BA15}"/>
                    </a:ext>
                  </a:extLst>
                </p:cNvPr>
                <p:cNvSpPr>
                  <a:spLocks/>
                </p:cNvSpPr>
                <p:nvPr/>
              </p:nvSpPr>
              <p:spPr bwMode="auto">
                <a:xfrm>
                  <a:off x="10370795" y="3325792"/>
                  <a:ext cx="561549" cy="256308"/>
                </a:xfrm>
                <a:custGeom>
                  <a:avLst/>
                  <a:gdLst>
                    <a:gd name="T0" fmla="*/ 58 w 95"/>
                    <a:gd name="T1" fmla="*/ 40 h 43"/>
                    <a:gd name="T2" fmla="*/ 2 w 95"/>
                    <a:gd name="T3" fmla="*/ 29 h 43"/>
                    <a:gd name="T4" fmla="*/ 5 w 95"/>
                    <a:gd name="T5" fmla="*/ 6 h 43"/>
                    <a:gd name="T6" fmla="*/ 46 w 95"/>
                    <a:gd name="T7" fmla="*/ 3 h 43"/>
                    <a:gd name="T8" fmla="*/ 77 w 95"/>
                    <a:gd name="T9" fmla="*/ 3 h 43"/>
                    <a:gd name="T10" fmla="*/ 91 w 95"/>
                    <a:gd name="T11" fmla="*/ 17 h 43"/>
                    <a:gd name="T12" fmla="*/ 95 w 95"/>
                    <a:gd name="T13" fmla="*/ 27 h 43"/>
                    <a:gd name="T14" fmla="*/ 84 w 95"/>
                    <a:gd name="T15" fmla="*/ 41 h 43"/>
                    <a:gd name="T16" fmla="*/ 58 w 95"/>
                    <a:gd name="T17" fmla="*/ 4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43">
                      <a:moveTo>
                        <a:pt x="58" y="40"/>
                      </a:moveTo>
                      <a:cubicBezTo>
                        <a:pt x="39" y="37"/>
                        <a:pt x="21" y="33"/>
                        <a:pt x="2" y="29"/>
                      </a:cubicBezTo>
                      <a:cubicBezTo>
                        <a:pt x="1" y="20"/>
                        <a:pt x="0" y="13"/>
                        <a:pt x="5" y="6"/>
                      </a:cubicBezTo>
                      <a:cubicBezTo>
                        <a:pt x="19" y="6"/>
                        <a:pt x="32" y="3"/>
                        <a:pt x="46" y="3"/>
                      </a:cubicBezTo>
                      <a:cubicBezTo>
                        <a:pt x="57" y="1"/>
                        <a:pt x="67" y="0"/>
                        <a:pt x="77" y="3"/>
                      </a:cubicBezTo>
                      <a:cubicBezTo>
                        <a:pt x="85" y="5"/>
                        <a:pt x="88" y="11"/>
                        <a:pt x="91" y="17"/>
                      </a:cubicBezTo>
                      <a:cubicBezTo>
                        <a:pt x="93" y="20"/>
                        <a:pt x="93" y="24"/>
                        <a:pt x="95" y="27"/>
                      </a:cubicBezTo>
                      <a:cubicBezTo>
                        <a:pt x="93" y="33"/>
                        <a:pt x="92" y="39"/>
                        <a:pt x="84" y="41"/>
                      </a:cubicBezTo>
                      <a:cubicBezTo>
                        <a:pt x="75" y="43"/>
                        <a:pt x="67" y="42"/>
                        <a:pt x="58" y="40"/>
                      </a:cubicBezTo>
                      <a:close/>
                    </a:path>
                  </a:pathLst>
                </a:custGeom>
                <a:solidFill>
                  <a:srgbClr val="F5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40" name="Freeform 116">
                  <a:extLst>
                    <a:ext uri="{FF2B5EF4-FFF2-40B4-BE49-F238E27FC236}">
                      <a16:creationId xmlns:a16="http://schemas.microsoft.com/office/drawing/2014/main" id="{C2106842-F2A9-4D9E-9FE3-B1C2DC1E74DC}"/>
                    </a:ext>
                  </a:extLst>
                </p:cNvPr>
                <p:cNvSpPr>
                  <a:spLocks/>
                </p:cNvSpPr>
                <p:nvPr/>
              </p:nvSpPr>
              <p:spPr bwMode="auto">
                <a:xfrm>
                  <a:off x="10587493" y="3067153"/>
                  <a:ext cx="368152" cy="419413"/>
                </a:xfrm>
                <a:custGeom>
                  <a:avLst/>
                  <a:gdLst>
                    <a:gd name="T0" fmla="*/ 61 w 62"/>
                    <a:gd name="T1" fmla="*/ 52 h 71"/>
                    <a:gd name="T2" fmla="*/ 58 w 62"/>
                    <a:gd name="T3" fmla="*/ 71 h 71"/>
                    <a:gd name="T4" fmla="*/ 58 w 62"/>
                    <a:gd name="T5" fmla="*/ 71 h 71"/>
                    <a:gd name="T6" fmla="*/ 49 w 62"/>
                    <a:gd name="T7" fmla="*/ 57 h 71"/>
                    <a:gd name="T8" fmla="*/ 31 w 62"/>
                    <a:gd name="T9" fmla="*/ 47 h 71"/>
                    <a:gd name="T10" fmla="*/ 12 w 62"/>
                    <a:gd name="T11" fmla="*/ 47 h 71"/>
                    <a:gd name="T12" fmla="*/ 9 w 62"/>
                    <a:gd name="T13" fmla="*/ 47 h 71"/>
                    <a:gd name="T14" fmla="*/ 9 w 62"/>
                    <a:gd name="T15" fmla="*/ 47 h 71"/>
                    <a:gd name="T16" fmla="*/ 3 w 62"/>
                    <a:gd name="T17" fmla="*/ 14 h 71"/>
                    <a:gd name="T18" fmla="*/ 2 w 62"/>
                    <a:gd name="T19" fmla="*/ 13 h 71"/>
                    <a:gd name="T20" fmla="*/ 2 w 62"/>
                    <a:gd name="T21" fmla="*/ 11 h 71"/>
                    <a:gd name="T22" fmla="*/ 2 w 62"/>
                    <a:gd name="T23" fmla="*/ 10 h 71"/>
                    <a:gd name="T24" fmla="*/ 2 w 62"/>
                    <a:gd name="T25" fmla="*/ 4 h 71"/>
                    <a:gd name="T26" fmla="*/ 4 w 62"/>
                    <a:gd name="T27" fmla="*/ 3 h 71"/>
                    <a:gd name="T28" fmla="*/ 11 w 62"/>
                    <a:gd name="T29" fmla="*/ 3 h 71"/>
                    <a:gd name="T30" fmla="*/ 47 w 62"/>
                    <a:gd name="T31" fmla="*/ 0 h 71"/>
                    <a:gd name="T32" fmla="*/ 53 w 62"/>
                    <a:gd name="T33" fmla="*/ 0 h 71"/>
                    <a:gd name="T34" fmla="*/ 54 w 62"/>
                    <a:gd name="T35" fmla="*/ 0 h 71"/>
                    <a:gd name="T36" fmla="*/ 54 w 62"/>
                    <a:gd name="T37" fmla="*/ 0 h 71"/>
                    <a:gd name="T38" fmla="*/ 57 w 62"/>
                    <a:gd name="T39" fmla="*/ 11 h 71"/>
                    <a:gd name="T40" fmla="*/ 61 w 62"/>
                    <a:gd name="T41" fmla="*/ 5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71">
                      <a:moveTo>
                        <a:pt x="61" y="52"/>
                      </a:moveTo>
                      <a:cubicBezTo>
                        <a:pt x="61" y="59"/>
                        <a:pt x="59" y="65"/>
                        <a:pt x="58" y="71"/>
                      </a:cubicBezTo>
                      <a:cubicBezTo>
                        <a:pt x="58" y="71"/>
                        <a:pt x="58" y="71"/>
                        <a:pt x="58" y="71"/>
                      </a:cubicBezTo>
                      <a:cubicBezTo>
                        <a:pt x="53" y="67"/>
                        <a:pt x="52" y="61"/>
                        <a:pt x="49" y="57"/>
                      </a:cubicBezTo>
                      <a:cubicBezTo>
                        <a:pt x="45" y="50"/>
                        <a:pt x="40" y="47"/>
                        <a:pt x="31" y="47"/>
                      </a:cubicBezTo>
                      <a:cubicBezTo>
                        <a:pt x="25" y="47"/>
                        <a:pt x="18" y="47"/>
                        <a:pt x="12" y="47"/>
                      </a:cubicBezTo>
                      <a:cubicBezTo>
                        <a:pt x="11" y="47"/>
                        <a:pt x="10" y="47"/>
                        <a:pt x="9" y="47"/>
                      </a:cubicBezTo>
                      <a:cubicBezTo>
                        <a:pt x="9" y="47"/>
                        <a:pt x="9" y="47"/>
                        <a:pt x="9" y="47"/>
                      </a:cubicBezTo>
                      <a:cubicBezTo>
                        <a:pt x="7" y="36"/>
                        <a:pt x="5" y="25"/>
                        <a:pt x="3" y="14"/>
                      </a:cubicBezTo>
                      <a:cubicBezTo>
                        <a:pt x="2" y="14"/>
                        <a:pt x="2" y="14"/>
                        <a:pt x="2" y="13"/>
                      </a:cubicBezTo>
                      <a:cubicBezTo>
                        <a:pt x="2" y="13"/>
                        <a:pt x="2" y="12"/>
                        <a:pt x="2" y="11"/>
                      </a:cubicBezTo>
                      <a:cubicBezTo>
                        <a:pt x="2" y="10"/>
                        <a:pt x="2" y="10"/>
                        <a:pt x="2" y="10"/>
                      </a:cubicBezTo>
                      <a:cubicBezTo>
                        <a:pt x="1" y="8"/>
                        <a:pt x="0" y="6"/>
                        <a:pt x="2" y="4"/>
                      </a:cubicBezTo>
                      <a:cubicBezTo>
                        <a:pt x="2" y="4"/>
                        <a:pt x="3" y="3"/>
                        <a:pt x="4" y="3"/>
                      </a:cubicBezTo>
                      <a:cubicBezTo>
                        <a:pt x="6" y="2"/>
                        <a:pt x="8" y="3"/>
                        <a:pt x="11" y="3"/>
                      </a:cubicBezTo>
                      <a:cubicBezTo>
                        <a:pt x="22" y="3"/>
                        <a:pt x="35" y="1"/>
                        <a:pt x="47" y="0"/>
                      </a:cubicBezTo>
                      <a:cubicBezTo>
                        <a:pt x="49" y="0"/>
                        <a:pt x="51" y="0"/>
                        <a:pt x="53" y="0"/>
                      </a:cubicBezTo>
                      <a:cubicBezTo>
                        <a:pt x="53" y="0"/>
                        <a:pt x="54" y="0"/>
                        <a:pt x="54" y="0"/>
                      </a:cubicBezTo>
                      <a:cubicBezTo>
                        <a:pt x="54" y="0"/>
                        <a:pt x="54" y="0"/>
                        <a:pt x="54" y="0"/>
                      </a:cubicBezTo>
                      <a:cubicBezTo>
                        <a:pt x="55" y="0"/>
                        <a:pt x="56" y="4"/>
                        <a:pt x="57" y="11"/>
                      </a:cubicBezTo>
                      <a:cubicBezTo>
                        <a:pt x="59" y="22"/>
                        <a:pt x="62" y="41"/>
                        <a:pt x="61" y="52"/>
                      </a:cubicBezTo>
                      <a:close/>
                    </a:path>
                  </a:pathLst>
                </a:custGeom>
                <a:solidFill>
                  <a:srgbClr val="F5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41" name="Freeform 117">
                  <a:extLst>
                    <a:ext uri="{FF2B5EF4-FFF2-40B4-BE49-F238E27FC236}">
                      <a16:creationId xmlns:a16="http://schemas.microsoft.com/office/drawing/2014/main" id="{BB2C467B-A8E4-4E17-83F2-1385369BDC4B}"/>
                    </a:ext>
                  </a:extLst>
                </p:cNvPr>
                <p:cNvSpPr>
                  <a:spLocks/>
                </p:cNvSpPr>
                <p:nvPr/>
              </p:nvSpPr>
              <p:spPr bwMode="auto">
                <a:xfrm>
                  <a:off x="9848857" y="2848125"/>
                  <a:ext cx="60582" cy="246987"/>
                </a:xfrm>
                <a:custGeom>
                  <a:avLst/>
                  <a:gdLst>
                    <a:gd name="T0" fmla="*/ 6 w 10"/>
                    <a:gd name="T1" fmla="*/ 37 h 42"/>
                    <a:gd name="T2" fmla="*/ 1 w 10"/>
                    <a:gd name="T3" fmla="*/ 41 h 42"/>
                    <a:gd name="T4" fmla="*/ 3 w 10"/>
                    <a:gd name="T5" fmla="*/ 16 h 42"/>
                    <a:gd name="T6" fmla="*/ 4 w 10"/>
                    <a:gd name="T7" fmla="*/ 4 h 42"/>
                    <a:gd name="T8" fmla="*/ 7 w 10"/>
                    <a:gd name="T9" fmla="*/ 0 h 42"/>
                    <a:gd name="T10" fmla="*/ 10 w 10"/>
                    <a:gd name="T11" fmla="*/ 4 h 42"/>
                    <a:gd name="T12" fmla="*/ 8 w 10"/>
                    <a:gd name="T13" fmla="*/ 18 h 42"/>
                    <a:gd name="T14" fmla="*/ 6 w 10"/>
                    <a:gd name="T15" fmla="*/ 37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2">
                      <a:moveTo>
                        <a:pt x="6" y="37"/>
                      </a:moveTo>
                      <a:cubicBezTo>
                        <a:pt x="5" y="40"/>
                        <a:pt x="5" y="42"/>
                        <a:pt x="1" y="41"/>
                      </a:cubicBezTo>
                      <a:cubicBezTo>
                        <a:pt x="0" y="33"/>
                        <a:pt x="2" y="25"/>
                        <a:pt x="3" y="16"/>
                      </a:cubicBezTo>
                      <a:cubicBezTo>
                        <a:pt x="3" y="12"/>
                        <a:pt x="3" y="8"/>
                        <a:pt x="4" y="4"/>
                      </a:cubicBezTo>
                      <a:cubicBezTo>
                        <a:pt x="4" y="1"/>
                        <a:pt x="5" y="0"/>
                        <a:pt x="7" y="0"/>
                      </a:cubicBezTo>
                      <a:cubicBezTo>
                        <a:pt x="10" y="0"/>
                        <a:pt x="10" y="2"/>
                        <a:pt x="10" y="4"/>
                      </a:cubicBezTo>
                      <a:cubicBezTo>
                        <a:pt x="9" y="9"/>
                        <a:pt x="9" y="13"/>
                        <a:pt x="8" y="18"/>
                      </a:cubicBezTo>
                      <a:cubicBezTo>
                        <a:pt x="7" y="24"/>
                        <a:pt x="6" y="31"/>
                        <a:pt x="6" y="37"/>
                      </a:cubicBezTo>
                      <a:close/>
                    </a:path>
                  </a:pathLst>
                </a:custGeom>
                <a:solidFill>
                  <a:srgbClr val="81D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sp>
              <p:nvSpPr>
                <p:cNvPr id="142" name="Freeform 118">
                  <a:extLst>
                    <a:ext uri="{FF2B5EF4-FFF2-40B4-BE49-F238E27FC236}">
                      <a16:creationId xmlns:a16="http://schemas.microsoft.com/office/drawing/2014/main" id="{B09125D1-C2BD-40E0-948C-1D548C77B4F4}"/>
                    </a:ext>
                  </a:extLst>
                </p:cNvPr>
                <p:cNvSpPr>
                  <a:spLocks/>
                </p:cNvSpPr>
                <p:nvPr/>
              </p:nvSpPr>
              <p:spPr bwMode="auto">
                <a:xfrm>
                  <a:off x="9974682" y="3309479"/>
                  <a:ext cx="424074" cy="207378"/>
                </a:xfrm>
                <a:custGeom>
                  <a:avLst/>
                  <a:gdLst>
                    <a:gd name="T0" fmla="*/ 72 w 72"/>
                    <a:gd name="T1" fmla="*/ 9 h 35"/>
                    <a:gd name="T2" fmla="*/ 6 w 72"/>
                    <a:gd name="T3" fmla="*/ 18 h 35"/>
                    <a:gd name="T4" fmla="*/ 69 w 72"/>
                    <a:gd name="T5" fmla="*/ 32 h 35"/>
                    <a:gd name="T6" fmla="*/ 72 w 72"/>
                    <a:gd name="T7" fmla="*/ 9 h 35"/>
                  </a:gdLst>
                  <a:ahLst/>
                  <a:cxnLst>
                    <a:cxn ang="0">
                      <a:pos x="T0" y="T1"/>
                    </a:cxn>
                    <a:cxn ang="0">
                      <a:pos x="T2" y="T3"/>
                    </a:cxn>
                    <a:cxn ang="0">
                      <a:pos x="T4" y="T5"/>
                    </a:cxn>
                    <a:cxn ang="0">
                      <a:pos x="T6" y="T7"/>
                    </a:cxn>
                  </a:cxnLst>
                  <a:rect l="0" t="0" r="r" b="b"/>
                  <a:pathLst>
                    <a:path w="72" h="35">
                      <a:moveTo>
                        <a:pt x="72" y="9"/>
                      </a:moveTo>
                      <a:cubicBezTo>
                        <a:pt x="72" y="9"/>
                        <a:pt x="0" y="0"/>
                        <a:pt x="6" y="18"/>
                      </a:cubicBezTo>
                      <a:cubicBezTo>
                        <a:pt x="13" y="35"/>
                        <a:pt x="69" y="32"/>
                        <a:pt x="69" y="32"/>
                      </a:cubicBezTo>
                      <a:lnTo>
                        <a:pt x="72" y="9"/>
                      </a:lnTo>
                      <a:close/>
                    </a:path>
                  </a:pathLst>
                </a:custGeom>
                <a:solidFill>
                  <a:srgbClr val="F5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dirty="0"/>
                </a:p>
              </p:txBody>
            </p:sp>
            <p:sp>
              <p:nvSpPr>
                <p:cNvPr id="143" name="Freeform 119">
                  <a:extLst>
                    <a:ext uri="{FF2B5EF4-FFF2-40B4-BE49-F238E27FC236}">
                      <a16:creationId xmlns:a16="http://schemas.microsoft.com/office/drawing/2014/main" id="{C0965F05-9C45-431F-BB5D-80A12F1285F5}"/>
                    </a:ext>
                  </a:extLst>
                </p:cNvPr>
                <p:cNvSpPr>
                  <a:spLocks/>
                </p:cNvSpPr>
                <p:nvPr/>
              </p:nvSpPr>
              <p:spPr bwMode="auto">
                <a:xfrm>
                  <a:off x="9671772" y="3197636"/>
                  <a:ext cx="384463" cy="219028"/>
                </a:xfrm>
                <a:custGeom>
                  <a:avLst/>
                  <a:gdLst>
                    <a:gd name="T0" fmla="*/ 6 w 65"/>
                    <a:gd name="T1" fmla="*/ 37 h 37"/>
                    <a:gd name="T2" fmla="*/ 65 w 65"/>
                    <a:gd name="T3" fmla="*/ 21 h 37"/>
                    <a:gd name="T4" fmla="*/ 64 w 65"/>
                    <a:gd name="T5" fmla="*/ 18 h 37"/>
                    <a:gd name="T6" fmla="*/ 20 w 65"/>
                    <a:gd name="T7" fmla="*/ 5 h 37"/>
                    <a:gd name="T8" fmla="*/ 2 w 65"/>
                    <a:gd name="T9" fmla="*/ 18 h 37"/>
                    <a:gd name="T10" fmla="*/ 6 w 65"/>
                    <a:gd name="T11" fmla="*/ 37 h 37"/>
                  </a:gdLst>
                  <a:ahLst/>
                  <a:cxnLst>
                    <a:cxn ang="0">
                      <a:pos x="T0" y="T1"/>
                    </a:cxn>
                    <a:cxn ang="0">
                      <a:pos x="T2" y="T3"/>
                    </a:cxn>
                    <a:cxn ang="0">
                      <a:pos x="T4" y="T5"/>
                    </a:cxn>
                    <a:cxn ang="0">
                      <a:pos x="T6" y="T7"/>
                    </a:cxn>
                    <a:cxn ang="0">
                      <a:pos x="T8" y="T9"/>
                    </a:cxn>
                    <a:cxn ang="0">
                      <a:pos x="T10" y="T11"/>
                    </a:cxn>
                  </a:cxnLst>
                  <a:rect l="0" t="0" r="r" b="b"/>
                  <a:pathLst>
                    <a:path w="65" h="37">
                      <a:moveTo>
                        <a:pt x="6" y="37"/>
                      </a:moveTo>
                      <a:cubicBezTo>
                        <a:pt x="6" y="37"/>
                        <a:pt x="63" y="34"/>
                        <a:pt x="65" y="21"/>
                      </a:cubicBezTo>
                      <a:cubicBezTo>
                        <a:pt x="65" y="20"/>
                        <a:pt x="64" y="19"/>
                        <a:pt x="64" y="18"/>
                      </a:cubicBezTo>
                      <a:cubicBezTo>
                        <a:pt x="59" y="6"/>
                        <a:pt x="37" y="0"/>
                        <a:pt x="20" y="5"/>
                      </a:cubicBezTo>
                      <a:cubicBezTo>
                        <a:pt x="15" y="7"/>
                        <a:pt x="5" y="10"/>
                        <a:pt x="2" y="18"/>
                      </a:cubicBezTo>
                      <a:cubicBezTo>
                        <a:pt x="0" y="27"/>
                        <a:pt x="5" y="35"/>
                        <a:pt x="6" y="37"/>
                      </a:cubicBezTo>
                      <a:close/>
                    </a:path>
                  </a:pathLst>
                </a:custGeom>
                <a:solidFill>
                  <a:srgbClr val="F592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US"/>
                </a:p>
              </p:txBody>
            </p:sp>
          </p:grpSp>
        </p:grpSp>
      </p:grpSp>
      <p:sp>
        <p:nvSpPr>
          <p:cNvPr id="74" name="Rectangle 49">
            <a:extLst>
              <a:ext uri="{FF2B5EF4-FFF2-40B4-BE49-F238E27FC236}">
                <a16:creationId xmlns:a16="http://schemas.microsoft.com/office/drawing/2014/main" id="{36089A34-2940-476B-96E1-BF3B9629BA20}"/>
              </a:ext>
            </a:extLst>
          </p:cNvPr>
          <p:cNvSpPr/>
          <p:nvPr/>
        </p:nvSpPr>
        <p:spPr>
          <a:xfrm rot="5400000" flipH="1" flipV="1">
            <a:off x="-1273173" y="1790671"/>
            <a:ext cx="5680943" cy="4453716"/>
          </a:xfrm>
          <a:custGeom>
            <a:avLst/>
            <a:gdLst>
              <a:gd name="connsiteX0" fmla="*/ 0 w 1662602"/>
              <a:gd name="connsiteY0" fmla="*/ 0 h 1875555"/>
              <a:gd name="connsiteX1" fmla="*/ 1662602 w 1662602"/>
              <a:gd name="connsiteY1" fmla="*/ 0 h 1875555"/>
              <a:gd name="connsiteX2" fmla="*/ 1662602 w 1662602"/>
              <a:gd name="connsiteY2" fmla="*/ 1875555 h 1875555"/>
              <a:gd name="connsiteX3" fmla="*/ 0 w 1662602"/>
              <a:gd name="connsiteY3" fmla="*/ 1875555 h 1875555"/>
              <a:gd name="connsiteX4" fmla="*/ 0 w 1662602"/>
              <a:gd name="connsiteY4" fmla="*/ 0 h 1875555"/>
              <a:gd name="connsiteX0" fmla="*/ 138549 w 1662602"/>
              <a:gd name="connsiteY0" fmla="*/ 83131 h 1875555"/>
              <a:gd name="connsiteX1" fmla="*/ 1662602 w 1662602"/>
              <a:gd name="connsiteY1" fmla="*/ 0 h 1875555"/>
              <a:gd name="connsiteX2" fmla="*/ 1662602 w 1662602"/>
              <a:gd name="connsiteY2" fmla="*/ 1875555 h 1875555"/>
              <a:gd name="connsiteX3" fmla="*/ 0 w 1662602"/>
              <a:gd name="connsiteY3" fmla="*/ 1875555 h 1875555"/>
              <a:gd name="connsiteX4" fmla="*/ 138549 w 1662602"/>
              <a:gd name="connsiteY4" fmla="*/ 83131 h 1875555"/>
              <a:gd name="connsiteX0" fmla="*/ 27710 w 1551763"/>
              <a:gd name="connsiteY0" fmla="*/ 83131 h 1930977"/>
              <a:gd name="connsiteX1" fmla="*/ 1551763 w 1551763"/>
              <a:gd name="connsiteY1" fmla="*/ 0 h 1930977"/>
              <a:gd name="connsiteX2" fmla="*/ 1551763 w 1551763"/>
              <a:gd name="connsiteY2" fmla="*/ 1875555 h 1930977"/>
              <a:gd name="connsiteX3" fmla="*/ 0 w 1551763"/>
              <a:gd name="connsiteY3" fmla="*/ 1930977 h 1930977"/>
              <a:gd name="connsiteX4" fmla="*/ 27710 w 1551763"/>
              <a:gd name="connsiteY4" fmla="*/ 83131 h 1930977"/>
              <a:gd name="connsiteX0" fmla="*/ 27710 w 1560999"/>
              <a:gd name="connsiteY0" fmla="*/ 83131 h 2161883"/>
              <a:gd name="connsiteX1" fmla="*/ 1551763 w 1560999"/>
              <a:gd name="connsiteY1" fmla="*/ 0 h 2161883"/>
              <a:gd name="connsiteX2" fmla="*/ 1560999 w 1560999"/>
              <a:gd name="connsiteY2" fmla="*/ 2161883 h 2161883"/>
              <a:gd name="connsiteX3" fmla="*/ 0 w 1560999"/>
              <a:gd name="connsiteY3" fmla="*/ 1930977 h 2161883"/>
              <a:gd name="connsiteX4" fmla="*/ 27710 w 1560999"/>
              <a:gd name="connsiteY4" fmla="*/ 83131 h 2161883"/>
              <a:gd name="connsiteX0" fmla="*/ 27710 w 1579738"/>
              <a:gd name="connsiteY0" fmla="*/ 295567 h 2374319"/>
              <a:gd name="connsiteX1" fmla="*/ 1579472 w 1579738"/>
              <a:gd name="connsiteY1" fmla="*/ 0 h 2374319"/>
              <a:gd name="connsiteX2" fmla="*/ 1560999 w 1579738"/>
              <a:gd name="connsiteY2" fmla="*/ 2374319 h 2374319"/>
              <a:gd name="connsiteX3" fmla="*/ 0 w 1579738"/>
              <a:gd name="connsiteY3" fmla="*/ 2143413 h 2374319"/>
              <a:gd name="connsiteX4" fmla="*/ 27710 w 1579738"/>
              <a:gd name="connsiteY4" fmla="*/ 295567 h 2374319"/>
              <a:gd name="connsiteX0" fmla="*/ 40457 w 1579738"/>
              <a:gd name="connsiteY0" fmla="*/ 539666 h 2374319"/>
              <a:gd name="connsiteX1" fmla="*/ 1579472 w 1579738"/>
              <a:gd name="connsiteY1" fmla="*/ 0 h 2374319"/>
              <a:gd name="connsiteX2" fmla="*/ 1560999 w 1579738"/>
              <a:gd name="connsiteY2" fmla="*/ 2374319 h 2374319"/>
              <a:gd name="connsiteX3" fmla="*/ 0 w 1579738"/>
              <a:gd name="connsiteY3" fmla="*/ 2143413 h 2374319"/>
              <a:gd name="connsiteX4" fmla="*/ 40457 w 1579738"/>
              <a:gd name="connsiteY4" fmla="*/ 539666 h 2374319"/>
              <a:gd name="connsiteX0" fmla="*/ 27711 w 1566992"/>
              <a:gd name="connsiteY0" fmla="*/ 539666 h 2374319"/>
              <a:gd name="connsiteX1" fmla="*/ 1566726 w 1566992"/>
              <a:gd name="connsiteY1" fmla="*/ 0 h 2374319"/>
              <a:gd name="connsiteX2" fmla="*/ 1548253 w 1566992"/>
              <a:gd name="connsiteY2" fmla="*/ 2374319 h 2374319"/>
              <a:gd name="connsiteX3" fmla="*/ 0 w 1566992"/>
              <a:gd name="connsiteY3" fmla="*/ 1841878 h 2374319"/>
              <a:gd name="connsiteX4" fmla="*/ 27711 w 1566992"/>
              <a:gd name="connsiteY4" fmla="*/ 539666 h 2374319"/>
              <a:gd name="connsiteX0" fmla="*/ 0 w 1729026"/>
              <a:gd name="connsiteY0" fmla="*/ 905436 h 2374319"/>
              <a:gd name="connsiteX1" fmla="*/ 1728760 w 1729026"/>
              <a:gd name="connsiteY1" fmla="*/ 0 h 2374319"/>
              <a:gd name="connsiteX2" fmla="*/ 1710287 w 1729026"/>
              <a:gd name="connsiteY2" fmla="*/ 2374319 h 2374319"/>
              <a:gd name="connsiteX3" fmla="*/ 162034 w 1729026"/>
              <a:gd name="connsiteY3" fmla="*/ 1841878 h 2374319"/>
              <a:gd name="connsiteX4" fmla="*/ 0 w 1729026"/>
              <a:gd name="connsiteY4" fmla="*/ 905436 h 2374319"/>
              <a:gd name="connsiteX0" fmla="*/ 12409 w 1741435"/>
              <a:gd name="connsiteY0" fmla="*/ 905436 h 2374319"/>
              <a:gd name="connsiteX1" fmla="*/ 1741169 w 1741435"/>
              <a:gd name="connsiteY1" fmla="*/ 0 h 2374319"/>
              <a:gd name="connsiteX2" fmla="*/ 1722696 w 1741435"/>
              <a:gd name="connsiteY2" fmla="*/ 2374319 h 2374319"/>
              <a:gd name="connsiteX3" fmla="*/ 0 w 1741435"/>
              <a:gd name="connsiteY3" fmla="*/ 1483212 h 2374319"/>
              <a:gd name="connsiteX4" fmla="*/ 12409 w 1741435"/>
              <a:gd name="connsiteY4" fmla="*/ 905436 h 2374319"/>
              <a:gd name="connsiteX0" fmla="*/ 12409 w 1752832"/>
              <a:gd name="connsiteY0" fmla="*/ 1122944 h 2591827"/>
              <a:gd name="connsiteX1" fmla="*/ 1752646 w 1752832"/>
              <a:gd name="connsiteY1" fmla="*/ 0 h 2591827"/>
              <a:gd name="connsiteX2" fmla="*/ 1722696 w 1752832"/>
              <a:gd name="connsiteY2" fmla="*/ 2591827 h 2591827"/>
              <a:gd name="connsiteX3" fmla="*/ 0 w 1752832"/>
              <a:gd name="connsiteY3" fmla="*/ 1700720 h 2591827"/>
              <a:gd name="connsiteX4" fmla="*/ 12409 w 1752832"/>
              <a:gd name="connsiteY4" fmla="*/ 1122944 h 2591827"/>
              <a:gd name="connsiteX0" fmla="*/ 12409 w 1722696"/>
              <a:gd name="connsiteY0" fmla="*/ 1313819 h 2782702"/>
              <a:gd name="connsiteX1" fmla="*/ 1691438 w 1722696"/>
              <a:gd name="connsiteY1" fmla="*/ 0 h 2782702"/>
              <a:gd name="connsiteX2" fmla="*/ 1722696 w 1722696"/>
              <a:gd name="connsiteY2" fmla="*/ 2782702 h 2782702"/>
              <a:gd name="connsiteX3" fmla="*/ 0 w 1722696"/>
              <a:gd name="connsiteY3" fmla="*/ 1891595 h 2782702"/>
              <a:gd name="connsiteX4" fmla="*/ 12409 w 1722696"/>
              <a:gd name="connsiteY4" fmla="*/ 1313819 h 2782702"/>
              <a:gd name="connsiteX0" fmla="*/ 12409 w 1715045"/>
              <a:gd name="connsiteY0" fmla="*/ 1313819 h 3377521"/>
              <a:gd name="connsiteX1" fmla="*/ 1691438 w 1715045"/>
              <a:gd name="connsiteY1" fmla="*/ 0 h 3377521"/>
              <a:gd name="connsiteX2" fmla="*/ 1715045 w 1715045"/>
              <a:gd name="connsiteY2" fmla="*/ 3377521 h 3377521"/>
              <a:gd name="connsiteX3" fmla="*/ 0 w 1715045"/>
              <a:gd name="connsiteY3" fmla="*/ 1891595 h 3377521"/>
              <a:gd name="connsiteX4" fmla="*/ 12409 w 1715045"/>
              <a:gd name="connsiteY4" fmla="*/ 1313819 h 3377521"/>
              <a:gd name="connsiteX0" fmla="*/ 12409 w 1715045"/>
              <a:gd name="connsiteY0" fmla="*/ 1313819 h 3377521"/>
              <a:gd name="connsiteX1" fmla="*/ 1691438 w 1715045"/>
              <a:gd name="connsiteY1" fmla="*/ 0 h 3377521"/>
              <a:gd name="connsiteX2" fmla="*/ 1715045 w 1715045"/>
              <a:gd name="connsiteY2" fmla="*/ 3377521 h 3377521"/>
              <a:gd name="connsiteX3" fmla="*/ 0 w 1715045"/>
              <a:gd name="connsiteY3" fmla="*/ 1891595 h 3377521"/>
              <a:gd name="connsiteX4" fmla="*/ 12409 w 1715045"/>
              <a:gd name="connsiteY4" fmla="*/ 1313819 h 3377521"/>
              <a:gd name="connsiteX0" fmla="*/ 12409 w 1715045"/>
              <a:gd name="connsiteY0" fmla="*/ 1313819 h 3377521"/>
              <a:gd name="connsiteX1" fmla="*/ 1691438 w 1715045"/>
              <a:gd name="connsiteY1" fmla="*/ 0 h 3377521"/>
              <a:gd name="connsiteX2" fmla="*/ 1715045 w 1715045"/>
              <a:gd name="connsiteY2" fmla="*/ 3377521 h 3377521"/>
              <a:gd name="connsiteX3" fmla="*/ 0 w 1715045"/>
              <a:gd name="connsiteY3" fmla="*/ 1891595 h 3377521"/>
              <a:gd name="connsiteX4" fmla="*/ 12409 w 1715045"/>
              <a:gd name="connsiteY4" fmla="*/ 1313819 h 3377521"/>
              <a:gd name="connsiteX0" fmla="*/ 12409 w 1711219"/>
              <a:gd name="connsiteY0" fmla="*/ 1313819 h 3217719"/>
              <a:gd name="connsiteX1" fmla="*/ 1691438 w 1711219"/>
              <a:gd name="connsiteY1" fmla="*/ 0 h 3217719"/>
              <a:gd name="connsiteX2" fmla="*/ 1711219 w 1711219"/>
              <a:gd name="connsiteY2" fmla="*/ 3217719 h 3217719"/>
              <a:gd name="connsiteX3" fmla="*/ 0 w 1711219"/>
              <a:gd name="connsiteY3" fmla="*/ 1891595 h 3217719"/>
              <a:gd name="connsiteX4" fmla="*/ 12409 w 1711219"/>
              <a:gd name="connsiteY4" fmla="*/ 1313819 h 3217719"/>
              <a:gd name="connsiteX0" fmla="*/ 12409 w 1711219"/>
              <a:gd name="connsiteY0" fmla="*/ 1287185 h 3191085"/>
              <a:gd name="connsiteX1" fmla="*/ 1691438 w 1711219"/>
              <a:gd name="connsiteY1" fmla="*/ 0 h 3191085"/>
              <a:gd name="connsiteX2" fmla="*/ 1711219 w 1711219"/>
              <a:gd name="connsiteY2" fmla="*/ 3191085 h 3191085"/>
              <a:gd name="connsiteX3" fmla="*/ 0 w 1711219"/>
              <a:gd name="connsiteY3" fmla="*/ 1864961 h 3191085"/>
              <a:gd name="connsiteX4" fmla="*/ 12409 w 1711219"/>
              <a:gd name="connsiteY4" fmla="*/ 1287185 h 3191085"/>
              <a:gd name="connsiteX0" fmla="*/ 12409 w 1711219"/>
              <a:gd name="connsiteY0" fmla="*/ 1247235 h 3151135"/>
              <a:gd name="connsiteX1" fmla="*/ 1683788 w 1711219"/>
              <a:gd name="connsiteY1" fmla="*/ 0 h 3151135"/>
              <a:gd name="connsiteX2" fmla="*/ 1711219 w 1711219"/>
              <a:gd name="connsiteY2" fmla="*/ 3151135 h 3151135"/>
              <a:gd name="connsiteX3" fmla="*/ 0 w 1711219"/>
              <a:gd name="connsiteY3" fmla="*/ 1825011 h 3151135"/>
              <a:gd name="connsiteX4" fmla="*/ 12409 w 1711219"/>
              <a:gd name="connsiteY4" fmla="*/ 1247235 h 3151135"/>
              <a:gd name="connsiteX0" fmla="*/ 16235 w 1711219"/>
              <a:gd name="connsiteY0" fmla="*/ 1264991 h 3151135"/>
              <a:gd name="connsiteX1" fmla="*/ 1683788 w 1711219"/>
              <a:gd name="connsiteY1" fmla="*/ 0 h 3151135"/>
              <a:gd name="connsiteX2" fmla="*/ 1711219 w 1711219"/>
              <a:gd name="connsiteY2" fmla="*/ 3151135 h 3151135"/>
              <a:gd name="connsiteX3" fmla="*/ 0 w 1711219"/>
              <a:gd name="connsiteY3" fmla="*/ 1825011 h 3151135"/>
              <a:gd name="connsiteX4" fmla="*/ 16235 w 1711219"/>
              <a:gd name="connsiteY4" fmla="*/ 1264991 h 3151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1219" h="3151135">
                <a:moveTo>
                  <a:pt x="16235" y="1264991"/>
                </a:moveTo>
                <a:cubicBezTo>
                  <a:pt x="529240" y="1085102"/>
                  <a:pt x="1170783" y="179889"/>
                  <a:pt x="1683788" y="0"/>
                </a:cubicBezTo>
                <a:cubicBezTo>
                  <a:pt x="1686867" y="720628"/>
                  <a:pt x="1708140" y="2430507"/>
                  <a:pt x="1711219" y="3151135"/>
                </a:cubicBezTo>
                <a:cubicBezTo>
                  <a:pt x="1181617" y="2975430"/>
                  <a:pt x="697924" y="2129446"/>
                  <a:pt x="0" y="1825011"/>
                </a:cubicBezTo>
                <a:lnTo>
                  <a:pt x="16235" y="1264991"/>
                </a:lnTo>
                <a:close/>
              </a:path>
            </a:pathLst>
          </a:custGeom>
          <a:gradFill flip="none" rotWithShape="1">
            <a:gsLst>
              <a:gs pos="0">
                <a:srgbClr val="9FFFFF">
                  <a:alpha val="0"/>
                </a:srgbClr>
              </a:gs>
              <a:gs pos="100000">
                <a:srgbClr val="9FFFFF">
                  <a:alpha val="20000"/>
                </a:srgbClr>
              </a:gs>
            </a:gsLst>
            <a:lin ang="10800000" scaled="1"/>
            <a:tileRect/>
          </a:gradFill>
          <a:ln>
            <a:noFill/>
          </a:ln>
          <a:effectLst>
            <a:outerShdw blurRad="635000" dist="863600" dir="5400000" sx="90000" sy="90000" algn="t" rotWithShape="0">
              <a:prstClr val="black">
                <a:alpha val="7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40499418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p:nvPr>
        </p:nvSpPr>
        <p:spPr>
          <a:xfrm>
            <a:off x="303443" y="171982"/>
            <a:ext cx="2375877" cy="867930"/>
          </a:xfrm>
        </p:spPr>
        <p:txBody>
          <a:bodyPr/>
          <a:lstStyle/>
          <a:p>
            <a:r>
              <a:rPr lang="en-US" sz="2700" dirty="0"/>
              <a:t>DISRUPTING DISRUPTORS</a:t>
            </a:r>
          </a:p>
        </p:txBody>
      </p:sp>
      <p:sp>
        <p:nvSpPr>
          <p:cNvPr id="6" name="Text Placeholder 5"/>
          <p:cNvSpPr>
            <a:spLocks noGrp="1"/>
          </p:cNvSpPr>
          <p:nvPr>
            <p:ph type="body" sz="quarter" idx="16"/>
          </p:nvPr>
        </p:nvSpPr>
        <p:spPr>
          <a:xfrm>
            <a:off x="2846917" y="1008960"/>
            <a:ext cx="9084398" cy="549381"/>
          </a:xfrm>
        </p:spPr>
        <p:txBody>
          <a:bodyPr/>
          <a:lstStyle/>
          <a:p>
            <a:pPr marL="0" indent="0">
              <a:buNone/>
            </a:pPr>
            <a:r>
              <a:rPr lang="en-US" sz="3300" b="1" dirty="0"/>
              <a:t> Stop making Plans &amp; Start Experimenting!</a:t>
            </a:r>
          </a:p>
        </p:txBody>
      </p:sp>
      <p:sp>
        <p:nvSpPr>
          <p:cNvPr id="42" name="Slide Number Placeholder 41"/>
          <p:cNvSpPr>
            <a:spLocks noGrp="1"/>
          </p:cNvSpPr>
          <p:nvPr>
            <p:ph type="sldNum" sz="quarter" idx="4"/>
          </p:nvPr>
        </p:nvSpPr>
        <p:spPr>
          <a:xfrm>
            <a:off x="11432913" y="6316156"/>
            <a:ext cx="498402" cy="365125"/>
          </a:xfrm>
        </p:spPr>
        <p:txBody>
          <a:bodyPr/>
          <a:lstStyle/>
          <a:p>
            <a:fld id="{5AE1514C-5E56-4738-A1FF-4B1CFD2A3E36}" type="slidenum">
              <a:rPr lang="en-US" smtClean="0"/>
              <a:t>17</a:t>
            </a:fld>
            <a:endParaRPr lang="en-US"/>
          </a:p>
        </p:txBody>
      </p:sp>
      <p:pic>
        <p:nvPicPr>
          <p:cNvPr id="16" name="Picture 15"/>
          <p:cNvPicPr>
            <a:picLocks noChangeAspect="1"/>
          </p:cNvPicPr>
          <p:nvPr/>
        </p:nvPicPr>
        <p:blipFill rotWithShape="1">
          <a:blip r:embed="rId3" cstate="screen">
            <a:extLst>
              <a:ext uri="{28A0092B-C50C-407E-A947-70E740481C1C}">
                <a14:useLocalDpi xmlns:a14="http://schemas.microsoft.com/office/drawing/2010/main" val="0"/>
              </a:ext>
            </a:extLst>
          </a:blip>
          <a:srcRect t="29797" b="29408"/>
          <a:stretch/>
        </p:blipFill>
        <p:spPr>
          <a:xfrm>
            <a:off x="2472744" y="1558341"/>
            <a:ext cx="8639604" cy="4984124"/>
          </a:xfrm>
          <a:prstGeom prst="rect">
            <a:avLst/>
          </a:prstGeom>
        </p:spPr>
      </p:pic>
      <p:pic>
        <p:nvPicPr>
          <p:cNvPr id="17" name="Picture 16"/>
          <p:cNvPicPr>
            <a:picLocks noChangeAspect="1"/>
          </p:cNvPicPr>
          <p:nvPr/>
        </p:nvPicPr>
        <p:blipFill rotWithShape="1">
          <a:blip r:embed="rId4" cstate="screen">
            <a:extLst>
              <a:ext uri="{28A0092B-C50C-407E-A947-70E740481C1C}">
                <a14:useLocalDpi xmlns:a14="http://schemas.microsoft.com/office/drawing/2010/main" val="0"/>
              </a:ext>
            </a:extLst>
          </a:blip>
          <a:srcRect l="21857" r="23675"/>
          <a:stretch/>
        </p:blipFill>
        <p:spPr>
          <a:xfrm>
            <a:off x="3116688" y="1911148"/>
            <a:ext cx="850004" cy="736942"/>
          </a:xfrm>
          <a:prstGeom prst="rect">
            <a:avLst/>
          </a:prstGeom>
          <a:solidFill>
            <a:srgbClr val="FFFFFF">
              <a:shade val="85000"/>
            </a:srgbClr>
          </a:solidFill>
          <a:ln w="88900" cap="sq">
            <a:solidFill>
              <a:schemeClr val="tx1"/>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TextBox 6">
            <a:extLst>
              <a:ext uri="{FF2B5EF4-FFF2-40B4-BE49-F238E27FC236}">
                <a16:creationId xmlns:a16="http://schemas.microsoft.com/office/drawing/2014/main" id="{84AEDCF9-DDF1-42D2-A8A0-A64218E68393}"/>
              </a:ext>
            </a:extLst>
          </p:cNvPr>
          <p:cNvSpPr txBox="1"/>
          <p:nvPr/>
        </p:nvSpPr>
        <p:spPr>
          <a:xfrm>
            <a:off x="10958747" y="185647"/>
            <a:ext cx="1419726" cy="138499"/>
          </a:xfrm>
          <a:prstGeom prst="rect">
            <a:avLst/>
          </a:prstGeom>
          <a:noFill/>
        </p:spPr>
        <p:txBody>
          <a:bodyPr wrap="square" lIns="0" tIns="0" rIns="0" bIns="0" rtlCol="0" anchor="ctr">
            <a:spAutoFit/>
          </a:bodyPr>
          <a:lstStyle/>
          <a:p>
            <a:r>
              <a:rPr lang="en-US" sz="900" dirty="0">
                <a:solidFill>
                  <a:srgbClr val="1D1F3A"/>
                </a:solidFill>
              </a:rPr>
              <a:t>An Initiative by </a:t>
            </a:r>
          </a:p>
        </p:txBody>
      </p:sp>
      <p:pic>
        <p:nvPicPr>
          <p:cNvPr id="8" name="Picture 7">
            <a:extLst>
              <a:ext uri="{FF2B5EF4-FFF2-40B4-BE49-F238E27FC236}">
                <a16:creationId xmlns:a16="http://schemas.microsoft.com/office/drawing/2014/main" id="{D1F40981-72C7-4E17-B5FE-D0ECF392719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211" t="29158" r="6947" b="28526"/>
          <a:stretch/>
        </p:blipFill>
        <p:spPr>
          <a:xfrm>
            <a:off x="10792328" y="350783"/>
            <a:ext cx="992856" cy="483792"/>
          </a:xfrm>
          <a:prstGeom prst="rect">
            <a:avLst/>
          </a:prstGeom>
        </p:spPr>
      </p:pic>
    </p:spTree>
    <p:extLst>
      <p:ext uri="{BB962C8B-B14F-4D97-AF65-F5344CB8AC3E}">
        <p14:creationId xmlns:p14="http://schemas.microsoft.com/office/powerpoint/2010/main" val="2412406537"/>
      </p:ext>
    </p:extLst>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1556F6E-04C5-4782-9016-0D9043877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278240"/>
            <a:ext cx="12192000" cy="446435"/>
          </a:xfrm>
          <a:prstGeom prst="rect">
            <a:avLst/>
          </a:prstGeom>
        </p:spPr>
      </p:pic>
      <p:pic>
        <p:nvPicPr>
          <p:cNvPr id="5" name="Picture 4">
            <a:extLst>
              <a:ext uri="{FF2B5EF4-FFF2-40B4-BE49-F238E27FC236}">
                <a16:creationId xmlns:a16="http://schemas.microsoft.com/office/drawing/2014/main" id="{652884B5-B277-4FC3-B545-813A3DB5062A}"/>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162232"/>
            <a:ext cx="12192000" cy="446435"/>
          </a:xfrm>
          <a:prstGeom prst="rect">
            <a:avLst/>
          </a:prstGeom>
        </p:spPr>
      </p:pic>
      <p:pic>
        <p:nvPicPr>
          <p:cNvPr id="7" name="Picture 6">
            <a:extLst>
              <a:ext uri="{FF2B5EF4-FFF2-40B4-BE49-F238E27FC236}">
                <a16:creationId xmlns:a16="http://schemas.microsoft.com/office/drawing/2014/main" id="{585652E7-8B1F-4BBF-8FAD-11F587DD17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8491" y="530149"/>
            <a:ext cx="10635018" cy="5748091"/>
          </a:xfrm>
          <a:prstGeom prst="rect">
            <a:avLst/>
          </a:prstGeom>
        </p:spPr>
      </p:pic>
    </p:spTree>
    <p:extLst>
      <p:ext uri="{BB962C8B-B14F-4D97-AF65-F5344CB8AC3E}">
        <p14:creationId xmlns:p14="http://schemas.microsoft.com/office/powerpoint/2010/main" val="23410424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1556F6E-04C5-4782-9016-0D9043877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278240"/>
            <a:ext cx="12192000" cy="446435"/>
          </a:xfrm>
          <a:prstGeom prst="rect">
            <a:avLst/>
          </a:prstGeom>
        </p:spPr>
      </p:pic>
      <p:pic>
        <p:nvPicPr>
          <p:cNvPr id="5" name="Picture 4">
            <a:extLst>
              <a:ext uri="{FF2B5EF4-FFF2-40B4-BE49-F238E27FC236}">
                <a16:creationId xmlns:a16="http://schemas.microsoft.com/office/drawing/2014/main" id="{652884B5-B277-4FC3-B545-813A3DB5062A}"/>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162232"/>
            <a:ext cx="12192000" cy="446435"/>
          </a:xfrm>
          <a:prstGeom prst="rect">
            <a:avLst/>
          </a:prstGeom>
        </p:spPr>
      </p:pic>
      <p:pic>
        <p:nvPicPr>
          <p:cNvPr id="3" name="Picture 2">
            <a:extLst>
              <a:ext uri="{FF2B5EF4-FFF2-40B4-BE49-F238E27FC236}">
                <a16:creationId xmlns:a16="http://schemas.microsoft.com/office/drawing/2014/main" id="{A4A463BA-6DCD-46D3-8380-8A061860D4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84" y="890256"/>
            <a:ext cx="11969032" cy="5077488"/>
          </a:xfrm>
          <a:prstGeom prst="rect">
            <a:avLst/>
          </a:prstGeom>
        </p:spPr>
      </p:pic>
    </p:spTree>
    <p:extLst>
      <p:ext uri="{BB962C8B-B14F-4D97-AF65-F5344CB8AC3E}">
        <p14:creationId xmlns:p14="http://schemas.microsoft.com/office/powerpoint/2010/main" val="31756554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5" name="Group 194">
            <a:extLst>
              <a:ext uri="{FF2B5EF4-FFF2-40B4-BE49-F238E27FC236}">
                <a16:creationId xmlns:a16="http://schemas.microsoft.com/office/drawing/2014/main" id="{F9B13D7B-6CA9-4A36-8D92-EC26CA29FB51}"/>
              </a:ext>
            </a:extLst>
          </p:cNvPr>
          <p:cNvGrpSpPr/>
          <p:nvPr/>
        </p:nvGrpSpPr>
        <p:grpSpPr>
          <a:xfrm>
            <a:off x="0" y="-319314"/>
            <a:ext cx="12192000" cy="7757883"/>
            <a:chOff x="0" y="-319314"/>
            <a:chExt cx="12192000" cy="7757883"/>
          </a:xfrm>
        </p:grpSpPr>
        <p:sp>
          <p:nvSpPr>
            <p:cNvPr id="4" name="Freeform: Shape 3">
              <a:extLst>
                <a:ext uri="{FF2B5EF4-FFF2-40B4-BE49-F238E27FC236}">
                  <a16:creationId xmlns:a16="http://schemas.microsoft.com/office/drawing/2014/main" id="{DF8591CB-8E6A-499F-815F-2676A87E06F9}"/>
                </a:ext>
              </a:extLst>
            </p:cNvPr>
            <p:cNvSpPr/>
            <p:nvPr/>
          </p:nvSpPr>
          <p:spPr>
            <a:xfrm>
              <a:off x="4666952" y="2"/>
              <a:ext cx="7525048" cy="6857998"/>
            </a:xfrm>
            <a:custGeom>
              <a:avLst/>
              <a:gdLst>
                <a:gd name="connsiteX0" fmla="*/ 3696494 w 7525048"/>
                <a:gd name="connsiteY0" fmla="*/ 0 h 6857998"/>
                <a:gd name="connsiteX1" fmla="*/ 7525048 w 7525048"/>
                <a:gd name="connsiteY1" fmla="*/ 0 h 6857998"/>
                <a:gd name="connsiteX2" fmla="*/ 7525048 w 7525048"/>
                <a:gd name="connsiteY2" fmla="*/ 6857998 h 6857998"/>
                <a:gd name="connsiteX3" fmla="*/ 5237 w 7525048"/>
                <a:gd name="connsiteY3" fmla="*/ 6857998 h 6857998"/>
                <a:gd name="connsiteX4" fmla="*/ 3411790 w 7525048"/>
                <a:gd name="connsiteY4" fmla="*/ 2657473 h 6857998"/>
                <a:gd name="connsiteX5" fmla="*/ 3826445 w 7525048"/>
                <a:gd name="connsiteY5" fmla="*/ 16159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25048" h="6857998">
                  <a:moveTo>
                    <a:pt x="3696494" y="0"/>
                  </a:moveTo>
                  <a:lnTo>
                    <a:pt x="7525048" y="0"/>
                  </a:lnTo>
                  <a:lnTo>
                    <a:pt x="7525048" y="6857998"/>
                  </a:lnTo>
                  <a:lnTo>
                    <a:pt x="5237" y="6857998"/>
                  </a:lnTo>
                  <a:cubicBezTo>
                    <a:pt x="-138415" y="3986211"/>
                    <a:pt x="2714686" y="3214685"/>
                    <a:pt x="3411790" y="2657473"/>
                  </a:cubicBezTo>
                  <a:cubicBezTo>
                    <a:pt x="4065325" y="2135087"/>
                    <a:pt x="4513982" y="1117381"/>
                    <a:pt x="3826445" y="16159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4" name="Freeform: Shape 13">
              <a:extLst>
                <a:ext uri="{FF2B5EF4-FFF2-40B4-BE49-F238E27FC236}">
                  <a16:creationId xmlns:a16="http://schemas.microsoft.com/office/drawing/2014/main" id="{B943DBD1-F890-4EEA-A454-BD5720CCF506}"/>
                </a:ext>
              </a:extLst>
            </p:cNvPr>
            <p:cNvSpPr/>
            <p:nvPr/>
          </p:nvSpPr>
          <p:spPr>
            <a:xfrm>
              <a:off x="0" y="-319314"/>
              <a:ext cx="9177886" cy="7757883"/>
            </a:xfrm>
            <a:custGeom>
              <a:avLst/>
              <a:gdLst>
                <a:gd name="connsiteX0" fmla="*/ 0 w 12192000"/>
                <a:gd name="connsiteY0" fmla="*/ 0 h 6858000"/>
                <a:gd name="connsiteX1" fmla="*/ 8363446 w 12192000"/>
                <a:gd name="connsiteY1" fmla="*/ 0 h 6858000"/>
                <a:gd name="connsiteX2" fmla="*/ 8493397 w 12192000"/>
                <a:gd name="connsiteY2" fmla="*/ 161590 h 6858000"/>
                <a:gd name="connsiteX3" fmla="*/ 8078742 w 12192000"/>
                <a:gd name="connsiteY3" fmla="*/ 2657473 h 6858000"/>
                <a:gd name="connsiteX4" fmla="*/ 4672189 w 12192000"/>
                <a:gd name="connsiteY4" fmla="*/ 6857998 h 6858000"/>
                <a:gd name="connsiteX5" fmla="*/ 12192000 w 12192000"/>
                <a:gd name="connsiteY5" fmla="*/ 6857998 h 6858000"/>
                <a:gd name="connsiteX6" fmla="*/ 12192000 w 12192000"/>
                <a:gd name="connsiteY6" fmla="*/ 6858000 h 6858000"/>
                <a:gd name="connsiteX7" fmla="*/ 0 w 12192000"/>
                <a:gd name="connsiteY7" fmla="*/ 6858000 h 6858000"/>
                <a:gd name="connsiteX0" fmla="*/ 0 w 12192000"/>
                <a:gd name="connsiteY0" fmla="*/ 0 h 6858000"/>
                <a:gd name="connsiteX1" fmla="*/ 8363446 w 12192000"/>
                <a:gd name="connsiteY1" fmla="*/ 0 h 6858000"/>
                <a:gd name="connsiteX2" fmla="*/ 8493397 w 12192000"/>
                <a:gd name="connsiteY2" fmla="*/ 161590 h 6858000"/>
                <a:gd name="connsiteX3" fmla="*/ 8078742 w 12192000"/>
                <a:gd name="connsiteY3" fmla="*/ 2657473 h 6858000"/>
                <a:gd name="connsiteX4" fmla="*/ 4672189 w 12192000"/>
                <a:gd name="connsiteY4" fmla="*/ 6857998 h 6858000"/>
                <a:gd name="connsiteX5" fmla="*/ 12192000 w 12192000"/>
                <a:gd name="connsiteY5" fmla="*/ 6857998 h 6858000"/>
                <a:gd name="connsiteX6" fmla="*/ 0 w 12192000"/>
                <a:gd name="connsiteY6" fmla="*/ 6858000 h 6858000"/>
                <a:gd name="connsiteX7" fmla="*/ 0 w 12192000"/>
                <a:gd name="connsiteY7" fmla="*/ 0 h 6858000"/>
                <a:gd name="connsiteX0" fmla="*/ 0 w 8837726"/>
                <a:gd name="connsiteY0" fmla="*/ 0 h 6858000"/>
                <a:gd name="connsiteX1" fmla="*/ 8363446 w 8837726"/>
                <a:gd name="connsiteY1" fmla="*/ 0 h 6858000"/>
                <a:gd name="connsiteX2" fmla="*/ 8493397 w 8837726"/>
                <a:gd name="connsiteY2" fmla="*/ 161590 h 6858000"/>
                <a:gd name="connsiteX3" fmla="*/ 8078742 w 8837726"/>
                <a:gd name="connsiteY3" fmla="*/ 2657473 h 6858000"/>
                <a:gd name="connsiteX4" fmla="*/ 4672189 w 8837726"/>
                <a:gd name="connsiteY4" fmla="*/ 6857998 h 6858000"/>
                <a:gd name="connsiteX5" fmla="*/ 0 w 8837726"/>
                <a:gd name="connsiteY5" fmla="*/ 6858000 h 6858000"/>
                <a:gd name="connsiteX6" fmla="*/ 0 w 8837726"/>
                <a:gd name="connsiteY6" fmla="*/ 0 h 6858000"/>
                <a:gd name="connsiteX0" fmla="*/ 0 w 8812037"/>
                <a:gd name="connsiteY0" fmla="*/ 0 h 6887026"/>
                <a:gd name="connsiteX1" fmla="*/ 8363446 w 8812037"/>
                <a:gd name="connsiteY1" fmla="*/ 0 h 6887026"/>
                <a:gd name="connsiteX2" fmla="*/ 8493397 w 8812037"/>
                <a:gd name="connsiteY2" fmla="*/ 161590 h 6887026"/>
                <a:gd name="connsiteX3" fmla="*/ 8078742 w 8812037"/>
                <a:gd name="connsiteY3" fmla="*/ 2657473 h 6887026"/>
                <a:gd name="connsiteX4" fmla="*/ 5238246 w 8812037"/>
                <a:gd name="connsiteY4" fmla="*/ 6887026 h 6887026"/>
                <a:gd name="connsiteX5" fmla="*/ 0 w 8812037"/>
                <a:gd name="connsiteY5" fmla="*/ 6858000 h 6887026"/>
                <a:gd name="connsiteX6" fmla="*/ 0 w 8812037"/>
                <a:gd name="connsiteY6" fmla="*/ 0 h 6887026"/>
                <a:gd name="connsiteX0" fmla="*/ 0 w 8773983"/>
                <a:gd name="connsiteY0" fmla="*/ 0 h 7540169"/>
                <a:gd name="connsiteX1" fmla="*/ 8363446 w 8773983"/>
                <a:gd name="connsiteY1" fmla="*/ 0 h 7540169"/>
                <a:gd name="connsiteX2" fmla="*/ 8493397 w 8773983"/>
                <a:gd name="connsiteY2" fmla="*/ 161590 h 7540169"/>
                <a:gd name="connsiteX3" fmla="*/ 8078742 w 8773983"/>
                <a:gd name="connsiteY3" fmla="*/ 2657473 h 7540169"/>
                <a:gd name="connsiteX4" fmla="*/ 6370360 w 8773983"/>
                <a:gd name="connsiteY4" fmla="*/ 7540169 h 7540169"/>
                <a:gd name="connsiteX5" fmla="*/ 0 w 8773983"/>
                <a:gd name="connsiteY5" fmla="*/ 6858000 h 7540169"/>
                <a:gd name="connsiteX6" fmla="*/ 0 w 8773983"/>
                <a:gd name="connsiteY6" fmla="*/ 0 h 7540169"/>
                <a:gd name="connsiteX0" fmla="*/ 0 w 8773983"/>
                <a:gd name="connsiteY0" fmla="*/ 0 h 7540169"/>
                <a:gd name="connsiteX1" fmla="*/ 8363446 w 8773983"/>
                <a:gd name="connsiteY1" fmla="*/ 0 h 7540169"/>
                <a:gd name="connsiteX2" fmla="*/ 8493397 w 8773983"/>
                <a:gd name="connsiteY2" fmla="*/ 161590 h 7540169"/>
                <a:gd name="connsiteX3" fmla="*/ 8078742 w 8773983"/>
                <a:gd name="connsiteY3" fmla="*/ 2657473 h 7540169"/>
                <a:gd name="connsiteX4" fmla="*/ 6370360 w 8773983"/>
                <a:gd name="connsiteY4" fmla="*/ 7540169 h 7540169"/>
                <a:gd name="connsiteX5" fmla="*/ 0 w 8773983"/>
                <a:gd name="connsiteY5" fmla="*/ 6858000 h 7540169"/>
                <a:gd name="connsiteX6" fmla="*/ 0 w 8773983"/>
                <a:gd name="connsiteY6" fmla="*/ 0 h 7540169"/>
                <a:gd name="connsiteX0" fmla="*/ 0 w 8741453"/>
                <a:gd name="connsiteY0" fmla="*/ 0 h 7540169"/>
                <a:gd name="connsiteX1" fmla="*/ 8363446 w 8741453"/>
                <a:gd name="connsiteY1" fmla="*/ 0 h 7540169"/>
                <a:gd name="connsiteX2" fmla="*/ 8493397 w 8741453"/>
                <a:gd name="connsiteY2" fmla="*/ 161590 h 7540169"/>
                <a:gd name="connsiteX3" fmla="*/ 7904570 w 8741453"/>
                <a:gd name="connsiteY3" fmla="*/ 2483301 h 7540169"/>
                <a:gd name="connsiteX4" fmla="*/ 6370360 w 8741453"/>
                <a:gd name="connsiteY4" fmla="*/ 7540169 h 7540169"/>
                <a:gd name="connsiteX5" fmla="*/ 0 w 8741453"/>
                <a:gd name="connsiteY5" fmla="*/ 6858000 h 7540169"/>
                <a:gd name="connsiteX6" fmla="*/ 0 w 8741453"/>
                <a:gd name="connsiteY6" fmla="*/ 0 h 7540169"/>
                <a:gd name="connsiteX0" fmla="*/ 0 w 9020351"/>
                <a:gd name="connsiteY0" fmla="*/ 0 h 7540169"/>
                <a:gd name="connsiteX1" fmla="*/ 8363446 w 9020351"/>
                <a:gd name="connsiteY1" fmla="*/ 0 h 7540169"/>
                <a:gd name="connsiteX2" fmla="*/ 8493397 w 9020351"/>
                <a:gd name="connsiteY2" fmla="*/ 161590 h 7540169"/>
                <a:gd name="connsiteX3" fmla="*/ 7904570 w 9020351"/>
                <a:gd name="connsiteY3" fmla="*/ 2483301 h 7540169"/>
                <a:gd name="connsiteX4" fmla="*/ 6370360 w 9020351"/>
                <a:gd name="connsiteY4" fmla="*/ 7540169 h 7540169"/>
                <a:gd name="connsiteX5" fmla="*/ 0 w 9020351"/>
                <a:gd name="connsiteY5" fmla="*/ 6858000 h 7540169"/>
                <a:gd name="connsiteX6" fmla="*/ 0 w 9020351"/>
                <a:gd name="connsiteY6" fmla="*/ 0 h 7540169"/>
                <a:gd name="connsiteX0" fmla="*/ 0 w 9394162"/>
                <a:gd name="connsiteY0" fmla="*/ 56124 h 7596293"/>
                <a:gd name="connsiteX1" fmla="*/ 8363446 w 9394162"/>
                <a:gd name="connsiteY1" fmla="*/ 56124 h 7596293"/>
                <a:gd name="connsiteX2" fmla="*/ 9219111 w 9394162"/>
                <a:gd name="connsiteY2" fmla="*/ 0 h 7596293"/>
                <a:gd name="connsiteX3" fmla="*/ 7904570 w 9394162"/>
                <a:gd name="connsiteY3" fmla="*/ 2539425 h 7596293"/>
                <a:gd name="connsiteX4" fmla="*/ 6370360 w 9394162"/>
                <a:gd name="connsiteY4" fmla="*/ 7596293 h 7596293"/>
                <a:gd name="connsiteX5" fmla="*/ 0 w 9394162"/>
                <a:gd name="connsiteY5" fmla="*/ 6914124 h 7596293"/>
                <a:gd name="connsiteX6" fmla="*/ 0 w 9394162"/>
                <a:gd name="connsiteY6" fmla="*/ 56124 h 7596293"/>
                <a:gd name="connsiteX0" fmla="*/ 0 w 9392944"/>
                <a:gd name="connsiteY0" fmla="*/ 56124 h 7596293"/>
                <a:gd name="connsiteX1" fmla="*/ 8363446 w 9392944"/>
                <a:gd name="connsiteY1" fmla="*/ 56124 h 7596293"/>
                <a:gd name="connsiteX2" fmla="*/ 9219111 w 9392944"/>
                <a:gd name="connsiteY2" fmla="*/ 0 h 7596293"/>
                <a:gd name="connsiteX3" fmla="*/ 7890056 w 9392944"/>
                <a:gd name="connsiteY3" fmla="*/ 2466854 h 7596293"/>
                <a:gd name="connsiteX4" fmla="*/ 6370360 w 9392944"/>
                <a:gd name="connsiteY4" fmla="*/ 7596293 h 7596293"/>
                <a:gd name="connsiteX5" fmla="*/ 0 w 9392944"/>
                <a:gd name="connsiteY5" fmla="*/ 6914124 h 7596293"/>
                <a:gd name="connsiteX6" fmla="*/ 0 w 9392944"/>
                <a:gd name="connsiteY6" fmla="*/ 56124 h 7596293"/>
                <a:gd name="connsiteX0" fmla="*/ 0 w 9424258"/>
                <a:gd name="connsiteY0" fmla="*/ 56124 h 7596293"/>
                <a:gd name="connsiteX1" fmla="*/ 8363446 w 9424258"/>
                <a:gd name="connsiteY1" fmla="*/ 56124 h 7596293"/>
                <a:gd name="connsiteX2" fmla="*/ 9219111 w 9424258"/>
                <a:gd name="connsiteY2" fmla="*/ 0 h 7596293"/>
                <a:gd name="connsiteX3" fmla="*/ 7890056 w 9424258"/>
                <a:gd name="connsiteY3" fmla="*/ 2466854 h 7596293"/>
                <a:gd name="connsiteX4" fmla="*/ 6370360 w 9424258"/>
                <a:gd name="connsiteY4" fmla="*/ 7596293 h 7596293"/>
                <a:gd name="connsiteX5" fmla="*/ 0 w 9424258"/>
                <a:gd name="connsiteY5" fmla="*/ 6914124 h 7596293"/>
                <a:gd name="connsiteX6" fmla="*/ 0 w 9424258"/>
                <a:gd name="connsiteY6" fmla="*/ 56124 h 7596293"/>
                <a:gd name="connsiteX0" fmla="*/ 0 w 9453933"/>
                <a:gd name="connsiteY0" fmla="*/ 56124 h 7596293"/>
                <a:gd name="connsiteX1" fmla="*/ 8363446 w 9453933"/>
                <a:gd name="connsiteY1" fmla="*/ 56124 h 7596293"/>
                <a:gd name="connsiteX2" fmla="*/ 9219111 w 9453933"/>
                <a:gd name="connsiteY2" fmla="*/ 0 h 7596293"/>
                <a:gd name="connsiteX3" fmla="*/ 8122285 w 9453933"/>
                <a:gd name="connsiteY3" fmla="*/ 2641026 h 7596293"/>
                <a:gd name="connsiteX4" fmla="*/ 6370360 w 9453933"/>
                <a:gd name="connsiteY4" fmla="*/ 7596293 h 7596293"/>
                <a:gd name="connsiteX5" fmla="*/ 0 w 9453933"/>
                <a:gd name="connsiteY5" fmla="*/ 6914124 h 7596293"/>
                <a:gd name="connsiteX6" fmla="*/ 0 w 9453933"/>
                <a:gd name="connsiteY6" fmla="*/ 56124 h 7596293"/>
                <a:gd name="connsiteX0" fmla="*/ 0 w 9453933"/>
                <a:gd name="connsiteY0" fmla="*/ 319314 h 7859483"/>
                <a:gd name="connsiteX1" fmla="*/ 8029618 w 9453933"/>
                <a:gd name="connsiteY1" fmla="*/ 0 h 7859483"/>
                <a:gd name="connsiteX2" fmla="*/ 9219111 w 9453933"/>
                <a:gd name="connsiteY2" fmla="*/ 263190 h 7859483"/>
                <a:gd name="connsiteX3" fmla="*/ 8122285 w 9453933"/>
                <a:gd name="connsiteY3" fmla="*/ 2904216 h 7859483"/>
                <a:gd name="connsiteX4" fmla="*/ 6370360 w 9453933"/>
                <a:gd name="connsiteY4" fmla="*/ 7859483 h 7859483"/>
                <a:gd name="connsiteX5" fmla="*/ 0 w 9453933"/>
                <a:gd name="connsiteY5" fmla="*/ 7177314 h 7859483"/>
                <a:gd name="connsiteX6" fmla="*/ 0 w 9453933"/>
                <a:gd name="connsiteY6" fmla="*/ 319314 h 7859483"/>
                <a:gd name="connsiteX0" fmla="*/ 0 w 9244191"/>
                <a:gd name="connsiteY0" fmla="*/ 319314 h 7859483"/>
                <a:gd name="connsiteX1" fmla="*/ 8029618 w 9244191"/>
                <a:gd name="connsiteY1" fmla="*/ 0 h 7859483"/>
                <a:gd name="connsiteX2" fmla="*/ 9030425 w 9244191"/>
                <a:gd name="connsiteY2" fmla="*/ 219647 h 7859483"/>
                <a:gd name="connsiteX3" fmla="*/ 8122285 w 9244191"/>
                <a:gd name="connsiteY3" fmla="*/ 2904216 h 7859483"/>
                <a:gd name="connsiteX4" fmla="*/ 6370360 w 9244191"/>
                <a:gd name="connsiteY4" fmla="*/ 7859483 h 7859483"/>
                <a:gd name="connsiteX5" fmla="*/ 0 w 9244191"/>
                <a:gd name="connsiteY5" fmla="*/ 7177314 h 7859483"/>
                <a:gd name="connsiteX6" fmla="*/ 0 w 9244191"/>
                <a:gd name="connsiteY6" fmla="*/ 319314 h 7859483"/>
                <a:gd name="connsiteX0" fmla="*/ 0 w 9159140"/>
                <a:gd name="connsiteY0" fmla="*/ 319314 h 7859483"/>
                <a:gd name="connsiteX1" fmla="*/ 8029618 w 9159140"/>
                <a:gd name="connsiteY1" fmla="*/ 0 h 7859483"/>
                <a:gd name="connsiteX2" fmla="*/ 9030425 w 9159140"/>
                <a:gd name="connsiteY2" fmla="*/ 219647 h 7859483"/>
                <a:gd name="connsiteX3" fmla="*/ 8122285 w 9159140"/>
                <a:gd name="connsiteY3" fmla="*/ 2904216 h 7859483"/>
                <a:gd name="connsiteX4" fmla="*/ 6370360 w 9159140"/>
                <a:gd name="connsiteY4" fmla="*/ 7859483 h 7859483"/>
                <a:gd name="connsiteX5" fmla="*/ 0 w 9159140"/>
                <a:gd name="connsiteY5" fmla="*/ 7177314 h 7859483"/>
                <a:gd name="connsiteX6" fmla="*/ 0 w 9159140"/>
                <a:gd name="connsiteY6" fmla="*/ 319314 h 7859483"/>
                <a:gd name="connsiteX0" fmla="*/ 0 w 9173062"/>
                <a:gd name="connsiteY0" fmla="*/ 319314 h 7859483"/>
                <a:gd name="connsiteX1" fmla="*/ 8029618 w 9173062"/>
                <a:gd name="connsiteY1" fmla="*/ 0 h 7859483"/>
                <a:gd name="connsiteX2" fmla="*/ 9030425 w 9173062"/>
                <a:gd name="connsiteY2" fmla="*/ 219647 h 7859483"/>
                <a:gd name="connsiteX3" fmla="*/ 8252914 w 9173062"/>
                <a:gd name="connsiteY3" fmla="*/ 2991302 h 7859483"/>
                <a:gd name="connsiteX4" fmla="*/ 6370360 w 9173062"/>
                <a:gd name="connsiteY4" fmla="*/ 7859483 h 7859483"/>
                <a:gd name="connsiteX5" fmla="*/ 0 w 9173062"/>
                <a:gd name="connsiteY5" fmla="*/ 7177314 h 7859483"/>
                <a:gd name="connsiteX6" fmla="*/ 0 w 9173062"/>
                <a:gd name="connsiteY6" fmla="*/ 319314 h 7859483"/>
                <a:gd name="connsiteX0" fmla="*/ 0 w 9182405"/>
                <a:gd name="connsiteY0" fmla="*/ 319314 h 7728854"/>
                <a:gd name="connsiteX1" fmla="*/ 8029618 w 9182405"/>
                <a:gd name="connsiteY1" fmla="*/ 0 h 7728854"/>
                <a:gd name="connsiteX2" fmla="*/ 9030425 w 9182405"/>
                <a:gd name="connsiteY2" fmla="*/ 219647 h 7728854"/>
                <a:gd name="connsiteX3" fmla="*/ 8252914 w 9182405"/>
                <a:gd name="connsiteY3" fmla="*/ 2991302 h 7728854"/>
                <a:gd name="connsiteX4" fmla="*/ 5876875 w 9182405"/>
                <a:gd name="connsiteY4" fmla="*/ 7728854 h 7728854"/>
                <a:gd name="connsiteX5" fmla="*/ 0 w 9182405"/>
                <a:gd name="connsiteY5" fmla="*/ 7177314 h 7728854"/>
                <a:gd name="connsiteX6" fmla="*/ 0 w 9182405"/>
                <a:gd name="connsiteY6" fmla="*/ 319314 h 7728854"/>
                <a:gd name="connsiteX0" fmla="*/ 0 w 9177886"/>
                <a:gd name="connsiteY0" fmla="*/ 319314 h 7757883"/>
                <a:gd name="connsiteX1" fmla="*/ 8029618 w 9177886"/>
                <a:gd name="connsiteY1" fmla="*/ 0 h 7757883"/>
                <a:gd name="connsiteX2" fmla="*/ 9030425 w 9177886"/>
                <a:gd name="connsiteY2" fmla="*/ 219647 h 7757883"/>
                <a:gd name="connsiteX3" fmla="*/ 8252914 w 9177886"/>
                <a:gd name="connsiteY3" fmla="*/ 2991302 h 7757883"/>
                <a:gd name="connsiteX4" fmla="*/ 6109104 w 9177886"/>
                <a:gd name="connsiteY4" fmla="*/ 7757883 h 7757883"/>
                <a:gd name="connsiteX5" fmla="*/ 0 w 9177886"/>
                <a:gd name="connsiteY5" fmla="*/ 7177314 h 7757883"/>
                <a:gd name="connsiteX6" fmla="*/ 0 w 9177886"/>
                <a:gd name="connsiteY6" fmla="*/ 319314 h 77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77886" h="7757883">
                  <a:moveTo>
                    <a:pt x="0" y="319314"/>
                  </a:moveTo>
                  <a:lnTo>
                    <a:pt x="8029618" y="0"/>
                  </a:lnTo>
                  <a:lnTo>
                    <a:pt x="9030425" y="219647"/>
                  </a:lnTo>
                  <a:cubicBezTo>
                    <a:pt x="9500247" y="2017267"/>
                    <a:pt x="8739801" y="1734929"/>
                    <a:pt x="8252914" y="2991302"/>
                  </a:cubicBezTo>
                  <a:cubicBezTo>
                    <a:pt x="7766027" y="4247675"/>
                    <a:pt x="3759280" y="4508725"/>
                    <a:pt x="6109104" y="7757883"/>
                  </a:cubicBezTo>
                  <a:lnTo>
                    <a:pt x="0" y="7177314"/>
                  </a:lnTo>
                  <a:lnTo>
                    <a:pt x="0" y="319314"/>
                  </a:lnTo>
                  <a:close/>
                </a:path>
              </a:pathLst>
            </a:custGeom>
            <a:solidFill>
              <a:schemeClr val="tx1">
                <a:alpha val="24000"/>
              </a:schemeClr>
            </a:solidFill>
            <a:ln>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7" name="Freeform: Shape 6">
              <a:extLst>
                <a:ext uri="{FF2B5EF4-FFF2-40B4-BE49-F238E27FC236}">
                  <a16:creationId xmlns:a16="http://schemas.microsoft.com/office/drawing/2014/main" id="{3DB7A91F-4276-4585-B932-15C2AD18641D}"/>
                </a:ext>
              </a:extLst>
            </p:cNvPr>
            <p:cNvSpPr/>
            <p:nvPr/>
          </p:nvSpPr>
          <p:spPr>
            <a:xfrm>
              <a:off x="0" y="0"/>
              <a:ext cx="8837726" cy="6858000"/>
            </a:xfrm>
            <a:custGeom>
              <a:avLst/>
              <a:gdLst>
                <a:gd name="connsiteX0" fmla="*/ 0 w 12192000"/>
                <a:gd name="connsiteY0" fmla="*/ 0 h 6858000"/>
                <a:gd name="connsiteX1" fmla="*/ 8363446 w 12192000"/>
                <a:gd name="connsiteY1" fmla="*/ 0 h 6858000"/>
                <a:gd name="connsiteX2" fmla="*/ 8493397 w 12192000"/>
                <a:gd name="connsiteY2" fmla="*/ 161590 h 6858000"/>
                <a:gd name="connsiteX3" fmla="*/ 8078742 w 12192000"/>
                <a:gd name="connsiteY3" fmla="*/ 2657473 h 6858000"/>
                <a:gd name="connsiteX4" fmla="*/ 4672189 w 12192000"/>
                <a:gd name="connsiteY4" fmla="*/ 6857998 h 6858000"/>
                <a:gd name="connsiteX5" fmla="*/ 12192000 w 12192000"/>
                <a:gd name="connsiteY5" fmla="*/ 6857998 h 6858000"/>
                <a:gd name="connsiteX6" fmla="*/ 12192000 w 12192000"/>
                <a:gd name="connsiteY6" fmla="*/ 6858000 h 6858000"/>
                <a:gd name="connsiteX7" fmla="*/ 0 w 12192000"/>
                <a:gd name="connsiteY7" fmla="*/ 6858000 h 6858000"/>
                <a:gd name="connsiteX0" fmla="*/ 0 w 12192000"/>
                <a:gd name="connsiteY0" fmla="*/ 0 h 6858000"/>
                <a:gd name="connsiteX1" fmla="*/ 8363446 w 12192000"/>
                <a:gd name="connsiteY1" fmla="*/ 0 h 6858000"/>
                <a:gd name="connsiteX2" fmla="*/ 8493397 w 12192000"/>
                <a:gd name="connsiteY2" fmla="*/ 161590 h 6858000"/>
                <a:gd name="connsiteX3" fmla="*/ 8078742 w 12192000"/>
                <a:gd name="connsiteY3" fmla="*/ 2657473 h 6858000"/>
                <a:gd name="connsiteX4" fmla="*/ 4672189 w 12192000"/>
                <a:gd name="connsiteY4" fmla="*/ 6857998 h 6858000"/>
                <a:gd name="connsiteX5" fmla="*/ 12192000 w 12192000"/>
                <a:gd name="connsiteY5" fmla="*/ 6857998 h 6858000"/>
                <a:gd name="connsiteX6" fmla="*/ 0 w 12192000"/>
                <a:gd name="connsiteY6" fmla="*/ 6858000 h 6858000"/>
                <a:gd name="connsiteX7" fmla="*/ 0 w 12192000"/>
                <a:gd name="connsiteY7" fmla="*/ 0 h 6858000"/>
                <a:gd name="connsiteX0" fmla="*/ 0 w 8837726"/>
                <a:gd name="connsiteY0" fmla="*/ 0 h 6858000"/>
                <a:gd name="connsiteX1" fmla="*/ 8363446 w 8837726"/>
                <a:gd name="connsiteY1" fmla="*/ 0 h 6858000"/>
                <a:gd name="connsiteX2" fmla="*/ 8493397 w 8837726"/>
                <a:gd name="connsiteY2" fmla="*/ 161590 h 6858000"/>
                <a:gd name="connsiteX3" fmla="*/ 8078742 w 8837726"/>
                <a:gd name="connsiteY3" fmla="*/ 2657473 h 6858000"/>
                <a:gd name="connsiteX4" fmla="*/ 4672189 w 8837726"/>
                <a:gd name="connsiteY4" fmla="*/ 6857998 h 6858000"/>
                <a:gd name="connsiteX5" fmla="*/ 0 w 8837726"/>
                <a:gd name="connsiteY5" fmla="*/ 6858000 h 6858000"/>
                <a:gd name="connsiteX6" fmla="*/ 0 w 8837726"/>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37726" h="6858000">
                  <a:moveTo>
                    <a:pt x="0" y="0"/>
                  </a:moveTo>
                  <a:lnTo>
                    <a:pt x="8363446" y="0"/>
                  </a:lnTo>
                  <a:lnTo>
                    <a:pt x="8493397" y="161590"/>
                  </a:lnTo>
                  <a:cubicBezTo>
                    <a:pt x="9180934" y="1117381"/>
                    <a:pt x="8732277" y="2135087"/>
                    <a:pt x="8078742" y="2657473"/>
                  </a:cubicBezTo>
                  <a:cubicBezTo>
                    <a:pt x="7381638" y="3214685"/>
                    <a:pt x="4528537" y="3986211"/>
                    <a:pt x="4672189" y="6857998"/>
                  </a:cubicBezTo>
                  <a:lnTo>
                    <a:pt x="0" y="6858000"/>
                  </a:lnTo>
                  <a:lnTo>
                    <a:pt x="0" y="0"/>
                  </a:lnTo>
                  <a:close/>
                </a:path>
              </a:pathLst>
            </a:custGeom>
            <a:solidFill>
              <a:schemeClr val="bg1"/>
            </a:solidFill>
            <a:ln>
              <a:noFill/>
            </a:ln>
            <a:effectLst>
              <a:outerShdw blurRad="50800" dist="38100" dir="2700000" algn="tl" rotWithShape="0">
                <a:prstClr val="black">
                  <a:alpha val="3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grpSp>
      <p:sp>
        <p:nvSpPr>
          <p:cNvPr id="208" name="Freeform: Shape 207">
            <a:extLst>
              <a:ext uri="{FF2B5EF4-FFF2-40B4-BE49-F238E27FC236}">
                <a16:creationId xmlns:a16="http://schemas.microsoft.com/office/drawing/2014/main" id="{CAA67246-DC1D-47D0-BA25-748D0B7F691A}"/>
              </a:ext>
            </a:extLst>
          </p:cNvPr>
          <p:cNvSpPr/>
          <p:nvPr/>
        </p:nvSpPr>
        <p:spPr>
          <a:xfrm>
            <a:off x="-253777" y="-14513"/>
            <a:ext cx="8038547" cy="7236863"/>
          </a:xfrm>
          <a:custGeom>
            <a:avLst/>
            <a:gdLst>
              <a:gd name="connsiteX0" fmla="*/ 8038547 w 8038547"/>
              <a:gd name="connsiteY0" fmla="*/ 2622435 h 7236863"/>
              <a:gd name="connsiteX1" fmla="*/ 8024363 w 8038547"/>
              <a:gd name="connsiteY1" fmla="*/ 2671987 h 7236863"/>
              <a:gd name="connsiteX2" fmla="*/ 7902200 w 8038547"/>
              <a:gd name="connsiteY2" fmla="*/ 2739549 h 7236863"/>
              <a:gd name="connsiteX3" fmla="*/ 7984688 w 8038547"/>
              <a:gd name="connsiteY3" fmla="*/ 2671987 h 7236863"/>
              <a:gd name="connsiteX4" fmla="*/ 5167914 w 8038547"/>
              <a:gd name="connsiteY4" fmla="*/ 0 h 7236863"/>
              <a:gd name="connsiteX5" fmla="*/ 6141921 w 8038547"/>
              <a:gd name="connsiteY5" fmla="*/ 4066 h 7236863"/>
              <a:gd name="connsiteX6" fmla="*/ 6131113 w 8038547"/>
              <a:gd name="connsiteY6" fmla="*/ 25802 h 7236863"/>
              <a:gd name="connsiteX7" fmla="*/ 7213280 w 8038547"/>
              <a:gd name="connsiteY7" fmla="*/ 1607780 h 7236863"/>
              <a:gd name="connsiteX8" fmla="*/ 7018147 w 8038547"/>
              <a:gd name="connsiteY8" fmla="*/ 2591059 h 7236863"/>
              <a:gd name="connsiteX9" fmla="*/ 3414680 w 8038547"/>
              <a:gd name="connsiteY9" fmla="*/ 4969068 h 7236863"/>
              <a:gd name="connsiteX10" fmla="*/ 3021614 w 8038547"/>
              <a:gd name="connsiteY10" fmla="*/ 6757892 h 7236863"/>
              <a:gd name="connsiteX11" fmla="*/ 3067031 w 8038547"/>
              <a:gd name="connsiteY11" fmla="*/ 6872512 h 7236863"/>
              <a:gd name="connsiteX12" fmla="*/ 3167795 w 8038547"/>
              <a:gd name="connsiteY12" fmla="*/ 6874147 h 7236863"/>
              <a:gd name="connsiteX13" fmla="*/ 3169699 w 8038547"/>
              <a:gd name="connsiteY13" fmla="*/ 6901541 h 7236863"/>
              <a:gd name="connsiteX14" fmla="*/ 59367 w 8038547"/>
              <a:gd name="connsiteY14" fmla="*/ 7119255 h 7236863"/>
              <a:gd name="connsiteX15" fmla="*/ 90489 w 8038547"/>
              <a:gd name="connsiteY15" fmla="*/ 7236863 h 7236863"/>
              <a:gd name="connsiteX16" fmla="*/ 177930 w 8038547"/>
              <a:gd name="connsiteY16" fmla="*/ 3764382 h 7236863"/>
              <a:gd name="connsiteX17" fmla="*/ 6524494 w 8038547"/>
              <a:gd name="connsiteY17" fmla="*/ 2591059 h 7236863"/>
              <a:gd name="connsiteX18" fmla="*/ 6827299 w 8038547"/>
              <a:gd name="connsiteY18" fmla="*/ 1607780 h 7236863"/>
              <a:gd name="connsiteX19" fmla="*/ 5167914 w 8038547"/>
              <a:gd name="connsiteY19" fmla="*/ 0 h 7236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038547" h="7236863">
                <a:moveTo>
                  <a:pt x="8038547" y="2622435"/>
                </a:moveTo>
                <a:lnTo>
                  <a:pt x="8024363" y="2671987"/>
                </a:lnTo>
                <a:lnTo>
                  <a:pt x="7902200" y="2739549"/>
                </a:lnTo>
                <a:lnTo>
                  <a:pt x="7984688" y="2671987"/>
                </a:lnTo>
                <a:close/>
                <a:moveTo>
                  <a:pt x="5167914" y="0"/>
                </a:moveTo>
                <a:lnTo>
                  <a:pt x="6141921" y="4066"/>
                </a:lnTo>
                <a:lnTo>
                  <a:pt x="6131113" y="25802"/>
                </a:lnTo>
                <a:cubicBezTo>
                  <a:pt x="6053757" y="301764"/>
                  <a:pt x="7648620" y="866036"/>
                  <a:pt x="7213280" y="1607780"/>
                </a:cubicBezTo>
                <a:cubicBezTo>
                  <a:pt x="6763895" y="2373451"/>
                  <a:pt x="7936555" y="2208644"/>
                  <a:pt x="7018147" y="2591059"/>
                </a:cubicBezTo>
                <a:cubicBezTo>
                  <a:pt x="6099737" y="2973474"/>
                  <a:pt x="4036920" y="4201064"/>
                  <a:pt x="3414680" y="4969068"/>
                </a:cubicBezTo>
                <a:cubicBezTo>
                  <a:pt x="2948001" y="5545071"/>
                  <a:pt x="2847031" y="6243782"/>
                  <a:pt x="3021614" y="6757892"/>
                </a:cubicBezTo>
                <a:lnTo>
                  <a:pt x="3067031" y="6872512"/>
                </a:lnTo>
                <a:lnTo>
                  <a:pt x="3167795" y="6874147"/>
                </a:lnTo>
                <a:lnTo>
                  <a:pt x="3169699" y="6901541"/>
                </a:lnTo>
                <a:lnTo>
                  <a:pt x="59367" y="7119255"/>
                </a:lnTo>
                <a:lnTo>
                  <a:pt x="90489" y="7236863"/>
                </a:lnTo>
                <a:cubicBezTo>
                  <a:pt x="-180426" y="6722753"/>
                  <a:pt x="250324" y="5261137"/>
                  <a:pt x="177930" y="3764382"/>
                </a:cubicBezTo>
                <a:cubicBezTo>
                  <a:pt x="1201572" y="5449293"/>
                  <a:pt x="5099316" y="2973474"/>
                  <a:pt x="6524494" y="2591059"/>
                </a:cubicBezTo>
                <a:cubicBezTo>
                  <a:pt x="7949670" y="2208644"/>
                  <a:pt x="6129950" y="2373451"/>
                  <a:pt x="6827299" y="1607780"/>
                </a:cubicBezTo>
                <a:cubicBezTo>
                  <a:pt x="7524648" y="842109"/>
                  <a:pt x="4865015" y="265544"/>
                  <a:pt x="5167914" y="0"/>
                </a:cubicBezTo>
                <a:close/>
              </a:path>
            </a:pathLst>
          </a:custGeom>
          <a:gradFill flip="none" rotWithShape="1">
            <a:gsLst>
              <a:gs pos="32000">
                <a:schemeClr val="accent1">
                  <a:lumMod val="75000"/>
                  <a:alpha val="5000"/>
                </a:schemeClr>
              </a:gs>
              <a:gs pos="100000">
                <a:schemeClr val="accent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00" name="Freeform: Shape 199">
            <a:extLst>
              <a:ext uri="{FF2B5EF4-FFF2-40B4-BE49-F238E27FC236}">
                <a16:creationId xmlns:a16="http://schemas.microsoft.com/office/drawing/2014/main" id="{05C14042-EB27-43F1-8985-10B729FAC5B4}"/>
              </a:ext>
            </a:extLst>
          </p:cNvPr>
          <p:cNvSpPr/>
          <p:nvPr/>
        </p:nvSpPr>
        <p:spPr>
          <a:xfrm>
            <a:off x="4588768" y="2"/>
            <a:ext cx="4350934" cy="6857997"/>
          </a:xfrm>
          <a:custGeom>
            <a:avLst/>
            <a:gdLst>
              <a:gd name="connsiteX0" fmla="*/ 3469732 w 4350934"/>
              <a:gd name="connsiteY0" fmla="*/ 0 h 6857997"/>
              <a:gd name="connsiteX1" fmla="*/ 3876655 w 4350934"/>
              <a:gd name="connsiteY1" fmla="*/ 0 h 6857997"/>
              <a:gd name="connsiteX2" fmla="*/ 4006605 w 4350934"/>
              <a:gd name="connsiteY2" fmla="*/ 161589 h 6857997"/>
              <a:gd name="connsiteX3" fmla="*/ 3591950 w 4350934"/>
              <a:gd name="connsiteY3" fmla="*/ 2657472 h 6857997"/>
              <a:gd name="connsiteX4" fmla="*/ 185397 w 4350934"/>
              <a:gd name="connsiteY4" fmla="*/ 6857997 h 6857997"/>
              <a:gd name="connsiteX5" fmla="*/ 89533 w 4350934"/>
              <a:gd name="connsiteY5" fmla="*/ 6857997 h 6857997"/>
              <a:gd name="connsiteX6" fmla="*/ 57186 w 4350934"/>
              <a:gd name="connsiteY6" fmla="*/ 6743377 h 6857997"/>
              <a:gd name="connsiteX7" fmla="*/ 337133 w 4350934"/>
              <a:gd name="connsiteY7" fmla="*/ 4954553 h 6857997"/>
              <a:gd name="connsiteX8" fmla="*/ 2903567 w 4350934"/>
              <a:gd name="connsiteY8" fmla="*/ 2576544 h 6857997"/>
              <a:gd name="connsiteX9" fmla="*/ 3042543 w 4350934"/>
              <a:gd name="connsiteY9" fmla="*/ 1593265 h 6857997"/>
              <a:gd name="connsiteX10" fmla="*/ 3613495 w 4350934"/>
              <a:gd name="connsiteY10" fmla="*/ 161590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50934" h="6857997">
                <a:moveTo>
                  <a:pt x="3469732" y="0"/>
                </a:moveTo>
                <a:lnTo>
                  <a:pt x="3876655" y="0"/>
                </a:lnTo>
                <a:lnTo>
                  <a:pt x="4006605" y="161589"/>
                </a:lnTo>
                <a:cubicBezTo>
                  <a:pt x="4694142" y="1117380"/>
                  <a:pt x="4245485" y="2135086"/>
                  <a:pt x="3591950" y="2657472"/>
                </a:cubicBezTo>
                <a:cubicBezTo>
                  <a:pt x="2894846" y="3214684"/>
                  <a:pt x="41745" y="3986210"/>
                  <a:pt x="185397" y="6857997"/>
                </a:cubicBezTo>
                <a:lnTo>
                  <a:pt x="89533" y="6857997"/>
                </a:lnTo>
                <a:lnTo>
                  <a:pt x="57186" y="6743377"/>
                </a:lnTo>
                <a:cubicBezTo>
                  <a:pt x="-67154" y="6229267"/>
                  <a:pt x="4758" y="5530556"/>
                  <a:pt x="337133" y="4954553"/>
                </a:cubicBezTo>
                <a:cubicBezTo>
                  <a:pt x="780300" y="4186549"/>
                  <a:pt x="2249464" y="2958959"/>
                  <a:pt x="2903567" y="2576544"/>
                </a:cubicBezTo>
                <a:cubicBezTo>
                  <a:pt x="3557669" y="2194129"/>
                  <a:pt x="2924221" y="1995757"/>
                  <a:pt x="3042543" y="1593265"/>
                </a:cubicBezTo>
                <a:cubicBezTo>
                  <a:pt x="3160864" y="1190773"/>
                  <a:pt x="4374106" y="1117381"/>
                  <a:pt x="3613495" y="161590"/>
                </a:cubicBezTo>
                <a:close/>
              </a:path>
            </a:pathLst>
          </a:custGeom>
          <a:gradFill>
            <a:gsLst>
              <a:gs pos="0">
                <a:srgbClr val="A3D5FF">
                  <a:alpha val="9000"/>
                </a:srgbClr>
              </a:gs>
              <a:gs pos="100000">
                <a:srgbClr val="68B4F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16" name="Group 15">
            <a:extLst>
              <a:ext uri="{FF2B5EF4-FFF2-40B4-BE49-F238E27FC236}">
                <a16:creationId xmlns:a16="http://schemas.microsoft.com/office/drawing/2014/main" id="{B30289C1-C99C-4185-805D-6E6B2EBC5112}"/>
              </a:ext>
            </a:extLst>
          </p:cNvPr>
          <p:cNvGrpSpPr/>
          <p:nvPr/>
        </p:nvGrpSpPr>
        <p:grpSpPr>
          <a:xfrm>
            <a:off x="5487812" y="1117332"/>
            <a:ext cx="6317090" cy="4450528"/>
            <a:chOff x="5674126" y="1716417"/>
            <a:chExt cx="4535769" cy="3195548"/>
          </a:xfrm>
        </p:grpSpPr>
        <p:sp>
          <p:nvSpPr>
            <p:cNvPr id="28" name="Oval 254">
              <a:extLst>
                <a:ext uri="{FF2B5EF4-FFF2-40B4-BE49-F238E27FC236}">
                  <a16:creationId xmlns:a16="http://schemas.microsoft.com/office/drawing/2014/main" id="{482B46FB-2BC8-4D5E-BBED-76935E0B7938}"/>
                </a:ext>
              </a:extLst>
            </p:cNvPr>
            <p:cNvSpPr/>
            <p:nvPr/>
          </p:nvSpPr>
          <p:spPr>
            <a:xfrm>
              <a:off x="5854993" y="4408141"/>
              <a:ext cx="739290" cy="178302"/>
            </a:xfrm>
            <a:custGeom>
              <a:avLst/>
              <a:gdLst>
                <a:gd name="connsiteX0" fmla="*/ 0 w 738650"/>
                <a:gd name="connsiteY0" fmla="*/ 140575 h 281150"/>
                <a:gd name="connsiteX1" fmla="*/ 369325 w 738650"/>
                <a:gd name="connsiteY1" fmla="*/ 0 h 281150"/>
                <a:gd name="connsiteX2" fmla="*/ 738650 w 738650"/>
                <a:gd name="connsiteY2" fmla="*/ 140575 h 281150"/>
                <a:gd name="connsiteX3" fmla="*/ 369325 w 738650"/>
                <a:gd name="connsiteY3" fmla="*/ 281150 h 281150"/>
                <a:gd name="connsiteX4" fmla="*/ 0 w 738650"/>
                <a:gd name="connsiteY4" fmla="*/ 140575 h 281150"/>
                <a:gd name="connsiteX0" fmla="*/ 0 w 738650"/>
                <a:gd name="connsiteY0" fmla="*/ 140575 h 172260"/>
                <a:gd name="connsiteX1" fmla="*/ 369325 w 738650"/>
                <a:gd name="connsiteY1" fmla="*/ 0 h 172260"/>
                <a:gd name="connsiteX2" fmla="*/ 738650 w 738650"/>
                <a:gd name="connsiteY2" fmla="*/ 140575 h 172260"/>
                <a:gd name="connsiteX3" fmla="*/ 369325 w 738650"/>
                <a:gd name="connsiteY3" fmla="*/ 128750 h 172260"/>
                <a:gd name="connsiteX4" fmla="*/ 0 w 738650"/>
                <a:gd name="connsiteY4" fmla="*/ 140575 h 172260"/>
                <a:gd name="connsiteX0" fmla="*/ 640 w 739290"/>
                <a:gd name="connsiteY0" fmla="*/ 140575 h 178302"/>
                <a:gd name="connsiteX1" fmla="*/ 369965 w 739290"/>
                <a:gd name="connsiteY1" fmla="*/ 0 h 178302"/>
                <a:gd name="connsiteX2" fmla="*/ 739290 w 739290"/>
                <a:gd name="connsiteY2" fmla="*/ 140575 h 178302"/>
                <a:gd name="connsiteX3" fmla="*/ 369965 w 739290"/>
                <a:gd name="connsiteY3" fmla="*/ 128750 h 178302"/>
                <a:gd name="connsiteX4" fmla="*/ 640 w 739290"/>
                <a:gd name="connsiteY4" fmla="*/ 140575 h 178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290" h="178302">
                  <a:moveTo>
                    <a:pt x="640" y="140575"/>
                  </a:moveTo>
                  <a:cubicBezTo>
                    <a:pt x="-12060" y="49267"/>
                    <a:pt x="165992" y="0"/>
                    <a:pt x="369965" y="0"/>
                  </a:cubicBezTo>
                  <a:cubicBezTo>
                    <a:pt x="573938" y="0"/>
                    <a:pt x="739290" y="62938"/>
                    <a:pt x="739290" y="140575"/>
                  </a:cubicBezTo>
                  <a:cubicBezTo>
                    <a:pt x="739290" y="218212"/>
                    <a:pt x="573938" y="128750"/>
                    <a:pt x="369965" y="128750"/>
                  </a:cubicBezTo>
                  <a:cubicBezTo>
                    <a:pt x="165992" y="128750"/>
                    <a:pt x="13340" y="231883"/>
                    <a:pt x="640" y="140575"/>
                  </a:cubicBezTo>
                  <a:close/>
                </a:path>
              </a:pathLst>
            </a:custGeom>
            <a:solidFill>
              <a:schemeClr val="tx1">
                <a:lumMod val="95000"/>
                <a:lumOff val="5000"/>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7" name="Oval 16">
              <a:extLst>
                <a:ext uri="{FF2B5EF4-FFF2-40B4-BE49-F238E27FC236}">
                  <a16:creationId xmlns:a16="http://schemas.microsoft.com/office/drawing/2014/main" id="{5ED75235-C4F3-49AC-838A-8266530304B1}"/>
                </a:ext>
              </a:extLst>
            </p:cNvPr>
            <p:cNvSpPr/>
            <p:nvPr/>
          </p:nvSpPr>
          <p:spPr>
            <a:xfrm>
              <a:off x="7466529" y="4679136"/>
              <a:ext cx="1560887" cy="232829"/>
            </a:xfrm>
            <a:prstGeom prst="ellipse">
              <a:avLst/>
            </a:prstGeom>
            <a:solidFill>
              <a:schemeClr val="tx1">
                <a:lumMod val="95000"/>
                <a:lumOff val="5000"/>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8" name="Oval 17">
              <a:extLst>
                <a:ext uri="{FF2B5EF4-FFF2-40B4-BE49-F238E27FC236}">
                  <a16:creationId xmlns:a16="http://schemas.microsoft.com/office/drawing/2014/main" id="{CBBE9C92-AAF2-43D1-A93E-22BCF16C9FAD}"/>
                </a:ext>
              </a:extLst>
            </p:cNvPr>
            <p:cNvSpPr/>
            <p:nvPr/>
          </p:nvSpPr>
          <p:spPr>
            <a:xfrm>
              <a:off x="9042997" y="4613623"/>
              <a:ext cx="404323" cy="53004"/>
            </a:xfrm>
            <a:prstGeom prst="ellipse">
              <a:avLst/>
            </a:prstGeom>
            <a:solidFill>
              <a:schemeClr val="tx1">
                <a:lumMod val="95000"/>
                <a:lumOff val="5000"/>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19" name="Graphic 106">
              <a:extLst>
                <a:ext uri="{FF2B5EF4-FFF2-40B4-BE49-F238E27FC236}">
                  <a16:creationId xmlns:a16="http://schemas.microsoft.com/office/drawing/2014/main" id="{5F2D11E2-4A7E-4AD9-84C6-7FE91178C33A}"/>
                </a:ext>
              </a:extLst>
            </p:cNvPr>
            <p:cNvGrpSpPr/>
            <p:nvPr/>
          </p:nvGrpSpPr>
          <p:grpSpPr>
            <a:xfrm>
              <a:off x="8724624" y="2966278"/>
              <a:ext cx="1228102" cy="1668127"/>
              <a:chOff x="4901474" y="2490645"/>
              <a:chExt cx="1745363" cy="2370721"/>
            </a:xfrm>
            <a:solidFill>
              <a:schemeClr val="accent1"/>
            </a:solidFill>
          </p:grpSpPr>
          <p:sp>
            <p:nvSpPr>
              <p:cNvPr id="182" name="Freeform: Shape 181">
                <a:extLst>
                  <a:ext uri="{FF2B5EF4-FFF2-40B4-BE49-F238E27FC236}">
                    <a16:creationId xmlns:a16="http://schemas.microsoft.com/office/drawing/2014/main" id="{F41A5229-4D14-4B78-915A-90B6F2BEA01C}"/>
                  </a:ext>
                </a:extLst>
              </p:cNvPr>
              <p:cNvSpPr/>
              <p:nvPr/>
            </p:nvSpPr>
            <p:spPr>
              <a:xfrm>
                <a:off x="5557440" y="3127686"/>
                <a:ext cx="897159" cy="1388976"/>
              </a:xfrm>
              <a:custGeom>
                <a:avLst/>
                <a:gdLst>
                  <a:gd name="connsiteX0" fmla="*/ 11941 w 897159"/>
                  <a:gd name="connsiteY0" fmla="*/ 1392381 h 1388975"/>
                  <a:gd name="connsiteX1" fmla="*/ 166026 w 897159"/>
                  <a:gd name="connsiteY1" fmla="*/ 1069403 h 1388975"/>
                  <a:gd name="connsiteX2" fmla="*/ 319354 w 897159"/>
                  <a:gd name="connsiteY2" fmla="*/ 858679 h 1388975"/>
                  <a:gd name="connsiteX3" fmla="*/ 530943 w 897159"/>
                  <a:gd name="connsiteY3" fmla="*/ 573534 h 1388975"/>
                  <a:gd name="connsiteX4" fmla="*/ 688756 w 897159"/>
                  <a:gd name="connsiteY4" fmla="*/ 417936 h 1388975"/>
                  <a:gd name="connsiteX5" fmla="*/ 887050 w 897159"/>
                  <a:gd name="connsiteY5" fmla="*/ 0 h 1388975"/>
                  <a:gd name="connsiteX6" fmla="*/ 897643 w 897159"/>
                  <a:gd name="connsiteY6" fmla="*/ 7945 h 1388975"/>
                  <a:gd name="connsiteX7" fmla="*/ 701889 w 897159"/>
                  <a:gd name="connsiteY7" fmla="*/ 419719 h 1388975"/>
                  <a:gd name="connsiteX8" fmla="*/ 537212 w 897159"/>
                  <a:gd name="connsiteY8" fmla="*/ 585207 h 1388975"/>
                  <a:gd name="connsiteX9" fmla="*/ 332595 w 897159"/>
                  <a:gd name="connsiteY9" fmla="*/ 858247 h 1388975"/>
                  <a:gd name="connsiteX10" fmla="*/ 172187 w 897159"/>
                  <a:gd name="connsiteY10" fmla="*/ 1081131 h 1388975"/>
                  <a:gd name="connsiteX11" fmla="*/ 24858 w 897159"/>
                  <a:gd name="connsiteY11" fmla="*/ 1389516 h 1388975"/>
                  <a:gd name="connsiteX12" fmla="*/ 11941 w 897159"/>
                  <a:gd name="connsiteY12" fmla="*/ 1392381 h 138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7159" h="1388975">
                    <a:moveTo>
                      <a:pt x="11941" y="1392381"/>
                    </a:moveTo>
                    <a:cubicBezTo>
                      <a:pt x="-35457" y="1175766"/>
                      <a:pt x="66960" y="1121666"/>
                      <a:pt x="166026" y="1069403"/>
                    </a:cubicBezTo>
                    <a:cubicBezTo>
                      <a:pt x="246986" y="1026707"/>
                      <a:pt x="323407" y="986335"/>
                      <a:pt x="319354" y="858679"/>
                    </a:cubicBezTo>
                    <a:cubicBezTo>
                      <a:pt x="313949" y="689408"/>
                      <a:pt x="429228" y="627849"/>
                      <a:pt x="530943" y="573534"/>
                    </a:cubicBezTo>
                    <a:cubicBezTo>
                      <a:pt x="606607" y="533107"/>
                      <a:pt x="678109" y="494951"/>
                      <a:pt x="688756" y="417936"/>
                    </a:cubicBezTo>
                    <a:cubicBezTo>
                      <a:pt x="714428" y="232613"/>
                      <a:pt x="885321" y="2324"/>
                      <a:pt x="887050" y="0"/>
                    </a:cubicBezTo>
                    <a:lnTo>
                      <a:pt x="897643" y="7945"/>
                    </a:lnTo>
                    <a:cubicBezTo>
                      <a:pt x="895968" y="10215"/>
                      <a:pt x="727075" y="237855"/>
                      <a:pt x="701889" y="419719"/>
                    </a:cubicBezTo>
                    <a:cubicBezTo>
                      <a:pt x="690324" y="503436"/>
                      <a:pt x="615903" y="543160"/>
                      <a:pt x="537212" y="585207"/>
                    </a:cubicBezTo>
                    <a:cubicBezTo>
                      <a:pt x="434093" y="640280"/>
                      <a:pt x="327461" y="697244"/>
                      <a:pt x="332595" y="858247"/>
                    </a:cubicBezTo>
                    <a:cubicBezTo>
                      <a:pt x="336919" y="994226"/>
                      <a:pt x="253202" y="1038381"/>
                      <a:pt x="172187" y="1081131"/>
                    </a:cubicBezTo>
                    <a:cubicBezTo>
                      <a:pt x="73175" y="1133394"/>
                      <a:pt x="-20378" y="1182737"/>
                      <a:pt x="24858" y="1389516"/>
                    </a:cubicBezTo>
                    <a:lnTo>
                      <a:pt x="11941" y="1392381"/>
                    </a:lnTo>
                    <a:close/>
                  </a:path>
                </a:pathLst>
              </a:custGeom>
              <a:solidFill>
                <a:schemeClr val="accent6">
                  <a:lumMod val="75000"/>
                </a:schemeClr>
              </a:solidFill>
              <a:ln w="5398" cap="flat">
                <a:noFill/>
                <a:prstDash val="solid"/>
                <a:miter/>
              </a:ln>
            </p:spPr>
            <p:txBody>
              <a:bodyPr rtlCol="0" anchor="ctr"/>
              <a:lstStyle/>
              <a:p>
                <a:endParaRPr lang="en-ID"/>
              </a:p>
            </p:txBody>
          </p:sp>
          <p:sp>
            <p:nvSpPr>
              <p:cNvPr id="183" name="Freeform: Shape 182">
                <a:extLst>
                  <a:ext uri="{FF2B5EF4-FFF2-40B4-BE49-F238E27FC236}">
                    <a16:creationId xmlns:a16="http://schemas.microsoft.com/office/drawing/2014/main" id="{18C821A2-F917-42A6-8C79-EC8770B7EDFD}"/>
                  </a:ext>
                </a:extLst>
              </p:cNvPr>
              <p:cNvSpPr/>
              <p:nvPr/>
            </p:nvSpPr>
            <p:spPr>
              <a:xfrm>
                <a:off x="5479449" y="2921204"/>
                <a:ext cx="1167388" cy="1540304"/>
              </a:xfrm>
              <a:custGeom>
                <a:avLst/>
                <a:gdLst>
                  <a:gd name="connsiteX0" fmla="*/ 141978 w 1167388"/>
                  <a:gd name="connsiteY0" fmla="*/ 1543629 h 1540304"/>
                  <a:gd name="connsiteX1" fmla="*/ 135114 w 1167388"/>
                  <a:gd name="connsiteY1" fmla="*/ 1543359 h 1540304"/>
                  <a:gd name="connsiteX2" fmla="*/ 2972 w 1167388"/>
                  <a:gd name="connsiteY2" fmla="*/ 1440942 h 1540304"/>
                  <a:gd name="connsiteX3" fmla="*/ 0 w 1167388"/>
                  <a:gd name="connsiteY3" fmla="*/ 1436780 h 1540304"/>
                  <a:gd name="connsiteX4" fmla="*/ 3297 w 1167388"/>
                  <a:gd name="connsiteY4" fmla="*/ 1432835 h 1540304"/>
                  <a:gd name="connsiteX5" fmla="*/ 52046 w 1167388"/>
                  <a:gd name="connsiteY5" fmla="*/ 1165957 h 1540304"/>
                  <a:gd name="connsiteX6" fmla="*/ 29887 w 1167388"/>
                  <a:gd name="connsiteY6" fmla="*/ 1069593 h 1540304"/>
                  <a:gd name="connsiteX7" fmla="*/ 24266 w 1167388"/>
                  <a:gd name="connsiteY7" fmla="*/ 990146 h 1540304"/>
                  <a:gd name="connsiteX8" fmla="*/ 186134 w 1167388"/>
                  <a:gd name="connsiteY8" fmla="*/ 927183 h 1540304"/>
                  <a:gd name="connsiteX9" fmla="*/ 375078 w 1167388"/>
                  <a:gd name="connsiteY9" fmla="*/ 653603 h 1540304"/>
                  <a:gd name="connsiteX10" fmla="*/ 528027 w 1167388"/>
                  <a:gd name="connsiteY10" fmla="*/ 445797 h 1540304"/>
                  <a:gd name="connsiteX11" fmla="*/ 847978 w 1167388"/>
                  <a:gd name="connsiteY11" fmla="*/ 204483 h 1540304"/>
                  <a:gd name="connsiteX12" fmla="*/ 1110586 w 1167388"/>
                  <a:gd name="connsiteY12" fmla="*/ 28 h 1540304"/>
                  <a:gd name="connsiteX13" fmla="*/ 1148040 w 1167388"/>
                  <a:gd name="connsiteY13" fmla="*/ 18620 h 1540304"/>
                  <a:gd name="connsiteX14" fmla="*/ 1101723 w 1167388"/>
                  <a:gd name="connsiteY14" fmla="*/ 281768 h 1540304"/>
                  <a:gd name="connsiteX15" fmla="*/ 1044650 w 1167388"/>
                  <a:gd name="connsiteY15" fmla="*/ 494006 h 1540304"/>
                  <a:gd name="connsiteX16" fmla="*/ 1057837 w 1167388"/>
                  <a:gd name="connsiteY16" fmla="*/ 663332 h 1540304"/>
                  <a:gd name="connsiteX17" fmla="*/ 861219 w 1167388"/>
                  <a:gd name="connsiteY17" fmla="*/ 767748 h 1540304"/>
                  <a:gd name="connsiteX18" fmla="*/ 747074 w 1167388"/>
                  <a:gd name="connsiteY18" fmla="*/ 990849 h 1540304"/>
                  <a:gd name="connsiteX19" fmla="*/ 563859 w 1167388"/>
                  <a:gd name="connsiteY19" fmla="*/ 1272697 h 1540304"/>
                  <a:gd name="connsiteX20" fmla="*/ 299954 w 1167388"/>
                  <a:gd name="connsiteY20" fmla="*/ 1436456 h 1540304"/>
                  <a:gd name="connsiteX21" fmla="*/ 141978 w 1167388"/>
                  <a:gd name="connsiteY21" fmla="*/ 1543629 h 1540304"/>
                  <a:gd name="connsiteX22" fmla="*/ 16646 w 1167388"/>
                  <a:gd name="connsiteY22" fmla="*/ 1437321 h 1540304"/>
                  <a:gd name="connsiteX23" fmla="*/ 136087 w 1167388"/>
                  <a:gd name="connsiteY23" fmla="*/ 1530172 h 1540304"/>
                  <a:gd name="connsiteX24" fmla="*/ 290550 w 1167388"/>
                  <a:gd name="connsiteY24" fmla="*/ 1427376 h 1540304"/>
                  <a:gd name="connsiteX25" fmla="*/ 562887 w 1167388"/>
                  <a:gd name="connsiteY25" fmla="*/ 1259564 h 1540304"/>
                  <a:gd name="connsiteX26" fmla="*/ 734049 w 1167388"/>
                  <a:gd name="connsiteY26" fmla="*/ 989606 h 1540304"/>
                  <a:gd name="connsiteX27" fmla="*/ 859436 w 1167388"/>
                  <a:gd name="connsiteY27" fmla="*/ 754669 h 1540304"/>
                  <a:gd name="connsiteX28" fmla="*/ 1046164 w 1167388"/>
                  <a:gd name="connsiteY28" fmla="*/ 657224 h 1540304"/>
                  <a:gd name="connsiteX29" fmla="*/ 1032868 w 1167388"/>
                  <a:gd name="connsiteY29" fmla="*/ 500005 h 1540304"/>
                  <a:gd name="connsiteX30" fmla="*/ 1089995 w 1167388"/>
                  <a:gd name="connsiteY30" fmla="*/ 275715 h 1540304"/>
                  <a:gd name="connsiteX31" fmla="*/ 1137933 w 1167388"/>
                  <a:gd name="connsiteY31" fmla="*/ 27159 h 1540304"/>
                  <a:gd name="connsiteX32" fmla="*/ 1110154 w 1167388"/>
                  <a:gd name="connsiteY32" fmla="*/ 13269 h 1540304"/>
                  <a:gd name="connsiteX33" fmla="*/ 857544 w 1167388"/>
                  <a:gd name="connsiteY33" fmla="*/ 213725 h 1540304"/>
                  <a:gd name="connsiteX34" fmla="*/ 530945 w 1167388"/>
                  <a:gd name="connsiteY34" fmla="*/ 459093 h 1540304"/>
                  <a:gd name="connsiteX35" fmla="*/ 527541 w 1167388"/>
                  <a:gd name="connsiteY35" fmla="*/ 459038 h 1540304"/>
                  <a:gd name="connsiteX36" fmla="*/ 387778 w 1167388"/>
                  <a:gd name="connsiteY36" fmla="*/ 657386 h 1540304"/>
                  <a:gd name="connsiteX37" fmla="*/ 189160 w 1167388"/>
                  <a:gd name="connsiteY37" fmla="*/ 940100 h 1540304"/>
                  <a:gd name="connsiteX38" fmla="*/ 35670 w 1167388"/>
                  <a:gd name="connsiteY38" fmla="*/ 996902 h 1540304"/>
                  <a:gd name="connsiteX39" fmla="*/ 42642 w 1167388"/>
                  <a:gd name="connsiteY39" fmla="*/ 1066080 h 1540304"/>
                  <a:gd name="connsiteX40" fmla="*/ 65125 w 1167388"/>
                  <a:gd name="connsiteY40" fmla="*/ 1163957 h 1540304"/>
                  <a:gd name="connsiteX41" fmla="*/ 16646 w 1167388"/>
                  <a:gd name="connsiteY41" fmla="*/ 1437321 h 154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67388" h="1540304">
                    <a:moveTo>
                      <a:pt x="141978" y="1543629"/>
                    </a:moveTo>
                    <a:cubicBezTo>
                      <a:pt x="139708" y="1543629"/>
                      <a:pt x="137438" y="1543521"/>
                      <a:pt x="135114" y="1543359"/>
                    </a:cubicBezTo>
                    <a:cubicBezTo>
                      <a:pt x="92256" y="1540170"/>
                      <a:pt x="50262" y="1507634"/>
                      <a:pt x="2972" y="1440942"/>
                    </a:cubicBezTo>
                    <a:lnTo>
                      <a:pt x="0" y="1436780"/>
                    </a:lnTo>
                    <a:lnTo>
                      <a:pt x="3297" y="1432835"/>
                    </a:lnTo>
                    <a:cubicBezTo>
                      <a:pt x="4053" y="1431916"/>
                      <a:pt x="79934" y="1339498"/>
                      <a:pt x="52046" y="1165957"/>
                    </a:cubicBezTo>
                    <a:cubicBezTo>
                      <a:pt x="45561" y="1125423"/>
                      <a:pt x="36859" y="1094455"/>
                      <a:pt x="29887" y="1069593"/>
                    </a:cubicBezTo>
                    <a:cubicBezTo>
                      <a:pt x="19727" y="1033275"/>
                      <a:pt x="12971" y="1009278"/>
                      <a:pt x="24266" y="990146"/>
                    </a:cubicBezTo>
                    <a:cubicBezTo>
                      <a:pt x="38589" y="965826"/>
                      <a:pt x="77231" y="953125"/>
                      <a:pt x="186134" y="927183"/>
                    </a:cubicBezTo>
                    <a:cubicBezTo>
                      <a:pt x="302116" y="899566"/>
                      <a:pt x="340867" y="768883"/>
                      <a:pt x="375078" y="653603"/>
                    </a:cubicBezTo>
                    <a:cubicBezTo>
                      <a:pt x="407289" y="545025"/>
                      <a:pt x="437825" y="442609"/>
                      <a:pt x="528027" y="445797"/>
                    </a:cubicBezTo>
                    <a:cubicBezTo>
                      <a:pt x="610933" y="448932"/>
                      <a:pt x="736914" y="319006"/>
                      <a:pt x="847978" y="204483"/>
                    </a:cubicBezTo>
                    <a:cubicBezTo>
                      <a:pt x="951097" y="98175"/>
                      <a:pt x="1048379" y="-1918"/>
                      <a:pt x="1110586" y="28"/>
                    </a:cubicBezTo>
                    <a:cubicBezTo>
                      <a:pt x="1125557" y="568"/>
                      <a:pt x="1138150" y="6838"/>
                      <a:pt x="1148040" y="18620"/>
                    </a:cubicBezTo>
                    <a:cubicBezTo>
                      <a:pt x="1203491" y="84664"/>
                      <a:pt x="1151769" y="184864"/>
                      <a:pt x="1101723" y="281768"/>
                    </a:cubicBezTo>
                    <a:cubicBezTo>
                      <a:pt x="1059027" y="364458"/>
                      <a:pt x="1018708" y="442555"/>
                      <a:pt x="1044650" y="494006"/>
                    </a:cubicBezTo>
                    <a:cubicBezTo>
                      <a:pt x="1077294" y="558699"/>
                      <a:pt x="1081834" y="617284"/>
                      <a:pt x="1057837" y="663332"/>
                    </a:cubicBezTo>
                    <a:cubicBezTo>
                      <a:pt x="1029463" y="717864"/>
                      <a:pt x="963311" y="752993"/>
                      <a:pt x="861219" y="767748"/>
                    </a:cubicBezTo>
                    <a:cubicBezTo>
                      <a:pt x="767882" y="781259"/>
                      <a:pt x="757776" y="883082"/>
                      <a:pt x="747074" y="990849"/>
                    </a:cubicBezTo>
                    <a:cubicBezTo>
                      <a:pt x="734590" y="1116613"/>
                      <a:pt x="720484" y="1259186"/>
                      <a:pt x="563859" y="1272697"/>
                    </a:cubicBezTo>
                    <a:cubicBezTo>
                      <a:pt x="447553" y="1282750"/>
                      <a:pt x="369132" y="1364413"/>
                      <a:pt x="299954" y="1436456"/>
                    </a:cubicBezTo>
                    <a:cubicBezTo>
                      <a:pt x="245097" y="1493853"/>
                      <a:pt x="197321" y="1543629"/>
                      <a:pt x="141978" y="1543629"/>
                    </a:cubicBezTo>
                    <a:close/>
                    <a:moveTo>
                      <a:pt x="16646" y="1437321"/>
                    </a:moveTo>
                    <a:cubicBezTo>
                      <a:pt x="59775" y="1497041"/>
                      <a:pt x="98850" y="1527415"/>
                      <a:pt x="136087" y="1530172"/>
                    </a:cubicBezTo>
                    <a:cubicBezTo>
                      <a:pt x="188133" y="1534009"/>
                      <a:pt x="235586" y="1484611"/>
                      <a:pt x="290550" y="1427376"/>
                    </a:cubicBezTo>
                    <a:cubicBezTo>
                      <a:pt x="361350" y="1353658"/>
                      <a:pt x="441608" y="1270103"/>
                      <a:pt x="562887" y="1259564"/>
                    </a:cubicBezTo>
                    <a:cubicBezTo>
                      <a:pt x="708540" y="1246972"/>
                      <a:pt x="721511" y="1116127"/>
                      <a:pt x="734049" y="989606"/>
                    </a:cubicBezTo>
                    <a:cubicBezTo>
                      <a:pt x="745237" y="876488"/>
                      <a:pt x="755830" y="769694"/>
                      <a:pt x="859436" y="754669"/>
                    </a:cubicBezTo>
                    <a:cubicBezTo>
                      <a:pt x="957042" y="740509"/>
                      <a:pt x="1019897" y="707757"/>
                      <a:pt x="1046164" y="657224"/>
                    </a:cubicBezTo>
                    <a:cubicBezTo>
                      <a:pt x="1068106" y="615123"/>
                      <a:pt x="1063512" y="560753"/>
                      <a:pt x="1032868" y="500005"/>
                    </a:cubicBezTo>
                    <a:cubicBezTo>
                      <a:pt x="1003846" y="442447"/>
                      <a:pt x="1045677" y="361432"/>
                      <a:pt x="1089995" y="275715"/>
                    </a:cubicBezTo>
                    <a:cubicBezTo>
                      <a:pt x="1138041" y="182649"/>
                      <a:pt x="1187710" y="86447"/>
                      <a:pt x="1137933" y="27159"/>
                    </a:cubicBezTo>
                    <a:cubicBezTo>
                      <a:pt x="1130421" y="18187"/>
                      <a:pt x="1121341" y="13647"/>
                      <a:pt x="1110154" y="13269"/>
                    </a:cubicBezTo>
                    <a:cubicBezTo>
                      <a:pt x="1053892" y="11378"/>
                      <a:pt x="958501" y="109579"/>
                      <a:pt x="857544" y="213725"/>
                    </a:cubicBezTo>
                    <a:cubicBezTo>
                      <a:pt x="740481" y="334409"/>
                      <a:pt x="619526" y="459093"/>
                      <a:pt x="530945" y="459093"/>
                    </a:cubicBezTo>
                    <a:cubicBezTo>
                      <a:pt x="529811" y="459093"/>
                      <a:pt x="528676" y="459093"/>
                      <a:pt x="527541" y="459038"/>
                    </a:cubicBezTo>
                    <a:cubicBezTo>
                      <a:pt x="447499" y="456066"/>
                      <a:pt x="419827" y="549349"/>
                      <a:pt x="387778" y="657386"/>
                    </a:cubicBezTo>
                    <a:cubicBezTo>
                      <a:pt x="352540" y="776125"/>
                      <a:pt x="312601" y="910699"/>
                      <a:pt x="189160" y="940100"/>
                    </a:cubicBezTo>
                    <a:cubicBezTo>
                      <a:pt x="90689" y="963556"/>
                      <a:pt x="47560" y="976635"/>
                      <a:pt x="35670" y="996902"/>
                    </a:cubicBezTo>
                    <a:cubicBezTo>
                      <a:pt x="27239" y="1011170"/>
                      <a:pt x="33076" y="1031870"/>
                      <a:pt x="42642" y="1066080"/>
                    </a:cubicBezTo>
                    <a:cubicBezTo>
                      <a:pt x="49722" y="1091320"/>
                      <a:pt x="58532" y="1122666"/>
                      <a:pt x="65125" y="1163957"/>
                    </a:cubicBezTo>
                    <a:cubicBezTo>
                      <a:pt x="91067" y="1325122"/>
                      <a:pt x="31617" y="1417108"/>
                      <a:pt x="16646" y="1437321"/>
                    </a:cubicBezTo>
                    <a:close/>
                  </a:path>
                </a:pathLst>
              </a:custGeom>
              <a:solidFill>
                <a:schemeClr val="accent6">
                  <a:lumMod val="75000"/>
                </a:schemeClr>
              </a:solidFill>
              <a:ln w="5398" cap="flat">
                <a:noFill/>
                <a:prstDash val="solid"/>
                <a:miter/>
              </a:ln>
            </p:spPr>
            <p:txBody>
              <a:bodyPr rtlCol="0" anchor="ctr"/>
              <a:lstStyle/>
              <a:p>
                <a:endParaRPr lang="en-ID"/>
              </a:p>
            </p:txBody>
          </p:sp>
          <p:sp>
            <p:nvSpPr>
              <p:cNvPr id="184" name="Freeform: Shape 183">
                <a:extLst>
                  <a:ext uri="{FF2B5EF4-FFF2-40B4-BE49-F238E27FC236}">
                    <a16:creationId xmlns:a16="http://schemas.microsoft.com/office/drawing/2014/main" id="{A90642AA-A750-4877-8AAA-1D9D7EE8BD51}"/>
                  </a:ext>
                </a:extLst>
              </p:cNvPr>
              <p:cNvSpPr/>
              <p:nvPr/>
            </p:nvSpPr>
            <p:spPr>
              <a:xfrm>
                <a:off x="5210175" y="2611916"/>
                <a:ext cx="751236" cy="1805128"/>
              </a:xfrm>
              <a:custGeom>
                <a:avLst/>
                <a:gdLst>
                  <a:gd name="connsiteX0" fmla="*/ 416062 w 751235"/>
                  <a:gd name="connsiteY0" fmla="*/ 1807518 h 1805128"/>
                  <a:gd name="connsiteX1" fmla="*/ 411414 w 751235"/>
                  <a:gd name="connsiteY1" fmla="*/ 1807302 h 1805128"/>
                  <a:gd name="connsiteX2" fmla="*/ 234901 w 751235"/>
                  <a:gd name="connsiteY2" fmla="*/ 1498160 h 1805128"/>
                  <a:gd name="connsiteX3" fmla="*/ 163885 w 751235"/>
                  <a:gd name="connsiteY3" fmla="*/ 1318080 h 1805128"/>
                  <a:gd name="connsiteX4" fmla="*/ 102002 w 751235"/>
                  <a:gd name="connsiteY4" fmla="*/ 1216744 h 1805128"/>
                  <a:gd name="connsiteX5" fmla="*/ 3747 w 751235"/>
                  <a:gd name="connsiteY5" fmla="*/ 954406 h 1805128"/>
                  <a:gd name="connsiteX6" fmla="*/ 97138 w 751235"/>
                  <a:gd name="connsiteY6" fmla="*/ 846098 h 1805128"/>
                  <a:gd name="connsiteX7" fmla="*/ 155778 w 751235"/>
                  <a:gd name="connsiteY7" fmla="*/ 660181 h 1805128"/>
                  <a:gd name="connsiteX8" fmla="*/ 86762 w 751235"/>
                  <a:gd name="connsiteY8" fmla="*/ 387520 h 1805128"/>
                  <a:gd name="connsiteX9" fmla="*/ 83681 w 751235"/>
                  <a:gd name="connsiteY9" fmla="*/ 240894 h 1805128"/>
                  <a:gd name="connsiteX10" fmla="*/ 107407 w 751235"/>
                  <a:gd name="connsiteY10" fmla="*/ 10497 h 1805128"/>
                  <a:gd name="connsiteX11" fmla="*/ 160696 w 751235"/>
                  <a:gd name="connsiteY11" fmla="*/ 2174 h 1805128"/>
                  <a:gd name="connsiteX12" fmla="*/ 239063 w 751235"/>
                  <a:gd name="connsiteY12" fmla="*/ 78973 h 1805128"/>
                  <a:gd name="connsiteX13" fmla="*/ 373528 w 751235"/>
                  <a:gd name="connsiteY13" fmla="*/ 192739 h 1805128"/>
                  <a:gd name="connsiteX14" fmla="*/ 546583 w 751235"/>
                  <a:gd name="connsiteY14" fmla="*/ 282779 h 1805128"/>
                  <a:gd name="connsiteX15" fmla="*/ 504589 w 751235"/>
                  <a:gd name="connsiteY15" fmla="*/ 428757 h 1805128"/>
                  <a:gd name="connsiteX16" fmla="*/ 493726 w 751235"/>
                  <a:gd name="connsiteY16" fmla="*/ 467778 h 1805128"/>
                  <a:gd name="connsiteX17" fmla="*/ 584036 w 751235"/>
                  <a:gd name="connsiteY17" fmla="*/ 531714 h 1805128"/>
                  <a:gd name="connsiteX18" fmla="*/ 749741 w 751235"/>
                  <a:gd name="connsiteY18" fmla="*/ 675259 h 1805128"/>
                  <a:gd name="connsiteX19" fmla="*/ 685642 w 751235"/>
                  <a:gd name="connsiteY19" fmla="*/ 911061 h 1805128"/>
                  <a:gd name="connsiteX20" fmla="*/ 551663 w 751235"/>
                  <a:gd name="connsiteY20" fmla="*/ 1432495 h 1805128"/>
                  <a:gd name="connsiteX21" fmla="*/ 497833 w 751235"/>
                  <a:gd name="connsiteY21" fmla="*/ 1737151 h 1805128"/>
                  <a:gd name="connsiteX22" fmla="*/ 416062 w 751235"/>
                  <a:gd name="connsiteY22" fmla="*/ 1807518 h 1805128"/>
                  <a:gd name="connsiteX23" fmla="*/ 139943 w 751235"/>
                  <a:gd name="connsiteY23" fmla="*/ 13253 h 1805128"/>
                  <a:gd name="connsiteX24" fmla="*/ 116000 w 751235"/>
                  <a:gd name="connsiteY24" fmla="*/ 20603 h 1805128"/>
                  <a:gd name="connsiteX25" fmla="*/ 96976 w 751235"/>
                  <a:gd name="connsiteY25" fmla="*/ 240569 h 1805128"/>
                  <a:gd name="connsiteX26" fmla="*/ 100057 w 751235"/>
                  <a:gd name="connsiteY26" fmla="*/ 387412 h 1805128"/>
                  <a:gd name="connsiteX27" fmla="*/ 167776 w 751235"/>
                  <a:gd name="connsiteY27" fmla="*/ 654560 h 1805128"/>
                  <a:gd name="connsiteX28" fmla="*/ 103786 w 751235"/>
                  <a:gd name="connsiteY28" fmla="*/ 857664 h 1805128"/>
                  <a:gd name="connsiteX29" fmla="*/ 16664 w 751235"/>
                  <a:gd name="connsiteY29" fmla="*/ 957595 h 1805128"/>
                  <a:gd name="connsiteX30" fmla="*/ 113136 w 751235"/>
                  <a:gd name="connsiteY30" fmla="*/ 1209610 h 1805128"/>
                  <a:gd name="connsiteX31" fmla="*/ 175613 w 751235"/>
                  <a:gd name="connsiteY31" fmla="*/ 1311919 h 1805128"/>
                  <a:gd name="connsiteX32" fmla="*/ 247386 w 751235"/>
                  <a:gd name="connsiteY32" fmla="*/ 1493891 h 1805128"/>
                  <a:gd name="connsiteX33" fmla="*/ 412603 w 751235"/>
                  <a:gd name="connsiteY33" fmla="*/ 1794223 h 1805128"/>
                  <a:gd name="connsiteX34" fmla="*/ 486322 w 751235"/>
                  <a:gd name="connsiteY34" fmla="*/ 1730665 h 1805128"/>
                  <a:gd name="connsiteX35" fmla="*/ 538422 w 751235"/>
                  <a:gd name="connsiteY35" fmla="*/ 1433089 h 1805128"/>
                  <a:gd name="connsiteX36" fmla="*/ 674401 w 751235"/>
                  <a:gd name="connsiteY36" fmla="*/ 904035 h 1805128"/>
                  <a:gd name="connsiteX37" fmla="*/ 736986 w 751235"/>
                  <a:gd name="connsiteY37" fmla="*/ 679043 h 1805128"/>
                  <a:gd name="connsiteX38" fmla="*/ 578416 w 751235"/>
                  <a:gd name="connsiteY38" fmla="*/ 543766 h 1805128"/>
                  <a:gd name="connsiteX39" fmla="*/ 480917 w 751235"/>
                  <a:gd name="connsiteY39" fmla="*/ 471291 h 1805128"/>
                  <a:gd name="connsiteX40" fmla="*/ 493672 w 751235"/>
                  <a:gd name="connsiteY40" fmla="*/ 421244 h 1805128"/>
                  <a:gd name="connsiteX41" fmla="*/ 534260 w 751235"/>
                  <a:gd name="connsiteY41" fmla="*/ 287697 h 1805128"/>
                  <a:gd name="connsiteX42" fmla="*/ 370772 w 751235"/>
                  <a:gd name="connsiteY42" fmla="*/ 205710 h 1805128"/>
                  <a:gd name="connsiteX43" fmla="*/ 227334 w 751235"/>
                  <a:gd name="connsiteY43" fmla="*/ 85242 h 1805128"/>
                  <a:gd name="connsiteX44" fmla="*/ 158210 w 751235"/>
                  <a:gd name="connsiteY44" fmla="*/ 15253 h 1805128"/>
                  <a:gd name="connsiteX45" fmla="*/ 139943 w 751235"/>
                  <a:gd name="connsiteY45" fmla="*/ 13253 h 1805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51235" h="1805128">
                    <a:moveTo>
                      <a:pt x="416062" y="1807518"/>
                    </a:moveTo>
                    <a:cubicBezTo>
                      <a:pt x="414495" y="1807518"/>
                      <a:pt x="412982" y="1807464"/>
                      <a:pt x="411414" y="1807302"/>
                    </a:cubicBezTo>
                    <a:cubicBezTo>
                      <a:pt x="341155" y="1800925"/>
                      <a:pt x="287109" y="1647002"/>
                      <a:pt x="234901" y="1498160"/>
                    </a:cubicBezTo>
                    <a:cubicBezTo>
                      <a:pt x="210094" y="1427576"/>
                      <a:pt x="186692" y="1360884"/>
                      <a:pt x="163885" y="1318080"/>
                    </a:cubicBezTo>
                    <a:cubicBezTo>
                      <a:pt x="146212" y="1284896"/>
                      <a:pt x="123729" y="1250252"/>
                      <a:pt x="102002" y="1216744"/>
                    </a:cubicBezTo>
                    <a:cubicBezTo>
                      <a:pt x="44119" y="1127568"/>
                      <a:pt x="-15709" y="1035366"/>
                      <a:pt x="3747" y="954406"/>
                    </a:cubicBezTo>
                    <a:cubicBezTo>
                      <a:pt x="14016" y="911818"/>
                      <a:pt x="44552" y="876418"/>
                      <a:pt x="97138" y="846098"/>
                    </a:cubicBezTo>
                    <a:cubicBezTo>
                      <a:pt x="212256" y="779730"/>
                      <a:pt x="194583" y="742276"/>
                      <a:pt x="155778" y="660181"/>
                    </a:cubicBezTo>
                    <a:cubicBezTo>
                      <a:pt x="127296" y="599920"/>
                      <a:pt x="88275" y="517392"/>
                      <a:pt x="86762" y="387520"/>
                    </a:cubicBezTo>
                    <a:cubicBezTo>
                      <a:pt x="86113" y="331691"/>
                      <a:pt x="84816" y="283428"/>
                      <a:pt x="83681" y="240894"/>
                    </a:cubicBezTo>
                    <a:cubicBezTo>
                      <a:pt x="80006" y="104050"/>
                      <a:pt x="78168" y="35358"/>
                      <a:pt x="107407" y="10497"/>
                    </a:cubicBezTo>
                    <a:cubicBezTo>
                      <a:pt x="119513" y="228"/>
                      <a:pt x="136430" y="-2420"/>
                      <a:pt x="160696" y="2174"/>
                    </a:cubicBezTo>
                    <a:cubicBezTo>
                      <a:pt x="202149" y="10064"/>
                      <a:pt x="220038" y="43519"/>
                      <a:pt x="239063" y="78973"/>
                    </a:cubicBezTo>
                    <a:cubicBezTo>
                      <a:pt x="263275" y="124155"/>
                      <a:pt x="290730" y="175390"/>
                      <a:pt x="373528" y="192739"/>
                    </a:cubicBezTo>
                    <a:cubicBezTo>
                      <a:pt x="451246" y="209007"/>
                      <a:pt x="525991" y="231166"/>
                      <a:pt x="546583" y="282779"/>
                    </a:cubicBezTo>
                    <a:cubicBezTo>
                      <a:pt x="561067" y="319098"/>
                      <a:pt x="547339" y="366820"/>
                      <a:pt x="504589" y="428757"/>
                    </a:cubicBezTo>
                    <a:cubicBezTo>
                      <a:pt x="494212" y="443781"/>
                      <a:pt x="490646" y="456536"/>
                      <a:pt x="493726" y="467778"/>
                    </a:cubicBezTo>
                    <a:cubicBezTo>
                      <a:pt x="500482" y="492693"/>
                      <a:pt x="539233" y="510798"/>
                      <a:pt x="584036" y="531714"/>
                    </a:cubicBezTo>
                    <a:cubicBezTo>
                      <a:pt x="647864" y="561493"/>
                      <a:pt x="727258" y="598515"/>
                      <a:pt x="749741" y="675259"/>
                    </a:cubicBezTo>
                    <a:cubicBezTo>
                      <a:pt x="767846" y="737088"/>
                      <a:pt x="746876" y="814211"/>
                      <a:pt x="685642" y="911061"/>
                    </a:cubicBezTo>
                    <a:cubicBezTo>
                      <a:pt x="540746" y="1140107"/>
                      <a:pt x="546529" y="1295434"/>
                      <a:pt x="551663" y="1432495"/>
                    </a:cubicBezTo>
                    <a:cubicBezTo>
                      <a:pt x="555500" y="1534047"/>
                      <a:pt x="559067" y="1629978"/>
                      <a:pt x="497833" y="1737151"/>
                    </a:cubicBezTo>
                    <a:cubicBezTo>
                      <a:pt x="470757" y="1784441"/>
                      <a:pt x="444004" y="1807518"/>
                      <a:pt x="416062" y="1807518"/>
                    </a:cubicBezTo>
                    <a:close/>
                    <a:moveTo>
                      <a:pt x="139943" y="13253"/>
                    </a:moveTo>
                    <a:cubicBezTo>
                      <a:pt x="129620" y="13253"/>
                      <a:pt x="121783" y="15685"/>
                      <a:pt x="116000" y="20603"/>
                    </a:cubicBezTo>
                    <a:cubicBezTo>
                      <a:pt x="91626" y="41357"/>
                      <a:pt x="93517" y="112103"/>
                      <a:pt x="96976" y="240569"/>
                    </a:cubicBezTo>
                    <a:cubicBezTo>
                      <a:pt x="98111" y="283212"/>
                      <a:pt x="99408" y="331529"/>
                      <a:pt x="100057" y="387412"/>
                    </a:cubicBezTo>
                    <a:cubicBezTo>
                      <a:pt x="101516" y="514365"/>
                      <a:pt x="139835" y="595380"/>
                      <a:pt x="167776" y="654560"/>
                    </a:cubicBezTo>
                    <a:cubicBezTo>
                      <a:pt x="206257" y="736007"/>
                      <a:pt x="229496" y="785189"/>
                      <a:pt x="103786" y="857664"/>
                    </a:cubicBezTo>
                    <a:cubicBezTo>
                      <a:pt x="54496" y="886038"/>
                      <a:pt x="26014" y="918736"/>
                      <a:pt x="16664" y="957595"/>
                    </a:cubicBezTo>
                    <a:cubicBezTo>
                      <a:pt x="-1495" y="1032988"/>
                      <a:pt x="56820" y="1122758"/>
                      <a:pt x="113136" y="1209610"/>
                    </a:cubicBezTo>
                    <a:cubicBezTo>
                      <a:pt x="135024" y="1243334"/>
                      <a:pt x="157670" y="1278194"/>
                      <a:pt x="175613" y="1311919"/>
                    </a:cubicBezTo>
                    <a:cubicBezTo>
                      <a:pt x="198906" y="1355642"/>
                      <a:pt x="222470" y="1422766"/>
                      <a:pt x="247386" y="1493891"/>
                    </a:cubicBezTo>
                    <a:cubicBezTo>
                      <a:pt x="295864" y="1632032"/>
                      <a:pt x="350829" y="1788602"/>
                      <a:pt x="412603" y="1794223"/>
                    </a:cubicBezTo>
                    <a:cubicBezTo>
                      <a:pt x="436167" y="1796331"/>
                      <a:pt x="460974" y="1774983"/>
                      <a:pt x="486322" y="1730665"/>
                    </a:cubicBezTo>
                    <a:cubicBezTo>
                      <a:pt x="545664" y="1626789"/>
                      <a:pt x="542313" y="1537019"/>
                      <a:pt x="538422" y="1433089"/>
                    </a:cubicBezTo>
                    <a:cubicBezTo>
                      <a:pt x="533234" y="1294083"/>
                      <a:pt x="527288" y="1136594"/>
                      <a:pt x="674401" y="904035"/>
                    </a:cubicBezTo>
                    <a:cubicBezTo>
                      <a:pt x="733527" y="810590"/>
                      <a:pt x="753956" y="737034"/>
                      <a:pt x="736986" y="679043"/>
                    </a:cubicBezTo>
                    <a:cubicBezTo>
                      <a:pt x="716178" y="608081"/>
                      <a:pt x="643001" y="573924"/>
                      <a:pt x="578416" y="543766"/>
                    </a:cubicBezTo>
                    <a:cubicBezTo>
                      <a:pt x="530585" y="521445"/>
                      <a:pt x="489294" y="502205"/>
                      <a:pt x="480917" y="471291"/>
                    </a:cubicBezTo>
                    <a:cubicBezTo>
                      <a:pt x="476756" y="456050"/>
                      <a:pt x="480971" y="439674"/>
                      <a:pt x="493672" y="421244"/>
                    </a:cubicBezTo>
                    <a:cubicBezTo>
                      <a:pt x="533720" y="363253"/>
                      <a:pt x="546961" y="319584"/>
                      <a:pt x="534260" y="287697"/>
                    </a:cubicBezTo>
                    <a:cubicBezTo>
                      <a:pt x="515885" y="241758"/>
                      <a:pt x="441302" y="220464"/>
                      <a:pt x="370772" y="205710"/>
                    </a:cubicBezTo>
                    <a:cubicBezTo>
                      <a:pt x="281921" y="187118"/>
                      <a:pt x="251655" y="130640"/>
                      <a:pt x="227334" y="85242"/>
                    </a:cubicBezTo>
                    <a:cubicBezTo>
                      <a:pt x="209121" y="51247"/>
                      <a:pt x="193448" y="21954"/>
                      <a:pt x="158210" y="15253"/>
                    </a:cubicBezTo>
                    <a:cubicBezTo>
                      <a:pt x="151346" y="13901"/>
                      <a:pt x="145293" y="13253"/>
                      <a:pt x="139943" y="13253"/>
                    </a:cubicBezTo>
                    <a:close/>
                  </a:path>
                </a:pathLst>
              </a:custGeom>
              <a:solidFill>
                <a:schemeClr val="accent6">
                  <a:lumMod val="75000"/>
                </a:schemeClr>
              </a:solidFill>
              <a:ln w="5398" cap="flat">
                <a:noFill/>
                <a:prstDash val="solid"/>
                <a:miter/>
              </a:ln>
            </p:spPr>
            <p:txBody>
              <a:bodyPr rtlCol="0" anchor="ctr"/>
              <a:lstStyle/>
              <a:p>
                <a:endParaRPr lang="en-ID"/>
              </a:p>
            </p:txBody>
          </p:sp>
          <p:sp>
            <p:nvSpPr>
              <p:cNvPr id="185" name="Freeform: Shape 184">
                <a:extLst>
                  <a:ext uri="{FF2B5EF4-FFF2-40B4-BE49-F238E27FC236}">
                    <a16:creationId xmlns:a16="http://schemas.microsoft.com/office/drawing/2014/main" id="{C6292586-E39A-41FE-A21B-8AFF68E17E87}"/>
                  </a:ext>
                </a:extLst>
              </p:cNvPr>
              <p:cNvSpPr/>
              <p:nvPr/>
            </p:nvSpPr>
            <p:spPr>
              <a:xfrm>
                <a:off x="5420303" y="2856701"/>
                <a:ext cx="226992" cy="1642991"/>
              </a:xfrm>
              <a:custGeom>
                <a:avLst/>
                <a:gdLst>
                  <a:gd name="connsiteX0" fmla="*/ 207339 w 226992"/>
                  <a:gd name="connsiteY0" fmla="*/ 1644883 h 1642990"/>
                  <a:gd name="connsiteX1" fmla="*/ 194693 w 226992"/>
                  <a:gd name="connsiteY1" fmla="*/ 1640883 h 1642990"/>
                  <a:gd name="connsiteX2" fmla="*/ 99248 w 226992"/>
                  <a:gd name="connsiteY2" fmla="*/ 792473 h 1642990"/>
                  <a:gd name="connsiteX3" fmla="*/ 114597 w 226992"/>
                  <a:gd name="connsiteY3" fmla="*/ 554347 h 1642990"/>
                  <a:gd name="connsiteX4" fmla="*/ 101518 w 226992"/>
                  <a:gd name="connsiteY4" fmla="*/ 280660 h 1642990"/>
                  <a:gd name="connsiteX5" fmla="*/ 128 w 226992"/>
                  <a:gd name="connsiteY5" fmla="*/ 0 h 1642990"/>
                  <a:gd name="connsiteX6" fmla="*/ 13369 w 226992"/>
                  <a:gd name="connsiteY6" fmla="*/ 486 h 1642990"/>
                  <a:gd name="connsiteX7" fmla="*/ 109570 w 226992"/>
                  <a:gd name="connsiteY7" fmla="*/ 270175 h 1642990"/>
                  <a:gd name="connsiteX8" fmla="*/ 127568 w 226992"/>
                  <a:gd name="connsiteY8" fmla="*/ 556888 h 1642990"/>
                  <a:gd name="connsiteX9" fmla="*/ 111840 w 226992"/>
                  <a:gd name="connsiteY9" fmla="*/ 788528 h 1642990"/>
                  <a:gd name="connsiteX10" fmla="*/ 207339 w 226992"/>
                  <a:gd name="connsiteY10" fmla="*/ 1644883 h 164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6992" h="1642990">
                    <a:moveTo>
                      <a:pt x="207339" y="1644883"/>
                    </a:moveTo>
                    <a:lnTo>
                      <a:pt x="194693" y="1640883"/>
                    </a:lnTo>
                    <a:cubicBezTo>
                      <a:pt x="265546" y="1417026"/>
                      <a:pt x="137404" y="914724"/>
                      <a:pt x="99248" y="792473"/>
                    </a:cubicBezTo>
                    <a:cubicBezTo>
                      <a:pt x="80494" y="732374"/>
                      <a:pt x="97843" y="641847"/>
                      <a:pt x="114597" y="554347"/>
                    </a:cubicBezTo>
                    <a:cubicBezTo>
                      <a:pt x="136269" y="441338"/>
                      <a:pt x="158698" y="324491"/>
                      <a:pt x="101518" y="280660"/>
                    </a:cubicBezTo>
                    <a:cubicBezTo>
                      <a:pt x="-5817" y="198402"/>
                      <a:pt x="-142" y="8053"/>
                      <a:pt x="128" y="0"/>
                    </a:cubicBezTo>
                    <a:lnTo>
                      <a:pt x="13369" y="486"/>
                    </a:lnTo>
                    <a:cubicBezTo>
                      <a:pt x="13315" y="2378"/>
                      <a:pt x="7694" y="192079"/>
                      <a:pt x="109570" y="270175"/>
                    </a:cubicBezTo>
                    <a:cubicBezTo>
                      <a:pt x="173236" y="318978"/>
                      <a:pt x="149997" y="439932"/>
                      <a:pt x="127568" y="556888"/>
                    </a:cubicBezTo>
                    <a:cubicBezTo>
                      <a:pt x="111084" y="642766"/>
                      <a:pt x="94059" y="731617"/>
                      <a:pt x="111840" y="788528"/>
                    </a:cubicBezTo>
                    <a:cubicBezTo>
                      <a:pt x="159076" y="939748"/>
                      <a:pt x="277977" y="1421566"/>
                      <a:pt x="207339" y="1644883"/>
                    </a:cubicBezTo>
                    <a:close/>
                  </a:path>
                </a:pathLst>
              </a:custGeom>
              <a:solidFill>
                <a:schemeClr val="accent6">
                  <a:lumMod val="75000"/>
                </a:schemeClr>
              </a:solidFill>
              <a:ln w="5398" cap="flat">
                <a:noFill/>
                <a:prstDash val="solid"/>
                <a:miter/>
              </a:ln>
            </p:spPr>
            <p:txBody>
              <a:bodyPr rtlCol="0" anchor="ctr"/>
              <a:lstStyle/>
              <a:p>
                <a:endParaRPr lang="en-ID"/>
              </a:p>
            </p:txBody>
          </p:sp>
          <p:sp>
            <p:nvSpPr>
              <p:cNvPr id="186" name="Freeform: Shape 185">
                <a:extLst>
                  <a:ext uri="{FF2B5EF4-FFF2-40B4-BE49-F238E27FC236}">
                    <a16:creationId xmlns:a16="http://schemas.microsoft.com/office/drawing/2014/main" id="{E1A864F8-462A-4180-96A0-78289C35EF68}"/>
                  </a:ext>
                </a:extLst>
              </p:cNvPr>
              <p:cNvSpPr/>
              <p:nvPr/>
            </p:nvSpPr>
            <p:spPr>
              <a:xfrm>
                <a:off x="4901474" y="2999390"/>
                <a:ext cx="735022" cy="1448426"/>
              </a:xfrm>
              <a:custGeom>
                <a:avLst/>
                <a:gdLst>
                  <a:gd name="connsiteX0" fmla="*/ 190413 w 735022"/>
                  <a:gd name="connsiteY0" fmla="*/ 48092 h 1448426"/>
                  <a:gd name="connsiteX1" fmla="*/ 56326 w 735022"/>
                  <a:gd name="connsiteY1" fmla="*/ 90410 h 1448426"/>
                  <a:gd name="connsiteX2" fmla="*/ 28114 w 735022"/>
                  <a:gd name="connsiteY2" fmla="*/ 489051 h 1448426"/>
                  <a:gd name="connsiteX3" fmla="*/ 264510 w 735022"/>
                  <a:gd name="connsiteY3" fmla="*/ 817163 h 1448426"/>
                  <a:gd name="connsiteX4" fmla="*/ 465614 w 735022"/>
                  <a:gd name="connsiteY4" fmla="*/ 1184080 h 1448426"/>
                  <a:gd name="connsiteX5" fmla="*/ 659639 w 735022"/>
                  <a:gd name="connsiteY5" fmla="*/ 1431015 h 1448426"/>
                  <a:gd name="connsiteX6" fmla="*/ 670448 w 735022"/>
                  <a:gd name="connsiteY6" fmla="*/ 1069395 h 1448426"/>
                  <a:gd name="connsiteX7" fmla="*/ 677474 w 735022"/>
                  <a:gd name="connsiteY7" fmla="*/ 707829 h 1448426"/>
                  <a:gd name="connsiteX8" fmla="*/ 440699 w 735022"/>
                  <a:gd name="connsiteY8" fmla="*/ 343398 h 1448426"/>
                  <a:gd name="connsiteX9" fmla="*/ 190413 w 735022"/>
                  <a:gd name="connsiteY9" fmla="*/ 48092 h 1448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5022" h="1448426">
                    <a:moveTo>
                      <a:pt x="190413" y="48092"/>
                    </a:moveTo>
                    <a:cubicBezTo>
                      <a:pt x="160905" y="-26761"/>
                      <a:pt x="45787" y="-15412"/>
                      <a:pt x="56326" y="90410"/>
                    </a:cubicBezTo>
                    <a:cubicBezTo>
                      <a:pt x="66919" y="196231"/>
                      <a:pt x="141016" y="309133"/>
                      <a:pt x="28114" y="489051"/>
                    </a:cubicBezTo>
                    <a:cubicBezTo>
                      <a:pt x="-84788" y="668970"/>
                      <a:pt x="172741" y="704262"/>
                      <a:pt x="264510" y="817163"/>
                    </a:cubicBezTo>
                    <a:cubicBezTo>
                      <a:pt x="356226" y="930065"/>
                      <a:pt x="388005" y="1085284"/>
                      <a:pt x="465614" y="1184080"/>
                    </a:cubicBezTo>
                    <a:cubicBezTo>
                      <a:pt x="543224" y="1282875"/>
                      <a:pt x="596135" y="1519218"/>
                      <a:pt x="659639" y="1431015"/>
                    </a:cubicBezTo>
                    <a:cubicBezTo>
                      <a:pt x="723142" y="1342812"/>
                      <a:pt x="663368" y="1228127"/>
                      <a:pt x="670448" y="1069395"/>
                    </a:cubicBezTo>
                    <a:cubicBezTo>
                      <a:pt x="677528" y="910662"/>
                      <a:pt x="818803" y="810137"/>
                      <a:pt x="677474" y="707829"/>
                    </a:cubicBezTo>
                    <a:cubicBezTo>
                      <a:pt x="536144" y="605520"/>
                      <a:pt x="394058" y="574174"/>
                      <a:pt x="440699" y="343398"/>
                    </a:cubicBezTo>
                    <a:cubicBezTo>
                      <a:pt x="461291" y="241576"/>
                      <a:pt x="282183" y="280921"/>
                      <a:pt x="190413" y="48092"/>
                    </a:cubicBezTo>
                    <a:close/>
                  </a:path>
                </a:pathLst>
              </a:custGeom>
              <a:solidFill>
                <a:schemeClr val="accent6"/>
              </a:solidFill>
              <a:ln w="5398" cap="flat">
                <a:noFill/>
                <a:prstDash val="solid"/>
                <a:miter/>
              </a:ln>
            </p:spPr>
            <p:txBody>
              <a:bodyPr rtlCol="0" anchor="ctr"/>
              <a:lstStyle/>
              <a:p>
                <a:endParaRPr lang="en-ID"/>
              </a:p>
            </p:txBody>
          </p:sp>
          <p:sp>
            <p:nvSpPr>
              <p:cNvPr id="187" name="Freeform: Shape 186">
                <a:extLst>
                  <a:ext uri="{FF2B5EF4-FFF2-40B4-BE49-F238E27FC236}">
                    <a16:creationId xmlns:a16="http://schemas.microsoft.com/office/drawing/2014/main" id="{BE661453-A007-4FBD-93EB-493B3CFB19A7}"/>
                  </a:ext>
                </a:extLst>
              </p:cNvPr>
              <p:cNvSpPr/>
              <p:nvPr/>
            </p:nvSpPr>
            <p:spPr>
              <a:xfrm>
                <a:off x="5134853" y="3317711"/>
                <a:ext cx="540457" cy="1129556"/>
              </a:xfrm>
              <a:custGeom>
                <a:avLst/>
                <a:gdLst>
                  <a:gd name="connsiteX0" fmla="*/ 529108 w 540457"/>
                  <a:gd name="connsiteY0" fmla="*/ 1133123 h 1129556"/>
                  <a:gd name="connsiteX1" fmla="*/ 274228 w 540457"/>
                  <a:gd name="connsiteY1" fmla="*/ 535972 h 1129556"/>
                  <a:gd name="connsiteX2" fmla="*/ 0 w 540457"/>
                  <a:gd name="connsiteY2" fmla="*/ 2864 h 1129556"/>
                  <a:gd name="connsiteX3" fmla="*/ 12917 w 540457"/>
                  <a:gd name="connsiteY3" fmla="*/ 0 h 1129556"/>
                  <a:gd name="connsiteX4" fmla="*/ 282011 w 540457"/>
                  <a:gd name="connsiteY4" fmla="*/ 525271 h 1129556"/>
                  <a:gd name="connsiteX5" fmla="*/ 542187 w 540457"/>
                  <a:gd name="connsiteY5" fmla="*/ 1131015 h 1129556"/>
                  <a:gd name="connsiteX6" fmla="*/ 529108 w 540457"/>
                  <a:gd name="connsiteY6" fmla="*/ 1133123 h 112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457" h="1129556">
                    <a:moveTo>
                      <a:pt x="529108" y="1133123"/>
                    </a:moveTo>
                    <a:cubicBezTo>
                      <a:pt x="528351" y="1128421"/>
                      <a:pt x="449877" y="663412"/>
                      <a:pt x="274228" y="535972"/>
                    </a:cubicBezTo>
                    <a:cubicBezTo>
                      <a:pt x="95121" y="405992"/>
                      <a:pt x="62585" y="285956"/>
                      <a:pt x="0" y="2864"/>
                    </a:cubicBezTo>
                    <a:lnTo>
                      <a:pt x="12917" y="0"/>
                    </a:lnTo>
                    <a:cubicBezTo>
                      <a:pt x="74691" y="279579"/>
                      <a:pt x="106794" y="398155"/>
                      <a:pt x="282011" y="525271"/>
                    </a:cubicBezTo>
                    <a:cubicBezTo>
                      <a:pt x="462091" y="655899"/>
                      <a:pt x="538999" y="1111667"/>
                      <a:pt x="542187" y="1131015"/>
                    </a:cubicBezTo>
                    <a:lnTo>
                      <a:pt x="529108" y="1133123"/>
                    </a:lnTo>
                    <a:close/>
                  </a:path>
                </a:pathLst>
              </a:custGeom>
              <a:solidFill>
                <a:srgbClr val="FFFFFF"/>
              </a:solidFill>
              <a:ln w="5398" cap="flat">
                <a:noFill/>
                <a:prstDash val="solid"/>
                <a:miter/>
              </a:ln>
            </p:spPr>
            <p:txBody>
              <a:bodyPr rtlCol="0" anchor="ctr"/>
              <a:lstStyle/>
              <a:p>
                <a:endParaRPr lang="en-ID"/>
              </a:p>
            </p:txBody>
          </p:sp>
          <p:sp>
            <p:nvSpPr>
              <p:cNvPr id="188" name="Freeform: Shape 187">
                <a:extLst>
                  <a:ext uri="{FF2B5EF4-FFF2-40B4-BE49-F238E27FC236}">
                    <a16:creationId xmlns:a16="http://schemas.microsoft.com/office/drawing/2014/main" id="{7A9BFC84-246D-43EE-98D7-B8BB52166C71}"/>
                  </a:ext>
                </a:extLst>
              </p:cNvPr>
              <p:cNvSpPr/>
              <p:nvPr/>
            </p:nvSpPr>
            <p:spPr>
              <a:xfrm>
                <a:off x="5369591" y="2490645"/>
                <a:ext cx="989037" cy="2005098"/>
              </a:xfrm>
              <a:custGeom>
                <a:avLst/>
                <a:gdLst>
                  <a:gd name="connsiteX0" fmla="*/ 135854 w 989037"/>
                  <a:gd name="connsiteY0" fmla="*/ 1943543 h 2005097"/>
                  <a:gd name="connsiteX1" fmla="*/ 93050 w 989037"/>
                  <a:gd name="connsiteY1" fmla="*/ 1630997 h 2005097"/>
                  <a:gd name="connsiteX2" fmla="*/ 150176 w 989037"/>
                  <a:gd name="connsiteY2" fmla="*/ 1334609 h 2005097"/>
                  <a:gd name="connsiteX3" fmla="*/ 346524 w 989037"/>
                  <a:gd name="connsiteY3" fmla="*/ 692438 h 2005097"/>
                  <a:gd name="connsiteX4" fmla="*/ 858986 w 989037"/>
                  <a:gd name="connsiteY4" fmla="*/ 8056 h 2005097"/>
                  <a:gd name="connsiteX5" fmla="*/ 915464 w 989037"/>
                  <a:gd name="connsiteY5" fmla="*/ 558404 h 2005097"/>
                  <a:gd name="connsiteX6" fmla="*/ 816669 w 989037"/>
                  <a:gd name="connsiteY6" fmla="*/ 908026 h 2005097"/>
                  <a:gd name="connsiteX7" fmla="*/ 675555 w 989037"/>
                  <a:gd name="connsiteY7" fmla="*/ 1560467 h 2005097"/>
                  <a:gd name="connsiteX8" fmla="*/ 135854 w 989037"/>
                  <a:gd name="connsiteY8" fmla="*/ 1943543 h 200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9037" h="2005097">
                    <a:moveTo>
                      <a:pt x="135854" y="1943543"/>
                    </a:moveTo>
                    <a:cubicBezTo>
                      <a:pt x="135854" y="1943543"/>
                      <a:pt x="188063" y="1814482"/>
                      <a:pt x="93050" y="1630997"/>
                    </a:cubicBezTo>
                    <a:cubicBezTo>
                      <a:pt x="-1962" y="1447511"/>
                      <a:pt x="-78815" y="1475723"/>
                      <a:pt x="150176" y="1334609"/>
                    </a:cubicBezTo>
                    <a:cubicBezTo>
                      <a:pt x="379168" y="1193496"/>
                      <a:pt x="151636" y="748862"/>
                      <a:pt x="346524" y="692438"/>
                    </a:cubicBezTo>
                    <a:cubicBezTo>
                      <a:pt x="541468" y="635960"/>
                      <a:pt x="710793" y="-83605"/>
                      <a:pt x="858986" y="8056"/>
                    </a:cubicBezTo>
                    <a:cubicBezTo>
                      <a:pt x="1007180" y="99664"/>
                      <a:pt x="809589" y="452529"/>
                      <a:pt x="915464" y="558404"/>
                    </a:cubicBezTo>
                    <a:cubicBezTo>
                      <a:pt x="1021340" y="664280"/>
                      <a:pt x="1035446" y="798962"/>
                      <a:pt x="816669" y="908026"/>
                    </a:cubicBezTo>
                    <a:cubicBezTo>
                      <a:pt x="597891" y="1017091"/>
                      <a:pt x="971942" y="1433459"/>
                      <a:pt x="675555" y="1560467"/>
                    </a:cubicBezTo>
                    <a:cubicBezTo>
                      <a:pt x="379168" y="1687420"/>
                      <a:pt x="464182" y="2185506"/>
                      <a:pt x="135854" y="1943543"/>
                    </a:cubicBezTo>
                    <a:close/>
                  </a:path>
                </a:pathLst>
              </a:custGeom>
              <a:solidFill>
                <a:schemeClr val="accent6">
                  <a:lumMod val="75000"/>
                </a:schemeClr>
              </a:solidFill>
              <a:ln w="5398" cap="flat">
                <a:noFill/>
                <a:prstDash val="solid"/>
                <a:miter/>
              </a:ln>
            </p:spPr>
            <p:txBody>
              <a:bodyPr rtlCol="0" anchor="ctr"/>
              <a:lstStyle/>
              <a:p>
                <a:endParaRPr lang="en-ID"/>
              </a:p>
            </p:txBody>
          </p:sp>
          <p:sp>
            <p:nvSpPr>
              <p:cNvPr id="189" name="Freeform: Shape 188">
                <a:extLst>
                  <a:ext uri="{FF2B5EF4-FFF2-40B4-BE49-F238E27FC236}">
                    <a16:creationId xmlns:a16="http://schemas.microsoft.com/office/drawing/2014/main" id="{59BE6936-0E18-41C1-9D95-3F1F8A5AB361}"/>
                  </a:ext>
                </a:extLst>
              </p:cNvPr>
              <p:cNvSpPr/>
              <p:nvPr/>
            </p:nvSpPr>
            <p:spPr>
              <a:xfrm>
                <a:off x="5590927" y="2910368"/>
                <a:ext cx="481007" cy="1659205"/>
              </a:xfrm>
              <a:custGeom>
                <a:avLst/>
                <a:gdLst>
                  <a:gd name="connsiteX0" fmla="*/ 5045 w 481007"/>
                  <a:gd name="connsiteY0" fmla="*/ 1660718 h 1659204"/>
                  <a:gd name="connsiteX1" fmla="*/ 73521 w 481007"/>
                  <a:gd name="connsiteY1" fmla="*/ 1280236 h 1659204"/>
                  <a:gd name="connsiteX2" fmla="*/ 204852 w 481007"/>
                  <a:gd name="connsiteY2" fmla="*/ 644063 h 1659204"/>
                  <a:gd name="connsiteX3" fmla="*/ 317213 w 481007"/>
                  <a:gd name="connsiteY3" fmla="*/ 470793 h 1659204"/>
                  <a:gd name="connsiteX4" fmla="*/ 435303 w 481007"/>
                  <a:gd name="connsiteY4" fmla="*/ 300116 h 1659204"/>
                  <a:gd name="connsiteX5" fmla="*/ 470703 w 481007"/>
                  <a:gd name="connsiteY5" fmla="*/ 0 h 1659204"/>
                  <a:gd name="connsiteX6" fmla="*/ 483728 w 481007"/>
                  <a:gd name="connsiteY6" fmla="*/ 2378 h 1659204"/>
                  <a:gd name="connsiteX7" fmla="*/ 448544 w 481007"/>
                  <a:gd name="connsiteY7" fmla="*/ 299684 h 1659204"/>
                  <a:gd name="connsiteX8" fmla="*/ 324131 w 481007"/>
                  <a:gd name="connsiteY8" fmla="*/ 482088 h 1659204"/>
                  <a:gd name="connsiteX9" fmla="*/ 218040 w 481007"/>
                  <a:gd name="connsiteY9" fmla="*/ 642550 h 1659204"/>
                  <a:gd name="connsiteX10" fmla="*/ 85519 w 481007"/>
                  <a:gd name="connsiteY10" fmla="*/ 1285857 h 1659204"/>
                  <a:gd name="connsiteX11" fmla="*/ 18016 w 481007"/>
                  <a:gd name="connsiteY11" fmla="*/ 1658070 h 1659204"/>
                  <a:gd name="connsiteX12" fmla="*/ 5045 w 481007"/>
                  <a:gd name="connsiteY12" fmla="*/ 1660718 h 1659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1007" h="1659204">
                    <a:moveTo>
                      <a:pt x="5045" y="1660718"/>
                    </a:moveTo>
                    <a:cubicBezTo>
                      <a:pt x="4721" y="1659097"/>
                      <a:pt x="-27166" y="1493825"/>
                      <a:pt x="73521" y="1280236"/>
                    </a:cubicBezTo>
                    <a:cubicBezTo>
                      <a:pt x="176100" y="1062702"/>
                      <a:pt x="225173" y="824846"/>
                      <a:pt x="204852" y="644063"/>
                    </a:cubicBezTo>
                    <a:cubicBezTo>
                      <a:pt x="193827" y="546132"/>
                      <a:pt x="256574" y="507868"/>
                      <a:pt x="317213" y="470793"/>
                    </a:cubicBezTo>
                    <a:cubicBezTo>
                      <a:pt x="376934" y="434312"/>
                      <a:pt x="438708" y="396642"/>
                      <a:pt x="435303" y="300116"/>
                    </a:cubicBezTo>
                    <a:cubicBezTo>
                      <a:pt x="432223" y="212940"/>
                      <a:pt x="469136" y="8647"/>
                      <a:pt x="470703" y="0"/>
                    </a:cubicBezTo>
                    <a:lnTo>
                      <a:pt x="483728" y="2378"/>
                    </a:lnTo>
                    <a:cubicBezTo>
                      <a:pt x="483350" y="4486"/>
                      <a:pt x="445518" y="213967"/>
                      <a:pt x="448544" y="299684"/>
                    </a:cubicBezTo>
                    <a:cubicBezTo>
                      <a:pt x="452220" y="403884"/>
                      <a:pt x="387095" y="443662"/>
                      <a:pt x="324131" y="482088"/>
                    </a:cubicBezTo>
                    <a:cubicBezTo>
                      <a:pt x="264356" y="518569"/>
                      <a:pt x="207933" y="553050"/>
                      <a:pt x="218040" y="642550"/>
                    </a:cubicBezTo>
                    <a:cubicBezTo>
                      <a:pt x="238631" y="825711"/>
                      <a:pt x="189125" y="1066215"/>
                      <a:pt x="85519" y="1285857"/>
                    </a:cubicBezTo>
                    <a:cubicBezTo>
                      <a:pt x="-13168" y="1495176"/>
                      <a:pt x="17692" y="1656449"/>
                      <a:pt x="18016" y="1658070"/>
                    </a:cubicBezTo>
                    <a:lnTo>
                      <a:pt x="5045" y="1660718"/>
                    </a:lnTo>
                    <a:close/>
                  </a:path>
                </a:pathLst>
              </a:custGeom>
              <a:solidFill>
                <a:srgbClr val="FFFFFF"/>
              </a:solidFill>
              <a:ln w="5398" cap="flat">
                <a:noFill/>
                <a:prstDash val="solid"/>
                <a:miter/>
              </a:ln>
            </p:spPr>
            <p:txBody>
              <a:bodyPr rtlCol="0" anchor="ctr"/>
              <a:lstStyle/>
              <a:p>
                <a:endParaRPr lang="en-ID"/>
              </a:p>
            </p:txBody>
          </p:sp>
          <p:sp>
            <p:nvSpPr>
              <p:cNvPr id="190" name="Freeform: Shape 189">
                <a:extLst>
                  <a:ext uri="{FF2B5EF4-FFF2-40B4-BE49-F238E27FC236}">
                    <a16:creationId xmlns:a16="http://schemas.microsoft.com/office/drawing/2014/main" id="{7AADDE2E-DE2D-4A08-9FDF-19BAB4580F70}"/>
                  </a:ext>
                </a:extLst>
              </p:cNvPr>
              <p:cNvSpPr/>
              <p:nvPr/>
            </p:nvSpPr>
            <p:spPr>
              <a:xfrm>
                <a:off x="5541346" y="3611935"/>
                <a:ext cx="432366" cy="870137"/>
              </a:xfrm>
              <a:custGeom>
                <a:avLst/>
                <a:gdLst>
                  <a:gd name="connsiteX0" fmla="*/ 294157 w 432365"/>
                  <a:gd name="connsiteY0" fmla="*/ 47183 h 870136"/>
                  <a:gd name="connsiteX1" fmla="*/ 430406 w 432365"/>
                  <a:gd name="connsiteY1" fmla="*/ 68153 h 870136"/>
                  <a:gd name="connsiteX2" fmla="*/ 380630 w 432365"/>
                  <a:gd name="connsiteY2" fmla="*/ 243694 h 870136"/>
                  <a:gd name="connsiteX3" fmla="*/ 375388 w 432365"/>
                  <a:gd name="connsiteY3" fmla="*/ 429719 h 870136"/>
                  <a:gd name="connsiteX4" fmla="*/ 210332 w 432365"/>
                  <a:gd name="connsiteY4" fmla="*/ 641957 h 870136"/>
                  <a:gd name="connsiteX5" fmla="*/ 74083 w 432365"/>
                  <a:gd name="connsiteY5" fmla="*/ 872516 h 870136"/>
                  <a:gd name="connsiteX6" fmla="*/ 40034 w 432365"/>
                  <a:gd name="connsiteY6" fmla="*/ 634066 h 870136"/>
                  <a:gd name="connsiteX7" fmla="*/ 58355 w 432365"/>
                  <a:gd name="connsiteY7" fmla="*/ 433502 h 870136"/>
                  <a:gd name="connsiteX8" fmla="*/ 100295 w 432365"/>
                  <a:gd name="connsiteY8" fmla="*/ 219481 h 870136"/>
                  <a:gd name="connsiteX9" fmla="*/ 294157 w 432365"/>
                  <a:gd name="connsiteY9" fmla="*/ 47183 h 870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2365" h="870136">
                    <a:moveTo>
                      <a:pt x="294157" y="47183"/>
                    </a:moveTo>
                    <a:cubicBezTo>
                      <a:pt x="360741" y="-14645"/>
                      <a:pt x="448728" y="-23563"/>
                      <a:pt x="430406" y="68153"/>
                    </a:cubicBezTo>
                    <a:cubicBezTo>
                      <a:pt x="412085" y="159869"/>
                      <a:pt x="349175" y="186081"/>
                      <a:pt x="380630" y="243694"/>
                    </a:cubicBezTo>
                    <a:cubicBezTo>
                      <a:pt x="412085" y="301360"/>
                      <a:pt x="464455" y="358973"/>
                      <a:pt x="375388" y="429719"/>
                    </a:cubicBezTo>
                    <a:cubicBezTo>
                      <a:pt x="286320" y="500465"/>
                      <a:pt x="236544" y="508302"/>
                      <a:pt x="210332" y="641957"/>
                    </a:cubicBezTo>
                    <a:cubicBezTo>
                      <a:pt x="184120" y="775612"/>
                      <a:pt x="189362" y="866841"/>
                      <a:pt x="74083" y="872516"/>
                    </a:cubicBezTo>
                    <a:cubicBezTo>
                      <a:pt x="-41197" y="878191"/>
                      <a:pt x="3337" y="710055"/>
                      <a:pt x="40034" y="634066"/>
                    </a:cubicBezTo>
                    <a:cubicBezTo>
                      <a:pt x="40034" y="634066"/>
                      <a:pt x="95052" y="547377"/>
                      <a:pt x="58355" y="433502"/>
                    </a:cubicBezTo>
                    <a:cubicBezTo>
                      <a:pt x="21658" y="319628"/>
                      <a:pt x="-49088" y="258178"/>
                      <a:pt x="100295" y="219481"/>
                    </a:cubicBezTo>
                    <a:cubicBezTo>
                      <a:pt x="249623" y="180838"/>
                      <a:pt x="249299" y="88852"/>
                      <a:pt x="294157" y="47183"/>
                    </a:cubicBezTo>
                    <a:close/>
                  </a:path>
                </a:pathLst>
              </a:custGeom>
              <a:solidFill>
                <a:schemeClr val="bg1"/>
              </a:solidFill>
              <a:ln w="5398" cap="flat">
                <a:noFill/>
                <a:prstDash val="solid"/>
                <a:miter/>
              </a:ln>
            </p:spPr>
            <p:txBody>
              <a:bodyPr rtlCol="0" anchor="ctr"/>
              <a:lstStyle/>
              <a:p>
                <a:endParaRPr lang="en-ID"/>
              </a:p>
            </p:txBody>
          </p:sp>
          <p:sp>
            <p:nvSpPr>
              <p:cNvPr id="191" name="Freeform: Shape 190">
                <a:extLst>
                  <a:ext uri="{FF2B5EF4-FFF2-40B4-BE49-F238E27FC236}">
                    <a16:creationId xmlns:a16="http://schemas.microsoft.com/office/drawing/2014/main" id="{8F111585-0539-4258-A1CD-585D0623D9B7}"/>
                  </a:ext>
                </a:extLst>
              </p:cNvPr>
              <p:cNvSpPr/>
              <p:nvPr/>
            </p:nvSpPr>
            <p:spPr>
              <a:xfrm>
                <a:off x="5623321" y="3722298"/>
                <a:ext cx="270229" cy="843114"/>
              </a:xfrm>
              <a:custGeom>
                <a:avLst/>
                <a:gdLst>
                  <a:gd name="connsiteX0" fmla="*/ 430 w 270228"/>
                  <a:gd name="connsiteY0" fmla="*/ 847600 h 843113"/>
                  <a:gd name="connsiteX1" fmla="*/ 64150 w 270228"/>
                  <a:gd name="connsiteY1" fmla="*/ 381509 h 843113"/>
                  <a:gd name="connsiteX2" fmla="*/ 153704 w 270228"/>
                  <a:gd name="connsiteY2" fmla="*/ 134574 h 843113"/>
                  <a:gd name="connsiteX3" fmla="*/ 268173 w 270228"/>
                  <a:gd name="connsiteY3" fmla="*/ 0 h 843113"/>
                  <a:gd name="connsiteX4" fmla="*/ 273632 w 270228"/>
                  <a:gd name="connsiteY4" fmla="*/ 12106 h 843113"/>
                  <a:gd name="connsiteX5" fmla="*/ 166999 w 270228"/>
                  <a:gd name="connsiteY5" fmla="*/ 135006 h 843113"/>
                  <a:gd name="connsiteX6" fmla="*/ 73068 w 270228"/>
                  <a:gd name="connsiteY6" fmla="*/ 391399 h 843113"/>
                  <a:gd name="connsiteX7" fmla="*/ 13726 w 270228"/>
                  <a:gd name="connsiteY7" fmla="*/ 847330 h 843113"/>
                  <a:gd name="connsiteX8" fmla="*/ 430 w 270228"/>
                  <a:gd name="connsiteY8" fmla="*/ 847600 h 8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228" h="843113">
                    <a:moveTo>
                      <a:pt x="430" y="847600"/>
                    </a:moveTo>
                    <a:cubicBezTo>
                      <a:pt x="52" y="831224"/>
                      <a:pt x="-7839" y="446310"/>
                      <a:pt x="64150" y="381509"/>
                    </a:cubicBezTo>
                    <a:cubicBezTo>
                      <a:pt x="137706" y="315303"/>
                      <a:pt x="151813" y="198402"/>
                      <a:pt x="153704" y="134574"/>
                    </a:cubicBezTo>
                    <a:cubicBezTo>
                      <a:pt x="156136" y="51398"/>
                      <a:pt x="263579" y="2054"/>
                      <a:pt x="268173" y="0"/>
                    </a:cubicBezTo>
                    <a:lnTo>
                      <a:pt x="273632" y="12106"/>
                    </a:lnTo>
                    <a:cubicBezTo>
                      <a:pt x="272605" y="12593"/>
                      <a:pt x="169161" y="60153"/>
                      <a:pt x="166999" y="135006"/>
                    </a:cubicBezTo>
                    <a:cubicBezTo>
                      <a:pt x="164621" y="215535"/>
                      <a:pt x="146408" y="325409"/>
                      <a:pt x="73068" y="391399"/>
                    </a:cubicBezTo>
                    <a:cubicBezTo>
                      <a:pt x="5565" y="452147"/>
                      <a:pt x="13672" y="843384"/>
                      <a:pt x="13726" y="847330"/>
                    </a:cubicBezTo>
                    <a:lnTo>
                      <a:pt x="430" y="847600"/>
                    </a:lnTo>
                    <a:close/>
                  </a:path>
                </a:pathLst>
              </a:custGeom>
              <a:solidFill>
                <a:schemeClr val="accent6"/>
              </a:solidFill>
              <a:ln w="5398" cap="flat">
                <a:noFill/>
                <a:prstDash val="solid"/>
                <a:miter/>
              </a:ln>
            </p:spPr>
            <p:txBody>
              <a:bodyPr rtlCol="0" anchor="ctr"/>
              <a:lstStyle/>
              <a:p>
                <a:endParaRPr lang="en-ID"/>
              </a:p>
            </p:txBody>
          </p:sp>
          <p:sp>
            <p:nvSpPr>
              <p:cNvPr id="192" name="Freeform: Shape 191">
                <a:extLst>
                  <a:ext uri="{FF2B5EF4-FFF2-40B4-BE49-F238E27FC236}">
                    <a16:creationId xmlns:a16="http://schemas.microsoft.com/office/drawing/2014/main" id="{08B1EBAE-B9BD-4E08-ABD0-26BBD5F693B1}"/>
                  </a:ext>
                </a:extLst>
              </p:cNvPr>
              <p:cNvSpPr/>
              <p:nvPr/>
            </p:nvSpPr>
            <p:spPr>
              <a:xfrm>
                <a:off x="5388382" y="4412786"/>
                <a:ext cx="502625" cy="448580"/>
              </a:xfrm>
              <a:custGeom>
                <a:avLst/>
                <a:gdLst>
                  <a:gd name="connsiteX0" fmla="*/ 505760 w 502625"/>
                  <a:gd name="connsiteY0" fmla="*/ 0 h 448579"/>
                  <a:gd name="connsiteX1" fmla="*/ 386319 w 502625"/>
                  <a:gd name="connsiteY1" fmla="*/ 453119 h 448579"/>
                  <a:gd name="connsiteX2" fmla="*/ 119441 w 502625"/>
                  <a:gd name="connsiteY2" fmla="*/ 453119 h 448579"/>
                  <a:gd name="connsiteX3" fmla="*/ 0 w 502625"/>
                  <a:gd name="connsiteY3" fmla="*/ 0 h 448579"/>
                </a:gdLst>
                <a:ahLst/>
                <a:cxnLst>
                  <a:cxn ang="0">
                    <a:pos x="connsiteX0" y="connsiteY0"/>
                  </a:cxn>
                  <a:cxn ang="0">
                    <a:pos x="connsiteX1" y="connsiteY1"/>
                  </a:cxn>
                  <a:cxn ang="0">
                    <a:pos x="connsiteX2" y="connsiteY2"/>
                  </a:cxn>
                  <a:cxn ang="0">
                    <a:pos x="connsiteX3" y="connsiteY3"/>
                  </a:cxn>
                </a:cxnLst>
                <a:rect l="l" t="t" r="r" b="b"/>
                <a:pathLst>
                  <a:path w="502625" h="448579">
                    <a:moveTo>
                      <a:pt x="505760" y="0"/>
                    </a:moveTo>
                    <a:lnTo>
                      <a:pt x="386319" y="453119"/>
                    </a:lnTo>
                    <a:lnTo>
                      <a:pt x="119441" y="453119"/>
                    </a:lnTo>
                    <a:lnTo>
                      <a:pt x="0" y="0"/>
                    </a:lnTo>
                    <a:close/>
                  </a:path>
                </a:pathLst>
              </a:custGeom>
              <a:solidFill>
                <a:schemeClr val="accent3">
                  <a:lumMod val="60000"/>
                  <a:lumOff val="40000"/>
                </a:schemeClr>
              </a:solidFill>
              <a:ln w="5398" cap="flat">
                <a:noFill/>
                <a:prstDash val="solid"/>
                <a:miter/>
              </a:ln>
            </p:spPr>
            <p:txBody>
              <a:bodyPr rtlCol="0" anchor="ctr"/>
              <a:lstStyle/>
              <a:p>
                <a:endParaRPr lang="en-ID"/>
              </a:p>
            </p:txBody>
          </p:sp>
          <p:sp>
            <p:nvSpPr>
              <p:cNvPr id="193" name="Freeform: Shape 192">
                <a:extLst>
                  <a:ext uri="{FF2B5EF4-FFF2-40B4-BE49-F238E27FC236}">
                    <a16:creationId xmlns:a16="http://schemas.microsoft.com/office/drawing/2014/main" id="{C189CEA9-ADB7-4360-B1E0-B8F7196F6787}"/>
                  </a:ext>
                </a:extLst>
              </p:cNvPr>
              <p:cNvSpPr/>
              <p:nvPr/>
            </p:nvSpPr>
            <p:spPr>
              <a:xfrm>
                <a:off x="5388382" y="4412786"/>
                <a:ext cx="502625" cy="448580"/>
              </a:xfrm>
              <a:custGeom>
                <a:avLst/>
                <a:gdLst>
                  <a:gd name="connsiteX0" fmla="*/ 505760 w 502625"/>
                  <a:gd name="connsiteY0" fmla="*/ 0 h 448579"/>
                  <a:gd name="connsiteX1" fmla="*/ 242828 w 502625"/>
                  <a:gd name="connsiteY1" fmla="*/ 453119 h 448579"/>
                  <a:gd name="connsiteX2" fmla="*/ 119441 w 502625"/>
                  <a:gd name="connsiteY2" fmla="*/ 453119 h 448579"/>
                  <a:gd name="connsiteX3" fmla="*/ 0 w 502625"/>
                  <a:gd name="connsiteY3" fmla="*/ 0 h 448579"/>
                  <a:gd name="connsiteX4" fmla="*/ 505760 w 502625"/>
                  <a:gd name="connsiteY4" fmla="*/ 0 h 44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625" h="448579">
                    <a:moveTo>
                      <a:pt x="505760" y="0"/>
                    </a:moveTo>
                    <a:cubicBezTo>
                      <a:pt x="505760" y="0"/>
                      <a:pt x="242828" y="49344"/>
                      <a:pt x="242828" y="453119"/>
                    </a:cubicBezTo>
                    <a:lnTo>
                      <a:pt x="119441" y="453119"/>
                    </a:lnTo>
                    <a:lnTo>
                      <a:pt x="0" y="0"/>
                    </a:lnTo>
                    <a:lnTo>
                      <a:pt x="505760" y="0"/>
                    </a:lnTo>
                    <a:close/>
                  </a:path>
                </a:pathLst>
              </a:custGeom>
              <a:solidFill>
                <a:schemeClr val="accent3"/>
              </a:solidFill>
              <a:ln w="5398" cap="flat">
                <a:noFill/>
                <a:prstDash val="solid"/>
                <a:miter/>
              </a:ln>
            </p:spPr>
            <p:txBody>
              <a:bodyPr rtlCol="0" anchor="ctr"/>
              <a:lstStyle/>
              <a:p>
                <a:endParaRPr lang="en-ID"/>
              </a:p>
            </p:txBody>
          </p:sp>
        </p:grpSp>
        <p:grpSp>
          <p:nvGrpSpPr>
            <p:cNvPr id="20" name="Group 19">
              <a:extLst>
                <a:ext uri="{FF2B5EF4-FFF2-40B4-BE49-F238E27FC236}">
                  <a16:creationId xmlns:a16="http://schemas.microsoft.com/office/drawing/2014/main" id="{882F6B16-4418-45A4-AA50-F425930BD5F7}"/>
                </a:ext>
              </a:extLst>
            </p:cNvPr>
            <p:cNvGrpSpPr/>
            <p:nvPr/>
          </p:nvGrpSpPr>
          <p:grpSpPr>
            <a:xfrm>
              <a:off x="5674126" y="1752360"/>
              <a:ext cx="2312300" cy="2817290"/>
              <a:chOff x="2581908" y="1695241"/>
              <a:chExt cx="2839726" cy="3459902"/>
            </a:xfrm>
          </p:grpSpPr>
          <p:grpSp>
            <p:nvGrpSpPr>
              <p:cNvPr id="129" name="Graphic 106">
                <a:extLst>
                  <a:ext uri="{FF2B5EF4-FFF2-40B4-BE49-F238E27FC236}">
                    <a16:creationId xmlns:a16="http://schemas.microsoft.com/office/drawing/2014/main" id="{3C86316C-CBB1-4650-9334-960B6DBB28B1}"/>
                  </a:ext>
                </a:extLst>
              </p:cNvPr>
              <p:cNvGrpSpPr/>
              <p:nvPr/>
            </p:nvGrpSpPr>
            <p:grpSpPr>
              <a:xfrm>
                <a:off x="3950509" y="2698601"/>
                <a:ext cx="1243052" cy="2345586"/>
                <a:chOff x="4050534" y="2517672"/>
                <a:chExt cx="1243052" cy="2345586"/>
              </a:xfrm>
              <a:solidFill>
                <a:srgbClr val="706865"/>
              </a:solidFill>
            </p:grpSpPr>
            <p:sp>
              <p:nvSpPr>
                <p:cNvPr id="180" name="Freeform: Shape 179">
                  <a:extLst>
                    <a:ext uri="{FF2B5EF4-FFF2-40B4-BE49-F238E27FC236}">
                      <a16:creationId xmlns:a16="http://schemas.microsoft.com/office/drawing/2014/main" id="{C67E8937-60E6-402D-9284-C91A74246FA4}"/>
                    </a:ext>
                  </a:extLst>
                </p:cNvPr>
                <p:cNvSpPr/>
                <p:nvPr/>
              </p:nvSpPr>
              <p:spPr>
                <a:xfrm>
                  <a:off x="5246944" y="2517672"/>
                  <a:ext cx="48641" cy="2345586"/>
                </a:xfrm>
                <a:custGeom>
                  <a:avLst/>
                  <a:gdLst>
                    <a:gd name="connsiteX0" fmla="*/ 0 w 48641"/>
                    <a:gd name="connsiteY0" fmla="*/ 0 h 2345585"/>
                    <a:gd name="connsiteX1" fmla="*/ 51668 w 48641"/>
                    <a:gd name="connsiteY1" fmla="*/ 0 h 2345585"/>
                    <a:gd name="connsiteX2" fmla="*/ 51668 w 48641"/>
                    <a:gd name="connsiteY2" fmla="*/ 2348288 h 2345585"/>
                    <a:gd name="connsiteX3" fmla="*/ 0 w 48641"/>
                    <a:gd name="connsiteY3" fmla="*/ 2348288 h 2345585"/>
                  </a:gdLst>
                  <a:ahLst/>
                  <a:cxnLst>
                    <a:cxn ang="0">
                      <a:pos x="connsiteX0" y="connsiteY0"/>
                    </a:cxn>
                    <a:cxn ang="0">
                      <a:pos x="connsiteX1" y="connsiteY1"/>
                    </a:cxn>
                    <a:cxn ang="0">
                      <a:pos x="connsiteX2" y="connsiteY2"/>
                    </a:cxn>
                    <a:cxn ang="0">
                      <a:pos x="connsiteX3" y="connsiteY3"/>
                    </a:cxn>
                  </a:cxnLst>
                  <a:rect l="l" t="t" r="r" b="b"/>
                  <a:pathLst>
                    <a:path w="48641" h="2345585">
                      <a:moveTo>
                        <a:pt x="0" y="0"/>
                      </a:moveTo>
                      <a:lnTo>
                        <a:pt x="51668" y="0"/>
                      </a:lnTo>
                      <a:lnTo>
                        <a:pt x="51668" y="2348288"/>
                      </a:lnTo>
                      <a:lnTo>
                        <a:pt x="0" y="2348288"/>
                      </a:lnTo>
                      <a:close/>
                    </a:path>
                  </a:pathLst>
                </a:custGeom>
                <a:solidFill>
                  <a:schemeClr val="accent3">
                    <a:lumMod val="50000"/>
                  </a:schemeClr>
                </a:solidFill>
                <a:ln w="5398" cap="flat">
                  <a:noFill/>
                  <a:prstDash val="solid"/>
                  <a:miter/>
                </a:ln>
              </p:spPr>
              <p:txBody>
                <a:bodyPr rtlCol="0" anchor="ctr"/>
                <a:lstStyle/>
                <a:p>
                  <a:endParaRPr lang="en-ID"/>
                </a:p>
              </p:txBody>
            </p:sp>
            <p:sp>
              <p:nvSpPr>
                <p:cNvPr id="181" name="Freeform: Shape 180">
                  <a:extLst>
                    <a:ext uri="{FF2B5EF4-FFF2-40B4-BE49-F238E27FC236}">
                      <a16:creationId xmlns:a16="http://schemas.microsoft.com/office/drawing/2014/main" id="{8C5CCACB-D664-4388-B0C3-90F92668A78B}"/>
                    </a:ext>
                  </a:extLst>
                </p:cNvPr>
                <p:cNvSpPr/>
                <p:nvPr/>
              </p:nvSpPr>
              <p:spPr>
                <a:xfrm>
                  <a:off x="4050534" y="2517672"/>
                  <a:ext cx="48641" cy="2345586"/>
                </a:xfrm>
                <a:custGeom>
                  <a:avLst/>
                  <a:gdLst>
                    <a:gd name="connsiteX0" fmla="*/ 0 w 48641"/>
                    <a:gd name="connsiteY0" fmla="*/ 0 h 2345585"/>
                    <a:gd name="connsiteX1" fmla="*/ 51668 w 48641"/>
                    <a:gd name="connsiteY1" fmla="*/ 0 h 2345585"/>
                    <a:gd name="connsiteX2" fmla="*/ 51668 w 48641"/>
                    <a:gd name="connsiteY2" fmla="*/ 2348288 h 2345585"/>
                    <a:gd name="connsiteX3" fmla="*/ 0 w 48641"/>
                    <a:gd name="connsiteY3" fmla="*/ 2348288 h 2345585"/>
                  </a:gdLst>
                  <a:ahLst/>
                  <a:cxnLst>
                    <a:cxn ang="0">
                      <a:pos x="connsiteX0" y="connsiteY0"/>
                    </a:cxn>
                    <a:cxn ang="0">
                      <a:pos x="connsiteX1" y="connsiteY1"/>
                    </a:cxn>
                    <a:cxn ang="0">
                      <a:pos x="connsiteX2" y="connsiteY2"/>
                    </a:cxn>
                    <a:cxn ang="0">
                      <a:pos x="connsiteX3" y="connsiteY3"/>
                    </a:cxn>
                  </a:cxnLst>
                  <a:rect l="l" t="t" r="r" b="b"/>
                  <a:pathLst>
                    <a:path w="48641" h="2345585">
                      <a:moveTo>
                        <a:pt x="0" y="0"/>
                      </a:moveTo>
                      <a:lnTo>
                        <a:pt x="51668" y="0"/>
                      </a:lnTo>
                      <a:lnTo>
                        <a:pt x="51668" y="2348288"/>
                      </a:lnTo>
                      <a:lnTo>
                        <a:pt x="0" y="2348288"/>
                      </a:lnTo>
                      <a:close/>
                    </a:path>
                  </a:pathLst>
                </a:custGeom>
                <a:solidFill>
                  <a:schemeClr val="accent3">
                    <a:lumMod val="50000"/>
                  </a:schemeClr>
                </a:solidFill>
                <a:ln w="5398" cap="flat">
                  <a:noFill/>
                  <a:prstDash val="solid"/>
                  <a:miter/>
                </a:ln>
              </p:spPr>
              <p:txBody>
                <a:bodyPr rtlCol="0" anchor="ctr"/>
                <a:lstStyle/>
                <a:p>
                  <a:endParaRPr lang="en-ID"/>
                </a:p>
              </p:txBody>
            </p:sp>
          </p:grpSp>
          <p:sp>
            <p:nvSpPr>
              <p:cNvPr id="130" name="Freeform: Shape 129">
                <a:extLst>
                  <a:ext uri="{FF2B5EF4-FFF2-40B4-BE49-F238E27FC236}">
                    <a16:creationId xmlns:a16="http://schemas.microsoft.com/office/drawing/2014/main" id="{A6E30774-C04B-435E-A105-876FA7CE326E}"/>
                  </a:ext>
                </a:extLst>
              </p:cNvPr>
              <p:cNvSpPr/>
              <p:nvPr/>
            </p:nvSpPr>
            <p:spPr>
              <a:xfrm>
                <a:off x="3724597" y="1717562"/>
                <a:ext cx="1697037" cy="2940089"/>
              </a:xfrm>
              <a:custGeom>
                <a:avLst/>
                <a:gdLst>
                  <a:gd name="connsiteX0" fmla="*/ 1544844 w 1697036"/>
                  <a:gd name="connsiteY0" fmla="*/ 2941711 h 2940089"/>
                  <a:gd name="connsiteX1" fmla="*/ 155057 w 1697036"/>
                  <a:gd name="connsiteY1" fmla="*/ 2941711 h 2940089"/>
                  <a:gd name="connsiteX2" fmla="*/ 0 w 1697036"/>
                  <a:gd name="connsiteY2" fmla="*/ 2786653 h 2940089"/>
                  <a:gd name="connsiteX3" fmla="*/ 0 w 1697036"/>
                  <a:gd name="connsiteY3" fmla="*/ 155057 h 2940089"/>
                  <a:gd name="connsiteX4" fmla="*/ 155057 w 1697036"/>
                  <a:gd name="connsiteY4" fmla="*/ 0 h 2940089"/>
                  <a:gd name="connsiteX5" fmla="*/ 1544844 w 1697036"/>
                  <a:gd name="connsiteY5" fmla="*/ 0 h 2940089"/>
                  <a:gd name="connsiteX6" fmla="*/ 1699901 w 1697036"/>
                  <a:gd name="connsiteY6" fmla="*/ 155057 h 2940089"/>
                  <a:gd name="connsiteX7" fmla="*/ 1699901 w 1697036"/>
                  <a:gd name="connsiteY7" fmla="*/ 2786653 h 2940089"/>
                  <a:gd name="connsiteX8" fmla="*/ 1544844 w 1697036"/>
                  <a:gd name="connsiteY8" fmla="*/ 2941711 h 294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7036" h="2940089">
                    <a:moveTo>
                      <a:pt x="1544844" y="2941711"/>
                    </a:moveTo>
                    <a:lnTo>
                      <a:pt x="155057" y="2941711"/>
                    </a:lnTo>
                    <a:cubicBezTo>
                      <a:pt x="69395" y="2941711"/>
                      <a:pt x="0" y="2872316"/>
                      <a:pt x="0" y="2786653"/>
                    </a:cubicBezTo>
                    <a:lnTo>
                      <a:pt x="0" y="155057"/>
                    </a:lnTo>
                    <a:cubicBezTo>
                      <a:pt x="0" y="69395"/>
                      <a:pt x="69449" y="0"/>
                      <a:pt x="155057" y="0"/>
                    </a:cubicBezTo>
                    <a:lnTo>
                      <a:pt x="1544844" y="0"/>
                    </a:lnTo>
                    <a:cubicBezTo>
                      <a:pt x="1630506" y="0"/>
                      <a:pt x="1699901" y="69395"/>
                      <a:pt x="1699901" y="155057"/>
                    </a:cubicBezTo>
                    <a:lnTo>
                      <a:pt x="1699901" y="2786653"/>
                    </a:lnTo>
                    <a:cubicBezTo>
                      <a:pt x="1699901" y="2872262"/>
                      <a:pt x="1630452" y="2941711"/>
                      <a:pt x="1544844" y="2941711"/>
                    </a:cubicBezTo>
                    <a:close/>
                  </a:path>
                </a:pathLst>
              </a:custGeom>
              <a:solidFill>
                <a:schemeClr val="accent3"/>
              </a:solidFill>
              <a:ln w="5398" cap="flat">
                <a:noFill/>
                <a:prstDash val="solid"/>
                <a:miter/>
              </a:ln>
            </p:spPr>
            <p:txBody>
              <a:bodyPr rtlCol="0" anchor="ctr"/>
              <a:lstStyle/>
              <a:p>
                <a:endParaRPr lang="en-ID"/>
              </a:p>
            </p:txBody>
          </p:sp>
          <p:sp>
            <p:nvSpPr>
              <p:cNvPr id="131" name="Freeform: Shape 130">
                <a:extLst>
                  <a:ext uri="{FF2B5EF4-FFF2-40B4-BE49-F238E27FC236}">
                    <a16:creationId xmlns:a16="http://schemas.microsoft.com/office/drawing/2014/main" id="{92CAA49E-D9C6-455A-B10E-B213D10452DA}"/>
                  </a:ext>
                </a:extLst>
              </p:cNvPr>
              <p:cNvSpPr/>
              <p:nvPr/>
            </p:nvSpPr>
            <p:spPr>
              <a:xfrm>
                <a:off x="3771239" y="1764906"/>
                <a:ext cx="1605159" cy="2777952"/>
              </a:xfrm>
              <a:custGeom>
                <a:avLst/>
                <a:gdLst>
                  <a:gd name="connsiteX0" fmla="*/ 1453398 w 1605158"/>
                  <a:gd name="connsiteY0" fmla="*/ 2779411 h 2777951"/>
                  <a:gd name="connsiteX1" fmla="*/ 153220 w 1605158"/>
                  <a:gd name="connsiteY1" fmla="*/ 2779411 h 2777951"/>
                  <a:gd name="connsiteX2" fmla="*/ 0 w 1605158"/>
                  <a:gd name="connsiteY2" fmla="*/ 2626192 h 2777951"/>
                  <a:gd name="connsiteX3" fmla="*/ 0 w 1605158"/>
                  <a:gd name="connsiteY3" fmla="*/ 153220 h 2777951"/>
                  <a:gd name="connsiteX4" fmla="*/ 153220 w 1605158"/>
                  <a:gd name="connsiteY4" fmla="*/ 0 h 2777951"/>
                  <a:gd name="connsiteX5" fmla="*/ 1453398 w 1605158"/>
                  <a:gd name="connsiteY5" fmla="*/ 0 h 2777951"/>
                  <a:gd name="connsiteX6" fmla="*/ 1606618 w 1605158"/>
                  <a:gd name="connsiteY6" fmla="*/ 153220 h 2777951"/>
                  <a:gd name="connsiteX7" fmla="*/ 1606618 w 1605158"/>
                  <a:gd name="connsiteY7" fmla="*/ 2626192 h 2777951"/>
                  <a:gd name="connsiteX8" fmla="*/ 1453398 w 1605158"/>
                  <a:gd name="connsiteY8" fmla="*/ 2779411 h 277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158" h="2777951">
                    <a:moveTo>
                      <a:pt x="1453398" y="2779411"/>
                    </a:moveTo>
                    <a:lnTo>
                      <a:pt x="153220" y="2779411"/>
                    </a:lnTo>
                    <a:cubicBezTo>
                      <a:pt x="68584" y="2779411"/>
                      <a:pt x="0" y="2710827"/>
                      <a:pt x="0" y="2626192"/>
                    </a:cubicBezTo>
                    <a:lnTo>
                      <a:pt x="0" y="153220"/>
                    </a:lnTo>
                    <a:cubicBezTo>
                      <a:pt x="0" y="68584"/>
                      <a:pt x="68584" y="0"/>
                      <a:pt x="153220" y="0"/>
                    </a:cubicBezTo>
                    <a:lnTo>
                      <a:pt x="1453398" y="0"/>
                    </a:lnTo>
                    <a:cubicBezTo>
                      <a:pt x="1538034" y="0"/>
                      <a:pt x="1606618" y="68584"/>
                      <a:pt x="1606618" y="153220"/>
                    </a:cubicBezTo>
                    <a:lnTo>
                      <a:pt x="1606618" y="2626192"/>
                    </a:lnTo>
                    <a:cubicBezTo>
                      <a:pt x="1606618" y="2710827"/>
                      <a:pt x="1538034" y="2779411"/>
                      <a:pt x="1453398" y="2779411"/>
                    </a:cubicBezTo>
                    <a:close/>
                  </a:path>
                </a:pathLst>
              </a:custGeom>
              <a:solidFill>
                <a:srgbClr val="FFFFFF"/>
              </a:solidFill>
              <a:ln w="5398" cap="flat">
                <a:noFill/>
                <a:prstDash val="solid"/>
                <a:miter/>
              </a:ln>
            </p:spPr>
            <p:txBody>
              <a:bodyPr rtlCol="0" anchor="ctr"/>
              <a:lstStyle/>
              <a:p>
                <a:endParaRPr lang="en-ID"/>
              </a:p>
            </p:txBody>
          </p:sp>
          <p:sp>
            <p:nvSpPr>
              <p:cNvPr id="132" name="Freeform: Shape 131">
                <a:extLst>
                  <a:ext uri="{FF2B5EF4-FFF2-40B4-BE49-F238E27FC236}">
                    <a16:creationId xmlns:a16="http://schemas.microsoft.com/office/drawing/2014/main" id="{A56E9FD6-2AF3-4180-A8F9-A32C66F4D525}"/>
                  </a:ext>
                </a:extLst>
              </p:cNvPr>
              <p:cNvSpPr/>
              <p:nvPr/>
            </p:nvSpPr>
            <p:spPr>
              <a:xfrm>
                <a:off x="4321262" y="1695241"/>
                <a:ext cx="502625" cy="113496"/>
              </a:xfrm>
              <a:custGeom>
                <a:avLst/>
                <a:gdLst>
                  <a:gd name="connsiteX0" fmla="*/ 0 w 502625"/>
                  <a:gd name="connsiteY0" fmla="*/ 0 h 113496"/>
                  <a:gd name="connsiteX1" fmla="*/ 506571 w 502625"/>
                  <a:gd name="connsiteY1" fmla="*/ 0 h 113496"/>
                  <a:gd name="connsiteX2" fmla="*/ 506571 w 502625"/>
                  <a:gd name="connsiteY2" fmla="*/ 114361 h 113496"/>
                  <a:gd name="connsiteX3" fmla="*/ 0 w 502625"/>
                  <a:gd name="connsiteY3" fmla="*/ 114361 h 113496"/>
                </a:gdLst>
                <a:ahLst/>
                <a:cxnLst>
                  <a:cxn ang="0">
                    <a:pos x="connsiteX0" y="connsiteY0"/>
                  </a:cxn>
                  <a:cxn ang="0">
                    <a:pos x="connsiteX1" y="connsiteY1"/>
                  </a:cxn>
                  <a:cxn ang="0">
                    <a:pos x="connsiteX2" y="connsiteY2"/>
                  </a:cxn>
                  <a:cxn ang="0">
                    <a:pos x="connsiteX3" y="connsiteY3"/>
                  </a:cxn>
                </a:cxnLst>
                <a:rect l="l" t="t" r="r" b="b"/>
                <a:pathLst>
                  <a:path w="502625" h="113496">
                    <a:moveTo>
                      <a:pt x="0" y="0"/>
                    </a:moveTo>
                    <a:lnTo>
                      <a:pt x="506571" y="0"/>
                    </a:lnTo>
                    <a:lnTo>
                      <a:pt x="506571" y="114361"/>
                    </a:lnTo>
                    <a:lnTo>
                      <a:pt x="0" y="114361"/>
                    </a:lnTo>
                    <a:close/>
                  </a:path>
                </a:pathLst>
              </a:custGeom>
              <a:solidFill>
                <a:schemeClr val="accent3">
                  <a:lumMod val="50000"/>
                </a:schemeClr>
              </a:solidFill>
              <a:ln w="5398" cap="flat">
                <a:noFill/>
                <a:prstDash val="solid"/>
                <a:miter/>
              </a:ln>
            </p:spPr>
            <p:txBody>
              <a:bodyPr rtlCol="0" anchor="ctr"/>
              <a:lstStyle/>
              <a:p>
                <a:endParaRPr lang="en-ID"/>
              </a:p>
            </p:txBody>
          </p:sp>
          <p:sp>
            <p:nvSpPr>
              <p:cNvPr id="133" name="Freeform: Shape 132">
                <a:extLst>
                  <a:ext uri="{FF2B5EF4-FFF2-40B4-BE49-F238E27FC236}">
                    <a16:creationId xmlns:a16="http://schemas.microsoft.com/office/drawing/2014/main" id="{4642A50C-8F78-4BBD-A416-530530CE388B}"/>
                  </a:ext>
                </a:extLst>
              </p:cNvPr>
              <p:cNvSpPr/>
              <p:nvPr/>
            </p:nvSpPr>
            <p:spPr>
              <a:xfrm>
                <a:off x="3896355" y="2397890"/>
                <a:ext cx="254015" cy="254015"/>
              </a:xfrm>
              <a:custGeom>
                <a:avLst/>
                <a:gdLst>
                  <a:gd name="connsiteX0" fmla="*/ 50641 w 254015"/>
                  <a:gd name="connsiteY0" fmla="*/ 255096 h 254015"/>
                  <a:gd name="connsiteX1" fmla="*/ 204455 w 254015"/>
                  <a:gd name="connsiteY1" fmla="*/ 255096 h 254015"/>
                  <a:gd name="connsiteX2" fmla="*/ 255096 w 254015"/>
                  <a:gd name="connsiteY2" fmla="*/ 204455 h 254015"/>
                  <a:gd name="connsiteX3" fmla="*/ 255096 w 254015"/>
                  <a:gd name="connsiteY3" fmla="*/ 50641 h 254015"/>
                  <a:gd name="connsiteX4" fmla="*/ 204455 w 254015"/>
                  <a:gd name="connsiteY4" fmla="*/ 0 h 254015"/>
                  <a:gd name="connsiteX5" fmla="*/ 50641 w 254015"/>
                  <a:gd name="connsiteY5" fmla="*/ 0 h 254015"/>
                  <a:gd name="connsiteX6" fmla="*/ 0 w 254015"/>
                  <a:gd name="connsiteY6" fmla="*/ 50641 h 254015"/>
                  <a:gd name="connsiteX7" fmla="*/ 0 w 254015"/>
                  <a:gd name="connsiteY7" fmla="*/ 204455 h 254015"/>
                  <a:gd name="connsiteX8" fmla="*/ 50641 w 254015"/>
                  <a:gd name="connsiteY8" fmla="*/ 255096 h 254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015" h="254015">
                    <a:moveTo>
                      <a:pt x="50641" y="255096"/>
                    </a:moveTo>
                    <a:lnTo>
                      <a:pt x="204455" y="255096"/>
                    </a:lnTo>
                    <a:cubicBezTo>
                      <a:pt x="232451" y="255096"/>
                      <a:pt x="255096" y="232397"/>
                      <a:pt x="255096" y="204455"/>
                    </a:cubicBezTo>
                    <a:lnTo>
                      <a:pt x="255096" y="50641"/>
                    </a:lnTo>
                    <a:cubicBezTo>
                      <a:pt x="255096" y="22645"/>
                      <a:pt x="232397" y="0"/>
                      <a:pt x="204455" y="0"/>
                    </a:cubicBezTo>
                    <a:lnTo>
                      <a:pt x="50641" y="0"/>
                    </a:lnTo>
                    <a:cubicBezTo>
                      <a:pt x="22645" y="0"/>
                      <a:pt x="0" y="22699"/>
                      <a:pt x="0" y="50641"/>
                    </a:cubicBezTo>
                    <a:lnTo>
                      <a:pt x="0" y="204455"/>
                    </a:lnTo>
                    <a:cubicBezTo>
                      <a:pt x="0" y="232451"/>
                      <a:pt x="22645" y="255096"/>
                      <a:pt x="50641" y="255096"/>
                    </a:cubicBezTo>
                    <a:close/>
                  </a:path>
                </a:pathLst>
              </a:custGeom>
              <a:solidFill>
                <a:srgbClr val="73B6F0"/>
              </a:solidFill>
              <a:ln w="5398" cap="flat">
                <a:noFill/>
                <a:prstDash val="solid"/>
                <a:miter/>
              </a:ln>
            </p:spPr>
            <p:txBody>
              <a:bodyPr rtlCol="0" anchor="ctr"/>
              <a:lstStyle/>
              <a:p>
                <a:endParaRPr lang="en-ID"/>
              </a:p>
            </p:txBody>
          </p:sp>
          <p:grpSp>
            <p:nvGrpSpPr>
              <p:cNvPr id="134" name="Graphic 106">
                <a:extLst>
                  <a:ext uri="{FF2B5EF4-FFF2-40B4-BE49-F238E27FC236}">
                    <a16:creationId xmlns:a16="http://schemas.microsoft.com/office/drawing/2014/main" id="{C6A88379-4C9F-44C6-B6F4-DF4415388173}"/>
                  </a:ext>
                </a:extLst>
              </p:cNvPr>
              <p:cNvGrpSpPr/>
              <p:nvPr/>
            </p:nvGrpSpPr>
            <p:grpSpPr>
              <a:xfrm>
                <a:off x="4246895" y="2060050"/>
                <a:ext cx="1005251" cy="205374"/>
                <a:chOff x="4346920" y="1879121"/>
                <a:chExt cx="1005251" cy="205374"/>
              </a:xfrm>
              <a:solidFill>
                <a:srgbClr val="D9D9D9">
                  <a:alpha val="72000"/>
                </a:srgbClr>
              </a:solidFill>
            </p:grpSpPr>
            <p:sp>
              <p:nvSpPr>
                <p:cNvPr id="178" name="Freeform: Shape 177">
                  <a:extLst>
                    <a:ext uri="{FF2B5EF4-FFF2-40B4-BE49-F238E27FC236}">
                      <a16:creationId xmlns:a16="http://schemas.microsoft.com/office/drawing/2014/main" id="{D60B1186-BA32-458F-A55D-37C1F837A561}"/>
                    </a:ext>
                  </a:extLst>
                </p:cNvPr>
                <p:cNvSpPr/>
                <p:nvPr/>
              </p:nvSpPr>
              <p:spPr>
                <a:xfrm>
                  <a:off x="4346920" y="1879121"/>
                  <a:ext cx="880946" cy="75664"/>
                </a:xfrm>
                <a:custGeom>
                  <a:avLst/>
                  <a:gdLst>
                    <a:gd name="connsiteX0" fmla="*/ 856463 w 880945"/>
                    <a:gd name="connsiteY0" fmla="*/ 79177 h 75664"/>
                    <a:gd name="connsiteX1" fmla="*/ 26320 w 880945"/>
                    <a:gd name="connsiteY1" fmla="*/ 79177 h 75664"/>
                    <a:gd name="connsiteX2" fmla="*/ 0 w 880945"/>
                    <a:gd name="connsiteY2" fmla="*/ 52857 h 75664"/>
                    <a:gd name="connsiteX3" fmla="*/ 0 w 880945"/>
                    <a:gd name="connsiteY3" fmla="*/ 26320 h 75664"/>
                    <a:gd name="connsiteX4" fmla="*/ 26320 w 880945"/>
                    <a:gd name="connsiteY4" fmla="*/ 0 h 75664"/>
                    <a:gd name="connsiteX5" fmla="*/ 856409 w 880945"/>
                    <a:gd name="connsiteY5" fmla="*/ 0 h 75664"/>
                    <a:gd name="connsiteX6" fmla="*/ 882729 w 880945"/>
                    <a:gd name="connsiteY6" fmla="*/ 26320 h 75664"/>
                    <a:gd name="connsiteX7" fmla="*/ 882729 w 880945"/>
                    <a:gd name="connsiteY7" fmla="*/ 52857 h 75664"/>
                    <a:gd name="connsiteX8" fmla="*/ 856463 w 880945"/>
                    <a:gd name="connsiteY8" fmla="*/ 79177 h 7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0945" h="75664">
                      <a:moveTo>
                        <a:pt x="856463" y="79177"/>
                      </a:moveTo>
                      <a:lnTo>
                        <a:pt x="26320" y="79177"/>
                      </a:lnTo>
                      <a:cubicBezTo>
                        <a:pt x="11782" y="79177"/>
                        <a:pt x="0" y="67395"/>
                        <a:pt x="0" y="52857"/>
                      </a:cubicBezTo>
                      <a:lnTo>
                        <a:pt x="0" y="26320"/>
                      </a:lnTo>
                      <a:cubicBezTo>
                        <a:pt x="0" y="11782"/>
                        <a:pt x="11782" y="0"/>
                        <a:pt x="26320" y="0"/>
                      </a:cubicBezTo>
                      <a:lnTo>
                        <a:pt x="856409" y="0"/>
                      </a:lnTo>
                      <a:cubicBezTo>
                        <a:pt x="870947" y="0"/>
                        <a:pt x="882729" y="11782"/>
                        <a:pt x="882729" y="26320"/>
                      </a:cubicBezTo>
                      <a:lnTo>
                        <a:pt x="882729" y="52857"/>
                      </a:lnTo>
                      <a:cubicBezTo>
                        <a:pt x="882783" y="67341"/>
                        <a:pt x="871001" y="79177"/>
                        <a:pt x="856463" y="79177"/>
                      </a:cubicBezTo>
                      <a:close/>
                    </a:path>
                  </a:pathLst>
                </a:custGeom>
                <a:solidFill>
                  <a:srgbClr val="D9D9D9">
                    <a:alpha val="72000"/>
                  </a:srgbClr>
                </a:solidFill>
                <a:ln w="5398" cap="flat">
                  <a:noFill/>
                  <a:prstDash val="solid"/>
                  <a:miter/>
                </a:ln>
              </p:spPr>
              <p:txBody>
                <a:bodyPr rtlCol="0" anchor="ctr"/>
                <a:lstStyle/>
                <a:p>
                  <a:endParaRPr lang="en-ID"/>
                </a:p>
              </p:txBody>
            </p:sp>
            <p:sp>
              <p:nvSpPr>
                <p:cNvPr id="179" name="Freeform: Shape 178">
                  <a:extLst>
                    <a:ext uri="{FF2B5EF4-FFF2-40B4-BE49-F238E27FC236}">
                      <a16:creationId xmlns:a16="http://schemas.microsoft.com/office/drawing/2014/main" id="{65B98A23-5091-46FB-9699-DA75A7F5F3A3}"/>
                    </a:ext>
                  </a:extLst>
                </p:cNvPr>
                <p:cNvSpPr/>
                <p:nvPr/>
              </p:nvSpPr>
              <p:spPr>
                <a:xfrm>
                  <a:off x="4346920" y="2007210"/>
                  <a:ext cx="1005251" cy="75664"/>
                </a:xfrm>
                <a:custGeom>
                  <a:avLst/>
                  <a:gdLst>
                    <a:gd name="connsiteX0" fmla="*/ 979525 w 1005250"/>
                    <a:gd name="connsiteY0" fmla="*/ 79177 h 75664"/>
                    <a:gd name="connsiteX1" fmla="*/ 26320 w 1005250"/>
                    <a:gd name="connsiteY1" fmla="*/ 79177 h 75664"/>
                    <a:gd name="connsiteX2" fmla="*/ 0 w 1005250"/>
                    <a:gd name="connsiteY2" fmla="*/ 52857 h 75664"/>
                    <a:gd name="connsiteX3" fmla="*/ 0 w 1005250"/>
                    <a:gd name="connsiteY3" fmla="*/ 26320 h 75664"/>
                    <a:gd name="connsiteX4" fmla="*/ 26320 w 1005250"/>
                    <a:gd name="connsiteY4" fmla="*/ 0 h 75664"/>
                    <a:gd name="connsiteX5" fmla="*/ 979471 w 1005250"/>
                    <a:gd name="connsiteY5" fmla="*/ 0 h 75664"/>
                    <a:gd name="connsiteX6" fmla="*/ 1005791 w 1005250"/>
                    <a:gd name="connsiteY6" fmla="*/ 26320 h 75664"/>
                    <a:gd name="connsiteX7" fmla="*/ 1005791 w 1005250"/>
                    <a:gd name="connsiteY7" fmla="*/ 52857 h 75664"/>
                    <a:gd name="connsiteX8" fmla="*/ 979525 w 1005250"/>
                    <a:gd name="connsiteY8" fmla="*/ 79177 h 7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5250" h="75664">
                      <a:moveTo>
                        <a:pt x="979525" y="79177"/>
                      </a:moveTo>
                      <a:lnTo>
                        <a:pt x="26320" y="79177"/>
                      </a:lnTo>
                      <a:cubicBezTo>
                        <a:pt x="11782" y="79177"/>
                        <a:pt x="0" y="67395"/>
                        <a:pt x="0" y="52857"/>
                      </a:cubicBezTo>
                      <a:lnTo>
                        <a:pt x="0" y="26320"/>
                      </a:lnTo>
                      <a:cubicBezTo>
                        <a:pt x="0" y="11782"/>
                        <a:pt x="11782" y="0"/>
                        <a:pt x="26320" y="0"/>
                      </a:cubicBezTo>
                      <a:lnTo>
                        <a:pt x="979471" y="0"/>
                      </a:lnTo>
                      <a:cubicBezTo>
                        <a:pt x="994009" y="0"/>
                        <a:pt x="1005791" y="11782"/>
                        <a:pt x="1005791" y="26320"/>
                      </a:cubicBezTo>
                      <a:lnTo>
                        <a:pt x="1005791" y="52857"/>
                      </a:lnTo>
                      <a:cubicBezTo>
                        <a:pt x="1005845" y="67395"/>
                        <a:pt x="994063" y="79177"/>
                        <a:pt x="979525" y="79177"/>
                      </a:cubicBezTo>
                      <a:close/>
                    </a:path>
                  </a:pathLst>
                </a:custGeom>
                <a:solidFill>
                  <a:srgbClr val="D9D9D9">
                    <a:alpha val="72000"/>
                  </a:srgbClr>
                </a:solidFill>
                <a:ln w="5398" cap="flat">
                  <a:noFill/>
                  <a:prstDash val="solid"/>
                  <a:miter/>
                </a:ln>
              </p:spPr>
              <p:txBody>
                <a:bodyPr rtlCol="0" anchor="ctr"/>
                <a:lstStyle/>
                <a:p>
                  <a:endParaRPr lang="en-ID"/>
                </a:p>
              </p:txBody>
            </p:sp>
          </p:grpSp>
          <p:sp>
            <p:nvSpPr>
              <p:cNvPr id="135" name="Freeform: Shape 134">
                <a:extLst>
                  <a:ext uri="{FF2B5EF4-FFF2-40B4-BE49-F238E27FC236}">
                    <a16:creationId xmlns:a16="http://schemas.microsoft.com/office/drawing/2014/main" id="{611051B6-EA1A-46E2-BBFE-2AE690B68AE0}"/>
                  </a:ext>
                </a:extLst>
              </p:cNvPr>
              <p:cNvSpPr/>
              <p:nvPr/>
            </p:nvSpPr>
            <p:spPr>
              <a:xfrm>
                <a:off x="3896355" y="2036108"/>
                <a:ext cx="254015" cy="254015"/>
              </a:xfrm>
              <a:custGeom>
                <a:avLst/>
                <a:gdLst>
                  <a:gd name="connsiteX0" fmla="*/ 50641 w 254015"/>
                  <a:gd name="connsiteY0" fmla="*/ 255096 h 254015"/>
                  <a:gd name="connsiteX1" fmla="*/ 204455 w 254015"/>
                  <a:gd name="connsiteY1" fmla="*/ 255096 h 254015"/>
                  <a:gd name="connsiteX2" fmla="*/ 255096 w 254015"/>
                  <a:gd name="connsiteY2" fmla="*/ 204455 h 254015"/>
                  <a:gd name="connsiteX3" fmla="*/ 255096 w 254015"/>
                  <a:gd name="connsiteY3" fmla="*/ 50641 h 254015"/>
                  <a:gd name="connsiteX4" fmla="*/ 204455 w 254015"/>
                  <a:gd name="connsiteY4" fmla="*/ 0 h 254015"/>
                  <a:gd name="connsiteX5" fmla="*/ 50641 w 254015"/>
                  <a:gd name="connsiteY5" fmla="*/ 0 h 254015"/>
                  <a:gd name="connsiteX6" fmla="*/ 0 w 254015"/>
                  <a:gd name="connsiteY6" fmla="*/ 50641 h 254015"/>
                  <a:gd name="connsiteX7" fmla="*/ 0 w 254015"/>
                  <a:gd name="connsiteY7" fmla="*/ 204455 h 254015"/>
                  <a:gd name="connsiteX8" fmla="*/ 50641 w 254015"/>
                  <a:gd name="connsiteY8" fmla="*/ 255096 h 254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015" h="254015">
                    <a:moveTo>
                      <a:pt x="50641" y="255096"/>
                    </a:moveTo>
                    <a:lnTo>
                      <a:pt x="204455" y="255096"/>
                    </a:lnTo>
                    <a:cubicBezTo>
                      <a:pt x="232451" y="255096"/>
                      <a:pt x="255096" y="232397"/>
                      <a:pt x="255096" y="204455"/>
                    </a:cubicBezTo>
                    <a:lnTo>
                      <a:pt x="255096" y="50641"/>
                    </a:lnTo>
                    <a:cubicBezTo>
                      <a:pt x="255096" y="22645"/>
                      <a:pt x="232397" y="0"/>
                      <a:pt x="204455" y="0"/>
                    </a:cubicBezTo>
                    <a:lnTo>
                      <a:pt x="50641" y="0"/>
                    </a:lnTo>
                    <a:cubicBezTo>
                      <a:pt x="22645" y="0"/>
                      <a:pt x="0" y="22699"/>
                      <a:pt x="0" y="50641"/>
                    </a:cubicBezTo>
                    <a:lnTo>
                      <a:pt x="0" y="204455"/>
                    </a:lnTo>
                    <a:cubicBezTo>
                      <a:pt x="0" y="232397"/>
                      <a:pt x="22645" y="255096"/>
                      <a:pt x="50641" y="255096"/>
                    </a:cubicBezTo>
                    <a:close/>
                  </a:path>
                </a:pathLst>
              </a:custGeom>
              <a:solidFill>
                <a:srgbClr val="EB4646"/>
              </a:solidFill>
              <a:ln w="5398" cap="flat">
                <a:noFill/>
                <a:prstDash val="solid"/>
                <a:miter/>
              </a:ln>
            </p:spPr>
            <p:txBody>
              <a:bodyPr rtlCol="0" anchor="ctr"/>
              <a:lstStyle/>
              <a:p>
                <a:endParaRPr lang="en-ID"/>
              </a:p>
            </p:txBody>
          </p:sp>
          <p:grpSp>
            <p:nvGrpSpPr>
              <p:cNvPr id="136" name="Graphic 106">
                <a:extLst>
                  <a:ext uri="{FF2B5EF4-FFF2-40B4-BE49-F238E27FC236}">
                    <a16:creationId xmlns:a16="http://schemas.microsoft.com/office/drawing/2014/main" id="{61B31CEF-5D78-4C43-9513-1763E58DD02B}"/>
                  </a:ext>
                </a:extLst>
              </p:cNvPr>
              <p:cNvGrpSpPr/>
              <p:nvPr/>
            </p:nvGrpSpPr>
            <p:grpSpPr>
              <a:xfrm>
                <a:off x="4246895" y="2421779"/>
                <a:ext cx="816091" cy="205374"/>
                <a:chOff x="4346920" y="2240850"/>
                <a:chExt cx="816091" cy="205374"/>
              </a:xfrm>
              <a:solidFill>
                <a:srgbClr val="D9D9D9">
                  <a:alpha val="72000"/>
                </a:srgbClr>
              </a:solidFill>
            </p:grpSpPr>
            <p:sp>
              <p:nvSpPr>
                <p:cNvPr id="176" name="Freeform: Shape 175">
                  <a:extLst>
                    <a:ext uri="{FF2B5EF4-FFF2-40B4-BE49-F238E27FC236}">
                      <a16:creationId xmlns:a16="http://schemas.microsoft.com/office/drawing/2014/main" id="{9CD52BEE-1A94-49B0-B414-0B74A69A1B6A}"/>
                    </a:ext>
                  </a:extLst>
                </p:cNvPr>
                <p:cNvSpPr/>
                <p:nvPr/>
              </p:nvSpPr>
              <p:spPr>
                <a:xfrm>
                  <a:off x="4346920" y="2240850"/>
                  <a:ext cx="659358" cy="75664"/>
                </a:xfrm>
                <a:custGeom>
                  <a:avLst/>
                  <a:gdLst>
                    <a:gd name="connsiteX0" fmla="*/ 640658 w 659358"/>
                    <a:gd name="connsiteY0" fmla="*/ 79231 h 75664"/>
                    <a:gd name="connsiteX1" fmla="*/ 22861 w 659358"/>
                    <a:gd name="connsiteY1" fmla="*/ 79231 h 75664"/>
                    <a:gd name="connsiteX2" fmla="*/ 0 w 659358"/>
                    <a:gd name="connsiteY2" fmla="*/ 56370 h 75664"/>
                    <a:gd name="connsiteX3" fmla="*/ 0 w 659358"/>
                    <a:gd name="connsiteY3" fmla="*/ 22807 h 75664"/>
                    <a:gd name="connsiteX4" fmla="*/ 22861 w 659358"/>
                    <a:gd name="connsiteY4" fmla="*/ 0 h 75664"/>
                    <a:gd name="connsiteX5" fmla="*/ 640712 w 659358"/>
                    <a:gd name="connsiteY5" fmla="*/ 0 h 75664"/>
                    <a:gd name="connsiteX6" fmla="*/ 663574 w 659358"/>
                    <a:gd name="connsiteY6" fmla="*/ 22807 h 75664"/>
                    <a:gd name="connsiteX7" fmla="*/ 663574 w 659358"/>
                    <a:gd name="connsiteY7" fmla="*/ 56370 h 75664"/>
                    <a:gd name="connsiteX8" fmla="*/ 640658 w 659358"/>
                    <a:gd name="connsiteY8" fmla="*/ 79231 h 7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9358" h="75664">
                      <a:moveTo>
                        <a:pt x="640658" y="79231"/>
                      </a:moveTo>
                      <a:lnTo>
                        <a:pt x="22861" y="79231"/>
                      </a:lnTo>
                      <a:cubicBezTo>
                        <a:pt x="10269" y="79231"/>
                        <a:pt x="0" y="69016"/>
                        <a:pt x="0" y="56370"/>
                      </a:cubicBezTo>
                      <a:lnTo>
                        <a:pt x="0" y="22807"/>
                      </a:lnTo>
                      <a:cubicBezTo>
                        <a:pt x="0" y="10215"/>
                        <a:pt x="10215" y="0"/>
                        <a:pt x="22861" y="0"/>
                      </a:cubicBezTo>
                      <a:lnTo>
                        <a:pt x="640712" y="0"/>
                      </a:lnTo>
                      <a:cubicBezTo>
                        <a:pt x="653305" y="0"/>
                        <a:pt x="663574" y="10215"/>
                        <a:pt x="663574" y="22807"/>
                      </a:cubicBezTo>
                      <a:lnTo>
                        <a:pt x="663574" y="56370"/>
                      </a:lnTo>
                      <a:cubicBezTo>
                        <a:pt x="663520" y="69016"/>
                        <a:pt x="653305" y="79231"/>
                        <a:pt x="640658" y="79231"/>
                      </a:cubicBezTo>
                      <a:close/>
                    </a:path>
                  </a:pathLst>
                </a:custGeom>
                <a:solidFill>
                  <a:srgbClr val="D9D9D9">
                    <a:alpha val="72000"/>
                  </a:srgbClr>
                </a:solidFill>
                <a:ln w="5398" cap="flat">
                  <a:noFill/>
                  <a:prstDash val="solid"/>
                  <a:miter/>
                </a:ln>
              </p:spPr>
              <p:txBody>
                <a:bodyPr rtlCol="0" anchor="ctr"/>
                <a:lstStyle/>
                <a:p>
                  <a:endParaRPr lang="en-ID"/>
                </a:p>
              </p:txBody>
            </p:sp>
            <p:sp>
              <p:nvSpPr>
                <p:cNvPr id="177" name="Freeform: Shape 176">
                  <a:extLst>
                    <a:ext uri="{FF2B5EF4-FFF2-40B4-BE49-F238E27FC236}">
                      <a16:creationId xmlns:a16="http://schemas.microsoft.com/office/drawing/2014/main" id="{F6BDFE84-DCEA-41BF-8F63-77586150543B}"/>
                    </a:ext>
                  </a:extLst>
                </p:cNvPr>
                <p:cNvSpPr/>
                <p:nvPr/>
              </p:nvSpPr>
              <p:spPr>
                <a:xfrm>
                  <a:off x="4346920" y="2368938"/>
                  <a:ext cx="816091" cy="75664"/>
                </a:xfrm>
                <a:custGeom>
                  <a:avLst/>
                  <a:gdLst>
                    <a:gd name="connsiteX0" fmla="*/ 792419 w 816090"/>
                    <a:gd name="connsiteY0" fmla="*/ 79231 h 75664"/>
                    <a:gd name="connsiteX1" fmla="*/ 23726 w 816090"/>
                    <a:gd name="connsiteY1" fmla="*/ 79231 h 75664"/>
                    <a:gd name="connsiteX2" fmla="*/ 0 w 816090"/>
                    <a:gd name="connsiteY2" fmla="*/ 55505 h 75664"/>
                    <a:gd name="connsiteX3" fmla="*/ 0 w 816090"/>
                    <a:gd name="connsiteY3" fmla="*/ 23726 h 75664"/>
                    <a:gd name="connsiteX4" fmla="*/ 23726 w 816090"/>
                    <a:gd name="connsiteY4" fmla="*/ 0 h 75664"/>
                    <a:gd name="connsiteX5" fmla="*/ 792419 w 816090"/>
                    <a:gd name="connsiteY5" fmla="*/ 0 h 75664"/>
                    <a:gd name="connsiteX6" fmla="*/ 816145 w 816090"/>
                    <a:gd name="connsiteY6" fmla="*/ 23726 h 75664"/>
                    <a:gd name="connsiteX7" fmla="*/ 816145 w 816090"/>
                    <a:gd name="connsiteY7" fmla="*/ 55505 h 75664"/>
                    <a:gd name="connsiteX8" fmla="*/ 792419 w 816090"/>
                    <a:gd name="connsiteY8" fmla="*/ 79231 h 7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6090" h="75664">
                      <a:moveTo>
                        <a:pt x="792419" y="79231"/>
                      </a:moveTo>
                      <a:lnTo>
                        <a:pt x="23726" y="79231"/>
                      </a:lnTo>
                      <a:cubicBezTo>
                        <a:pt x="10647" y="79231"/>
                        <a:pt x="0" y="68638"/>
                        <a:pt x="0" y="55505"/>
                      </a:cubicBezTo>
                      <a:lnTo>
                        <a:pt x="0" y="23726"/>
                      </a:lnTo>
                      <a:cubicBezTo>
                        <a:pt x="0" y="10647"/>
                        <a:pt x="10647" y="0"/>
                        <a:pt x="23726" y="0"/>
                      </a:cubicBezTo>
                      <a:lnTo>
                        <a:pt x="792419" y="0"/>
                      </a:lnTo>
                      <a:cubicBezTo>
                        <a:pt x="805498" y="0"/>
                        <a:pt x="816145" y="10593"/>
                        <a:pt x="816145" y="23726"/>
                      </a:cubicBezTo>
                      <a:lnTo>
                        <a:pt x="816145" y="55505"/>
                      </a:lnTo>
                      <a:cubicBezTo>
                        <a:pt x="816145" y="68638"/>
                        <a:pt x="805498" y="79231"/>
                        <a:pt x="792419" y="79231"/>
                      </a:cubicBezTo>
                      <a:close/>
                    </a:path>
                  </a:pathLst>
                </a:custGeom>
                <a:solidFill>
                  <a:srgbClr val="D9D9D9">
                    <a:alpha val="72000"/>
                  </a:srgbClr>
                </a:solidFill>
                <a:ln w="5398" cap="flat">
                  <a:noFill/>
                  <a:prstDash val="solid"/>
                  <a:miter/>
                </a:ln>
              </p:spPr>
              <p:txBody>
                <a:bodyPr rtlCol="0" anchor="ctr"/>
                <a:lstStyle/>
                <a:p>
                  <a:endParaRPr lang="en-ID"/>
                </a:p>
              </p:txBody>
            </p:sp>
          </p:grpSp>
          <p:grpSp>
            <p:nvGrpSpPr>
              <p:cNvPr id="137" name="Graphic 106">
                <a:extLst>
                  <a:ext uri="{FF2B5EF4-FFF2-40B4-BE49-F238E27FC236}">
                    <a16:creationId xmlns:a16="http://schemas.microsoft.com/office/drawing/2014/main" id="{17B325E9-ECB1-4A77-A241-29F1B481C0A5}"/>
                  </a:ext>
                </a:extLst>
              </p:cNvPr>
              <p:cNvGrpSpPr/>
              <p:nvPr/>
            </p:nvGrpSpPr>
            <p:grpSpPr>
              <a:xfrm>
                <a:off x="4246895" y="2783561"/>
                <a:ext cx="962014" cy="205374"/>
                <a:chOff x="4346920" y="2602632"/>
                <a:chExt cx="962014" cy="205374"/>
              </a:xfrm>
              <a:solidFill>
                <a:srgbClr val="D9D9D9">
                  <a:alpha val="72000"/>
                </a:srgbClr>
              </a:solidFill>
            </p:grpSpPr>
            <p:sp>
              <p:nvSpPr>
                <p:cNvPr id="174" name="Freeform: Shape 173">
                  <a:extLst>
                    <a:ext uri="{FF2B5EF4-FFF2-40B4-BE49-F238E27FC236}">
                      <a16:creationId xmlns:a16="http://schemas.microsoft.com/office/drawing/2014/main" id="{5717B105-1321-4B2B-A4B6-4DAE828F4911}"/>
                    </a:ext>
                  </a:extLst>
                </p:cNvPr>
                <p:cNvSpPr/>
                <p:nvPr/>
              </p:nvSpPr>
              <p:spPr>
                <a:xfrm>
                  <a:off x="4346920" y="2602632"/>
                  <a:ext cx="962014" cy="75664"/>
                </a:xfrm>
                <a:custGeom>
                  <a:avLst/>
                  <a:gdLst>
                    <a:gd name="connsiteX0" fmla="*/ 935154 w 962014"/>
                    <a:gd name="connsiteY0" fmla="*/ 79231 h 75664"/>
                    <a:gd name="connsiteX1" fmla="*/ 27509 w 962014"/>
                    <a:gd name="connsiteY1" fmla="*/ 79231 h 75664"/>
                    <a:gd name="connsiteX2" fmla="*/ 0 w 962014"/>
                    <a:gd name="connsiteY2" fmla="*/ 51722 h 75664"/>
                    <a:gd name="connsiteX3" fmla="*/ 0 w 962014"/>
                    <a:gd name="connsiteY3" fmla="*/ 27509 h 75664"/>
                    <a:gd name="connsiteX4" fmla="*/ 27509 w 962014"/>
                    <a:gd name="connsiteY4" fmla="*/ 0 h 75664"/>
                    <a:gd name="connsiteX5" fmla="*/ 935154 w 962014"/>
                    <a:gd name="connsiteY5" fmla="*/ 0 h 75664"/>
                    <a:gd name="connsiteX6" fmla="*/ 962663 w 962014"/>
                    <a:gd name="connsiteY6" fmla="*/ 27509 h 75664"/>
                    <a:gd name="connsiteX7" fmla="*/ 962663 w 962014"/>
                    <a:gd name="connsiteY7" fmla="*/ 51722 h 75664"/>
                    <a:gd name="connsiteX8" fmla="*/ 935154 w 962014"/>
                    <a:gd name="connsiteY8" fmla="*/ 79231 h 7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2014" h="75664">
                      <a:moveTo>
                        <a:pt x="935154" y="79231"/>
                      </a:moveTo>
                      <a:lnTo>
                        <a:pt x="27509" y="79231"/>
                      </a:lnTo>
                      <a:cubicBezTo>
                        <a:pt x="12322" y="79231"/>
                        <a:pt x="0" y="66909"/>
                        <a:pt x="0" y="51722"/>
                      </a:cubicBezTo>
                      <a:lnTo>
                        <a:pt x="0" y="27509"/>
                      </a:lnTo>
                      <a:cubicBezTo>
                        <a:pt x="0" y="12322"/>
                        <a:pt x="12322" y="0"/>
                        <a:pt x="27509" y="0"/>
                      </a:cubicBezTo>
                      <a:lnTo>
                        <a:pt x="935154" y="0"/>
                      </a:lnTo>
                      <a:cubicBezTo>
                        <a:pt x="950340" y="0"/>
                        <a:pt x="962663" y="12322"/>
                        <a:pt x="962663" y="27509"/>
                      </a:cubicBezTo>
                      <a:lnTo>
                        <a:pt x="962663" y="51722"/>
                      </a:lnTo>
                      <a:cubicBezTo>
                        <a:pt x="962663" y="66909"/>
                        <a:pt x="950340" y="79231"/>
                        <a:pt x="935154" y="79231"/>
                      </a:cubicBezTo>
                      <a:close/>
                    </a:path>
                  </a:pathLst>
                </a:custGeom>
                <a:solidFill>
                  <a:srgbClr val="D9D9D9">
                    <a:alpha val="72000"/>
                  </a:srgbClr>
                </a:solidFill>
                <a:ln w="5398" cap="flat">
                  <a:noFill/>
                  <a:prstDash val="solid"/>
                  <a:miter/>
                </a:ln>
              </p:spPr>
              <p:txBody>
                <a:bodyPr rtlCol="0" anchor="ctr"/>
                <a:lstStyle/>
                <a:p>
                  <a:endParaRPr lang="en-ID"/>
                </a:p>
              </p:txBody>
            </p:sp>
            <p:sp>
              <p:nvSpPr>
                <p:cNvPr id="175" name="Freeform: Shape 174">
                  <a:extLst>
                    <a:ext uri="{FF2B5EF4-FFF2-40B4-BE49-F238E27FC236}">
                      <a16:creationId xmlns:a16="http://schemas.microsoft.com/office/drawing/2014/main" id="{41CCBD01-E413-4416-B232-970AE4C6F7EF}"/>
                    </a:ext>
                  </a:extLst>
                </p:cNvPr>
                <p:cNvSpPr/>
                <p:nvPr/>
              </p:nvSpPr>
              <p:spPr>
                <a:xfrm>
                  <a:off x="4346920" y="2730666"/>
                  <a:ext cx="880946" cy="75664"/>
                </a:xfrm>
                <a:custGeom>
                  <a:avLst/>
                  <a:gdLst>
                    <a:gd name="connsiteX0" fmla="*/ 858084 w 880945"/>
                    <a:gd name="connsiteY0" fmla="*/ 79285 h 75664"/>
                    <a:gd name="connsiteX1" fmla="*/ 24699 w 880945"/>
                    <a:gd name="connsiteY1" fmla="*/ 79285 h 75664"/>
                    <a:gd name="connsiteX2" fmla="*/ 0 w 880945"/>
                    <a:gd name="connsiteY2" fmla="*/ 54586 h 75664"/>
                    <a:gd name="connsiteX3" fmla="*/ 0 w 880945"/>
                    <a:gd name="connsiteY3" fmla="*/ 24699 h 75664"/>
                    <a:gd name="connsiteX4" fmla="*/ 24699 w 880945"/>
                    <a:gd name="connsiteY4" fmla="*/ 0 h 75664"/>
                    <a:gd name="connsiteX5" fmla="*/ 858138 w 880945"/>
                    <a:gd name="connsiteY5" fmla="*/ 0 h 75664"/>
                    <a:gd name="connsiteX6" fmla="*/ 882837 w 880945"/>
                    <a:gd name="connsiteY6" fmla="*/ 24699 h 75664"/>
                    <a:gd name="connsiteX7" fmla="*/ 882837 w 880945"/>
                    <a:gd name="connsiteY7" fmla="*/ 54586 h 75664"/>
                    <a:gd name="connsiteX8" fmla="*/ 858084 w 880945"/>
                    <a:gd name="connsiteY8" fmla="*/ 79285 h 7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0945" h="75664">
                      <a:moveTo>
                        <a:pt x="858084" y="79285"/>
                      </a:moveTo>
                      <a:lnTo>
                        <a:pt x="24699" y="79285"/>
                      </a:lnTo>
                      <a:cubicBezTo>
                        <a:pt x="11079" y="79285"/>
                        <a:pt x="0" y="68260"/>
                        <a:pt x="0" y="54586"/>
                      </a:cubicBezTo>
                      <a:lnTo>
                        <a:pt x="0" y="24699"/>
                      </a:lnTo>
                      <a:cubicBezTo>
                        <a:pt x="0" y="11079"/>
                        <a:pt x="11025" y="0"/>
                        <a:pt x="24699" y="0"/>
                      </a:cubicBezTo>
                      <a:lnTo>
                        <a:pt x="858138" y="0"/>
                      </a:lnTo>
                      <a:cubicBezTo>
                        <a:pt x="871758" y="0"/>
                        <a:pt x="882837" y="11025"/>
                        <a:pt x="882837" y="24699"/>
                      </a:cubicBezTo>
                      <a:lnTo>
                        <a:pt x="882837" y="54586"/>
                      </a:lnTo>
                      <a:cubicBezTo>
                        <a:pt x="882783" y="68260"/>
                        <a:pt x="871758" y="79285"/>
                        <a:pt x="858084" y="79285"/>
                      </a:cubicBezTo>
                      <a:close/>
                    </a:path>
                  </a:pathLst>
                </a:custGeom>
                <a:solidFill>
                  <a:srgbClr val="D9D9D9">
                    <a:alpha val="72000"/>
                  </a:srgbClr>
                </a:solidFill>
                <a:ln w="5398" cap="flat">
                  <a:noFill/>
                  <a:prstDash val="solid"/>
                  <a:miter/>
                </a:ln>
              </p:spPr>
              <p:txBody>
                <a:bodyPr rtlCol="0" anchor="ctr"/>
                <a:lstStyle/>
                <a:p>
                  <a:endParaRPr lang="en-ID"/>
                </a:p>
              </p:txBody>
            </p:sp>
          </p:grpSp>
          <p:sp>
            <p:nvSpPr>
              <p:cNvPr id="138" name="Freeform: Shape 137">
                <a:extLst>
                  <a:ext uri="{FF2B5EF4-FFF2-40B4-BE49-F238E27FC236}">
                    <a16:creationId xmlns:a16="http://schemas.microsoft.com/office/drawing/2014/main" id="{74C22ADC-D699-4A7A-9FE1-772DC158B1F7}"/>
                  </a:ext>
                </a:extLst>
              </p:cNvPr>
              <p:cNvSpPr/>
              <p:nvPr/>
            </p:nvSpPr>
            <p:spPr>
              <a:xfrm>
                <a:off x="3896355" y="2759673"/>
                <a:ext cx="254015" cy="254015"/>
              </a:xfrm>
              <a:custGeom>
                <a:avLst/>
                <a:gdLst>
                  <a:gd name="connsiteX0" fmla="*/ 50641 w 254015"/>
                  <a:gd name="connsiteY0" fmla="*/ 255096 h 254015"/>
                  <a:gd name="connsiteX1" fmla="*/ 204455 w 254015"/>
                  <a:gd name="connsiteY1" fmla="*/ 255096 h 254015"/>
                  <a:gd name="connsiteX2" fmla="*/ 255096 w 254015"/>
                  <a:gd name="connsiteY2" fmla="*/ 204455 h 254015"/>
                  <a:gd name="connsiteX3" fmla="*/ 255096 w 254015"/>
                  <a:gd name="connsiteY3" fmla="*/ 50641 h 254015"/>
                  <a:gd name="connsiteX4" fmla="*/ 204455 w 254015"/>
                  <a:gd name="connsiteY4" fmla="*/ 0 h 254015"/>
                  <a:gd name="connsiteX5" fmla="*/ 50641 w 254015"/>
                  <a:gd name="connsiteY5" fmla="*/ 0 h 254015"/>
                  <a:gd name="connsiteX6" fmla="*/ 0 w 254015"/>
                  <a:gd name="connsiteY6" fmla="*/ 50641 h 254015"/>
                  <a:gd name="connsiteX7" fmla="*/ 0 w 254015"/>
                  <a:gd name="connsiteY7" fmla="*/ 204455 h 254015"/>
                  <a:gd name="connsiteX8" fmla="*/ 50641 w 254015"/>
                  <a:gd name="connsiteY8" fmla="*/ 255096 h 254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015" h="254015">
                    <a:moveTo>
                      <a:pt x="50641" y="255096"/>
                    </a:moveTo>
                    <a:lnTo>
                      <a:pt x="204455" y="255096"/>
                    </a:lnTo>
                    <a:cubicBezTo>
                      <a:pt x="232451" y="255096"/>
                      <a:pt x="255096" y="232397"/>
                      <a:pt x="255096" y="204455"/>
                    </a:cubicBezTo>
                    <a:lnTo>
                      <a:pt x="255096" y="50641"/>
                    </a:lnTo>
                    <a:cubicBezTo>
                      <a:pt x="255096" y="22645"/>
                      <a:pt x="232397" y="0"/>
                      <a:pt x="204455" y="0"/>
                    </a:cubicBezTo>
                    <a:lnTo>
                      <a:pt x="50641" y="0"/>
                    </a:lnTo>
                    <a:cubicBezTo>
                      <a:pt x="22645" y="0"/>
                      <a:pt x="0" y="22699"/>
                      <a:pt x="0" y="50641"/>
                    </a:cubicBezTo>
                    <a:lnTo>
                      <a:pt x="0" y="204455"/>
                    </a:lnTo>
                    <a:cubicBezTo>
                      <a:pt x="0" y="232451"/>
                      <a:pt x="22645" y="255096"/>
                      <a:pt x="50641" y="255096"/>
                    </a:cubicBezTo>
                    <a:close/>
                  </a:path>
                </a:pathLst>
              </a:custGeom>
              <a:solidFill>
                <a:srgbClr val="73B6F0"/>
              </a:solidFill>
              <a:ln w="5398" cap="flat">
                <a:noFill/>
                <a:prstDash val="solid"/>
                <a:miter/>
              </a:ln>
            </p:spPr>
            <p:txBody>
              <a:bodyPr rtlCol="0" anchor="ctr"/>
              <a:lstStyle/>
              <a:p>
                <a:endParaRPr lang="en-ID"/>
              </a:p>
            </p:txBody>
          </p:sp>
          <p:sp>
            <p:nvSpPr>
              <p:cNvPr id="139" name="Freeform: Shape 138">
                <a:extLst>
                  <a:ext uri="{FF2B5EF4-FFF2-40B4-BE49-F238E27FC236}">
                    <a16:creationId xmlns:a16="http://schemas.microsoft.com/office/drawing/2014/main" id="{42A16F27-63E8-45BF-98B2-1E1ECDAC3DA5}"/>
                  </a:ext>
                </a:extLst>
              </p:cNvPr>
              <p:cNvSpPr/>
              <p:nvPr/>
            </p:nvSpPr>
            <p:spPr>
              <a:xfrm>
                <a:off x="3896355" y="3501667"/>
                <a:ext cx="254015" cy="254015"/>
              </a:xfrm>
              <a:custGeom>
                <a:avLst/>
                <a:gdLst>
                  <a:gd name="connsiteX0" fmla="*/ 50641 w 254015"/>
                  <a:gd name="connsiteY0" fmla="*/ 255096 h 254015"/>
                  <a:gd name="connsiteX1" fmla="*/ 204455 w 254015"/>
                  <a:gd name="connsiteY1" fmla="*/ 255096 h 254015"/>
                  <a:gd name="connsiteX2" fmla="*/ 255096 w 254015"/>
                  <a:gd name="connsiteY2" fmla="*/ 204455 h 254015"/>
                  <a:gd name="connsiteX3" fmla="*/ 255096 w 254015"/>
                  <a:gd name="connsiteY3" fmla="*/ 50641 h 254015"/>
                  <a:gd name="connsiteX4" fmla="*/ 204455 w 254015"/>
                  <a:gd name="connsiteY4" fmla="*/ 0 h 254015"/>
                  <a:gd name="connsiteX5" fmla="*/ 50641 w 254015"/>
                  <a:gd name="connsiteY5" fmla="*/ 0 h 254015"/>
                  <a:gd name="connsiteX6" fmla="*/ 0 w 254015"/>
                  <a:gd name="connsiteY6" fmla="*/ 50641 h 254015"/>
                  <a:gd name="connsiteX7" fmla="*/ 0 w 254015"/>
                  <a:gd name="connsiteY7" fmla="*/ 204455 h 254015"/>
                  <a:gd name="connsiteX8" fmla="*/ 50641 w 254015"/>
                  <a:gd name="connsiteY8" fmla="*/ 255096 h 254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015" h="254015">
                    <a:moveTo>
                      <a:pt x="50641" y="255096"/>
                    </a:moveTo>
                    <a:lnTo>
                      <a:pt x="204455" y="255096"/>
                    </a:lnTo>
                    <a:cubicBezTo>
                      <a:pt x="232451" y="255096"/>
                      <a:pt x="255096" y="232397"/>
                      <a:pt x="255096" y="204455"/>
                    </a:cubicBezTo>
                    <a:lnTo>
                      <a:pt x="255096" y="50641"/>
                    </a:lnTo>
                    <a:cubicBezTo>
                      <a:pt x="255096" y="22645"/>
                      <a:pt x="232397" y="0"/>
                      <a:pt x="204455" y="0"/>
                    </a:cubicBezTo>
                    <a:lnTo>
                      <a:pt x="50641" y="0"/>
                    </a:lnTo>
                    <a:cubicBezTo>
                      <a:pt x="22645" y="0"/>
                      <a:pt x="0" y="22699"/>
                      <a:pt x="0" y="50641"/>
                    </a:cubicBezTo>
                    <a:lnTo>
                      <a:pt x="0" y="204455"/>
                    </a:lnTo>
                    <a:cubicBezTo>
                      <a:pt x="0" y="232397"/>
                      <a:pt x="22645" y="255096"/>
                      <a:pt x="50641" y="255096"/>
                    </a:cubicBezTo>
                    <a:close/>
                  </a:path>
                </a:pathLst>
              </a:custGeom>
              <a:solidFill>
                <a:srgbClr val="73B6F0"/>
              </a:solidFill>
              <a:ln w="5398" cap="flat">
                <a:noFill/>
                <a:prstDash val="solid"/>
                <a:miter/>
              </a:ln>
            </p:spPr>
            <p:txBody>
              <a:bodyPr rtlCol="0" anchor="ctr"/>
              <a:lstStyle/>
              <a:p>
                <a:endParaRPr lang="en-ID"/>
              </a:p>
            </p:txBody>
          </p:sp>
          <p:grpSp>
            <p:nvGrpSpPr>
              <p:cNvPr id="140" name="Graphic 106">
                <a:extLst>
                  <a:ext uri="{FF2B5EF4-FFF2-40B4-BE49-F238E27FC236}">
                    <a16:creationId xmlns:a16="http://schemas.microsoft.com/office/drawing/2014/main" id="{8BDB10A7-00B8-413E-BA93-2F2907DA9750}"/>
                  </a:ext>
                </a:extLst>
              </p:cNvPr>
              <p:cNvGrpSpPr/>
              <p:nvPr/>
            </p:nvGrpSpPr>
            <p:grpSpPr>
              <a:xfrm>
                <a:off x="4246895" y="3163773"/>
                <a:ext cx="1005251" cy="205374"/>
                <a:chOff x="4346920" y="2982844"/>
                <a:chExt cx="1005251" cy="205374"/>
              </a:xfrm>
              <a:solidFill>
                <a:srgbClr val="D9D9D9">
                  <a:alpha val="72000"/>
                </a:srgbClr>
              </a:solidFill>
            </p:grpSpPr>
            <p:sp>
              <p:nvSpPr>
                <p:cNvPr id="172" name="Freeform: Shape 171">
                  <a:extLst>
                    <a:ext uri="{FF2B5EF4-FFF2-40B4-BE49-F238E27FC236}">
                      <a16:creationId xmlns:a16="http://schemas.microsoft.com/office/drawing/2014/main" id="{6F92371B-09ED-4A5D-BC42-387E448CE889}"/>
                    </a:ext>
                  </a:extLst>
                </p:cNvPr>
                <p:cNvSpPr/>
                <p:nvPr/>
              </p:nvSpPr>
              <p:spPr>
                <a:xfrm>
                  <a:off x="4346920" y="2982844"/>
                  <a:ext cx="880946" cy="75664"/>
                </a:xfrm>
                <a:custGeom>
                  <a:avLst/>
                  <a:gdLst>
                    <a:gd name="connsiteX0" fmla="*/ 856463 w 880945"/>
                    <a:gd name="connsiteY0" fmla="*/ 79177 h 75664"/>
                    <a:gd name="connsiteX1" fmla="*/ 26320 w 880945"/>
                    <a:gd name="connsiteY1" fmla="*/ 79177 h 75664"/>
                    <a:gd name="connsiteX2" fmla="*/ 0 w 880945"/>
                    <a:gd name="connsiteY2" fmla="*/ 52857 h 75664"/>
                    <a:gd name="connsiteX3" fmla="*/ 0 w 880945"/>
                    <a:gd name="connsiteY3" fmla="*/ 26320 h 75664"/>
                    <a:gd name="connsiteX4" fmla="*/ 26320 w 880945"/>
                    <a:gd name="connsiteY4" fmla="*/ 0 h 75664"/>
                    <a:gd name="connsiteX5" fmla="*/ 856409 w 880945"/>
                    <a:gd name="connsiteY5" fmla="*/ 0 h 75664"/>
                    <a:gd name="connsiteX6" fmla="*/ 882729 w 880945"/>
                    <a:gd name="connsiteY6" fmla="*/ 26320 h 75664"/>
                    <a:gd name="connsiteX7" fmla="*/ 882729 w 880945"/>
                    <a:gd name="connsiteY7" fmla="*/ 52857 h 75664"/>
                    <a:gd name="connsiteX8" fmla="*/ 856463 w 880945"/>
                    <a:gd name="connsiteY8" fmla="*/ 79177 h 7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0945" h="75664">
                      <a:moveTo>
                        <a:pt x="856463" y="79177"/>
                      </a:moveTo>
                      <a:lnTo>
                        <a:pt x="26320" y="79177"/>
                      </a:lnTo>
                      <a:cubicBezTo>
                        <a:pt x="11782" y="79177"/>
                        <a:pt x="0" y="67395"/>
                        <a:pt x="0" y="52857"/>
                      </a:cubicBezTo>
                      <a:lnTo>
                        <a:pt x="0" y="26320"/>
                      </a:lnTo>
                      <a:cubicBezTo>
                        <a:pt x="0" y="11782"/>
                        <a:pt x="11782" y="0"/>
                        <a:pt x="26320" y="0"/>
                      </a:cubicBezTo>
                      <a:lnTo>
                        <a:pt x="856409" y="0"/>
                      </a:lnTo>
                      <a:cubicBezTo>
                        <a:pt x="870947" y="0"/>
                        <a:pt x="882729" y="11782"/>
                        <a:pt x="882729" y="26320"/>
                      </a:cubicBezTo>
                      <a:lnTo>
                        <a:pt x="882729" y="52857"/>
                      </a:lnTo>
                      <a:cubicBezTo>
                        <a:pt x="882783" y="67395"/>
                        <a:pt x="871001" y="79177"/>
                        <a:pt x="856463" y="79177"/>
                      </a:cubicBezTo>
                      <a:close/>
                    </a:path>
                  </a:pathLst>
                </a:custGeom>
                <a:solidFill>
                  <a:srgbClr val="D9D9D9">
                    <a:alpha val="72000"/>
                  </a:srgbClr>
                </a:solidFill>
                <a:ln w="5398" cap="flat">
                  <a:noFill/>
                  <a:prstDash val="solid"/>
                  <a:miter/>
                </a:ln>
              </p:spPr>
              <p:txBody>
                <a:bodyPr rtlCol="0" anchor="ctr"/>
                <a:lstStyle/>
                <a:p>
                  <a:endParaRPr lang="en-ID"/>
                </a:p>
              </p:txBody>
            </p:sp>
            <p:sp>
              <p:nvSpPr>
                <p:cNvPr id="173" name="Freeform: Shape 172">
                  <a:extLst>
                    <a:ext uri="{FF2B5EF4-FFF2-40B4-BE49-F238E27FC236}">
                      <a16:creationId xmlns:a16="http://schemas.microsoft.com/office/drawing/2014/main" id="{EBE6E924-00C1-4B53-87A3-12EFFA05888A}"/>
                    </a:ext>
                  </a:extLst>
                </p:cNvPr>
                <p:cNvSpPr/>
                <p:nvPr/>
              </p:nvSpPr>
              <p:spPr>
                <a:xfrm>
                  <a:off x="4346920" y="3110932"/>
                  <a:ext cx="1005251" cy="75664"/>
                </a:xfrm>
                <a:custGeom>
                  <a:avLst/>
                  <a:gdLst>
                    <a:gd name="connsiteX0" fmla="*/ 979525 w 1005250"/>
                    <a:gd name="connsiteY0" fmla="*/ 79177 h 75664"/>
                    <a:gd name="connsiteX1" fmla="*/ 26320 w 1005250"/>
                    <a:gd name="connsiteY1" fmla="*/ 79177 h 75664"/>
                    <a:gd name="connsiteX2" fmla="*/ 0 w 1005250"/>
                    <a:gd name="connsiteY2" fmla="*/ 52857 h 75664"/>
                    <a:gd name="connsiteX3" fmla="*/ 0 w 1005250"/>
                    <a:gd name="connsiteY3" fmla="*/ 26320 h 75664"/>
                    <a:gd name="connsiteX4" fmla="*/ 26320 w 1005250"/>
                    <a:gd name="connsiteY4" fmla="*/ 0 h 75664"/>
                    <a:gd name="connsiteX5" fmla="*/ 979471 w 1005250"/>
                    <a:gd name="connsiteY5" fmla="*/ 0 h 75664"/>
                    <a:gd name="connsiteX6" fmla="*/ 1005791 w 1005250"/>
                    <a:gd name="connsiteY6" fmla="*/ 26320 h 75664"/>
                    <a:gd name="connsiteX7" fmla="*/ 1005791 w 1005250"/>
                    <a:gd name="connsiteY7" fmla="*/ 52857 h 75664"/>
                    <a:gd name="connsiteX8" fmla="*/ 979525 w 1005250"/>
                    <a:gd name="connsiteY8" fmla="*/ 79177 h 7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5250" h="75664">
                      <a:moveTo>
                        <a:pt x="979525" y="79177"/>
                      </a:moveTo>
                      <a:lnTo>
                        <a:pt x="26320" y="79177"/>
                      </a:lnTo>
                      <a:cubicBezTo>
                        <a:pt x="11782" y="79177"/>
                        <a:pt x="0" y="67395"/>
                        <a:pt x="0" y="52857"/>
                      </a:cubicBezTo>
                      <a:lnTo>
                        <a:pt x="0" y="26320"/>
                      </a:lnTo>
                      <a:cubicBezTo>
                        <a:pt x="0" y="11782"/>
                        <a:pt x="11782" y="0"/>
                        <a:pt x="26320" y="0"/>
                      </a:cubicBezTo>
                      <a:lnTo>
                        <a:pt x="979471" y="0"/>
                      </a:lnTo>
                      <a:cubicBezTo>
                        <a:pt x="994009" y="0"/>
                        <a:pt x="1005791" y="11782"/>
                        <a:pt x="1005791" y="26320"/>
                      </a:cubicBezTo>
                      <a:lnTo>
                        <a:pt x="1005791" y="52857"/>
                      </a:lnTo>
                      <a:cubicBezTo>
                        <a:pt x="1005845" y="67395"/>
                        <a:pt x="994063" y="79177"/>
                        <a:pt x="979525" y="79177"/>
                      </a:cubicBezTo>
                      <a:close/>
                    </a:path>
                  </a:pathLst>
                </a:custGeom>
                <a:solidFill>
                  <a:srgbClr val="D9D9D9">
                    <a:alpha val="72000"/>
                  </a:srgbClr>
                </a:solidFill>
                <a:ln w="5398" cap="flat">
                  <a:noFill/>
                  <a:prstDash val="solid"/>
                  <a:miter/>
                </a:ln>
              </p:spPr>
              <p:txBody>
                <a:bodyPr rtlCol="0" anchor="ctr"/>
                <a:lstStyle/>
                <a:p>
                  <a:endParaRPr lang="en-ID"/>
                </a:p>
              </p:txBody>
            </p:sp>
          </p:grpSp>
          <p:sp>
            <p:nvSpPr>
              <p:cNvPr id="141" name="Freeform: Shape 140">
                <a:extLst>
                  <a:ext uri="{FF2B5EF4-FFF2-40B4-BE49-F238E27FC236}">
                    <a16:creationId xmlns:a16="http://schemas.microsoft.com/office/drawing/2014/main" id="{F576122F-E3EB-416F-BCEB-76D3452BEFE6}"/>
                  </a:ext>
                </a:extLst>
              </p:cNvPr>
              <p:cNvSpPr/>
              <p:nvPr/>
            </p:nvSpPr>
            <p:spPr>
              <a:xfrm>
                <a:off x="3896355" y="3139830"/>
                <a:ext cx="254015" cy="254015"/>
              </a:xfrm>
              <a:custGeom>
                <a:avLst/>
                <a:gdLst>
                  <a:gd name="connsiteX0" fmla="*/ 50641 w 254015"/>
                  <a:gd name="connsiteY0" fmla="*/ 255096 h 254015"/>
                  <a:gd name="connsiteX1" fmla="*/ 204455 w 254015"/>
                  <a:gd name="connsiteY1" fmla="*/ 255096 h 254015"/>
                  <a:gd name="connsiteX2" fmla="*/ 255096 w 254015"/>
                  <a:gd name="connsiteY2" fmla="*/ 204455 h 254015"/>
                  <a:gd name="connsiteX3" fmla="*/ 255096 w 254015"/>
                  <a:gd name="connsiteY3" fmla="*/ 50641 h 254015"/>
                  <a:gd name="connsiteX4" fmla="*/ 204455 w 254015"/>
                  <a:gd name="connsiteY4" fmla="*/ 0 h 254015"/>
                  <a:gd name="connsiteX5" fmla="*/ 50641 w 254015"/>
                  <a:gd name="connsiteY5" fmla="*/ 0 h 254015"/>
                  <a:gd name="connsiteX6" fmla="*/ 0 w 254015"/>
                  <a:gd name="connsiteY6" fmla="*/ 50641 h 254015"/>
                  <a:gd name="connsiteX7" fmla="*/ 0 w 254015"/>
                  <a:gd name="connsiteY7" fmla="*/ 204455 h 254015"/>
                  <a:gd name="connsiteX8" fmla="*/ 50641 w 254015"/>
                  <a:gd name="connsiteY8" fmla="*/ 255096 h 254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015" h="254015">
                    <a:moveTo>
                      <a:pt x="50641" y="255096"/>
                    </a:moveTo>
                    <a:lnTo>
                      <a:pt x="204455" y="255096"/>
                    </a:lnTo>
                    <a:cubicBezTo>
                      <a:pt x="232451" y="255096"/>
                      <a:pt x="255096" y="232397"/>
                      <a:pt x="255096" y="204455"/>
                    </a:cubicBezTo>
                    <a:lnTo>
                      <a:pt x="255096" y="50641"/>
                    </a:lnTo>
                    <a:cubicBezTo>
                      <a:pt x="255096" y="22645"/>
                      <a:pt x="232397" y="0"/>
                      <a:pt x="204455" y="0"/>
                    </a:cubicBezTo>
                    <a:lnTo>
                      <a:pt x="50641" y="0"/>
                    </a:lnTo>
                    <a:cubicBezTo>
                      <a:pt x="22645" y="0"/>
                      <a:pt x="0" y="22699"/>
                      <a:pt x="0" y="50641"/>
                    </a:cubicBezTo>
                    <a:lnTo>
                      <a:pt x="0" y="204455"/>
                    </a:lnTo>
                    <a:cubicBezTo>
                      <a:pt x="0" y="232451"/>
                      <a:pt x="22645" y="255096"/>
                      <a:pt x="50641" y="255096"/>
                    </a:cubicBezTo>
                    <a:close/>
                  </a:path>
                </a:pathLst>
              </a:custGeom>
              <a:solidFill>
                <a:srgbClr val="73B6F0"/>
              </a:solidFill>
              <a:ln w="5398" cap="flat">
                <a:noFill/>
                <a:prstDash val="solid"/>
                <a:miter/>
              </a:ln>
            </p:spPr>
            <p:txBody>
              <a:bodyPr rtlCol="0" anchor="ctr"/>
              <a:lstStyle/>
              <a:p>
                <a:endParaRPr lang="en-ID"/>
              </a:p>
            </p:txBody>
          </p:sp>
          <p:grpSp>
            <p:nvGrpSpPr>
              <p:cNvPr id="142" name="Graphic 106">
                <a:extLst>
                  <a:ext uri="{FF2B5EF4-FFF2-40B4-BE49-F238E27FC236}">
                    <a16:creationId xmlns:a16="http://schemas.microsoft.com/office/drawing/2014/main" id="{F2819873-B52D-4992-85C7-A15184C805B2}"/>
                  </a:ext>
                </a:extLst>
              </p:cNvPr>
              <p:cNvGrpSpPr/>
              <p:nvPr/>
            </p:nvGrpSpPr>
            <p:grpSpPr>
              <a:xfrm>
                <a:off x="4246895" y="3525447"/>
                <a:ext cx="816091" cy="205374"/>
                <a:chOff x="4346920" y="3344518"/>
                <a:chExt cx="816091" cy="205374"/>
              </a:xfrm>
              <a:solidFill>
                <a:srgbClr val="D9D9D9">
                  <a:alpha val="72000"/>
                </a:srgbClr>
              </a:solidFill>
            </p:grpSpPr>
            <p:sp>
              <p:nvSpPr>
                <p:cNvPr id="170" name="Freeform: Shape 169">
                  <a:extLst>
                    <a:ext uri="{FF2B5EF4-FFF2-40B4-BE49-F238E27FC236}">
                      <a16:creationId xmlns:a16="http://schemas.microsoft.com/office/drawing/2014/main" id="{F601E77F-3EDE-431A-AC62-36EC6147C9FE}"/>
                    </a:ext>
                  </a:extLst>
                </p:cNvPr>
                <p:cNvSpPr/>
                <p:nvPr/>
              </p:nvSpPr>
              <p:spPr>
                <a:xfrm>
                  <a:off x="4346920" y="3344518"/>
                  <a:ext cx="659358" cy="75664"/>
                </a:xfrm>
                <a:custGeom>
                  <a:avLst/>
                  <a:gdLst>
                    <a:gd name="connsiteX0" fmla="*/ 640658 w 659358"/>
                    <a:gd name="connsiteY0" fmla="*/ 79285 h 75664"/>
                    <a:gd name="connsiteX1" fmla="*/ 22861 w 659358"/>
                    <a:gd name="connsiteY1" fmla="*/ 79285 h 75664"/>
                    <a:gd name="connsiteX2" fmla="*/ 0 w 659358"/>
                    <a:gd name="connsiteY2" fmla="*/ 56424 h 75664"/>
                    <a:gd name="connsiteX3" fmla="*/ 0 w 659358"/>
                    <a:gd name="connsiteY3" fmla="*/ 22861 h 75664"/>
                    <a:gd name="connsiteX4" fmla="*/ 22861 w 659358"/>
                    <a:gd name="connsiteY4" fmla="*/ 0 h 75664"/>
                    <a:gd name="connsiteX5" fmla="*/ 640712 w 659358"/>
                    <a:gd name="connsiteY5" fmla="*/ 0 h 75664"/>
                    <a:gd name="connsiteX6" fmla="*/ 663574 w 659358"/>
                    <a:gd name="connsiteY6" fmla="*/ 22861 h 75664"/>
                    <a:gd name="connsiteX7" fmla="*/ 663574 w 659358"/>
                    <a:gd name="connsiteY7" fmla="*/ 56424 h 75664"/>
                    <a:gd name="connsiteX8" fmla="*/ 640658 w 659358"/>
                    <a:gd name="connsiteY8" fmla="*/ 79285 h 7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9358" h="75664">
                      <a:moveTo>
                        <a:pt x="640658" y="79285"/>
                      </a:moveTo>
                      <a:lnTo>
                        <a:pt x="22861" y="79285"/>
                      </a:lnTo>
                      <a:cubicBezTo>
                        <a:pt x="10269" y="79285"/>
                        <a:pt x="0" y="69070"/>
                        <a:pt x="0" y="56424"/>
                      </a:cubicBezTo>
                      <a:lnTo>
                        <a:pt x="0" y="22861"/>
                      </a:lnTo>
                      <a:cubicBezTo>
                        <a:pt x="0" y="10269"/>
                        <a:pt x="10215" y="0"/>
                        <a:pt x="22861" y="0"/>
                      </a:cubicBezTo>
                      <a:lnTo>
                        <a:pt x="640712" y="0"/>
                      </a:lnTo>
                      <a:cubicBezTo>
                        <a:pt x="653305" y="0"/>
                        <a:pt x="663574" y="10215"/>
                        <a:pt x="663574" y="22861"/>
                      </a:cubicBezTo>
                      <a:lnTo>
                        <a:pt x="663574" y="56424"/>
                      </a:lnTo>
                      <a:cubicBezTo>
                        <a:pt x="663520" y="69070"/>
                        <a:pt x="653305" y="79285"/>
                        <a:pt x="640658" y="79285"/>
                      </a:cubicBezTo>
                      <a:close/>
                    </a:path>
                  </a:pathLst>
                </a:custGeom>
                <a:solidFill>
                  <a:srgbClr val="D9D9D9">
                    <a:alpha val="72000"/>
                  </a:srgbClr>
                </a:solidFill>
                <a:ln w="5398" cap="flat">
                  <a:noFill/>
                  <a:prstDash val="solid"/>
                  <a:miter/>
                </a:ln>
              </p:spPr>
              <p:txBody>
                <a:bodyPr rtlCol="0" anchor="ctr"/>
                <a:lstStyle/>
                <a:p>
                  <a:endParaRPr lang="en-ID"/>
                </a:p>
              </p:txBody>
            </p:sp>
            <p:sp>
              <p:nvSpPr>
                <p:cNvPr id="171" name="Freeform: Shape 170">
                  <a:extLst>
                    <a:ext uri="{FF2B5EF4-FFF2-40B4-BE49-F238E27FC236}">
                      <a16:creationId xmlns:a16="http://schemas.microsoft.com/office/drawing/2014/main" id="{4AFF412E-479B-4A5D-AE2A-5B9A459DBF88}"/>
                    </a:ext>
                  </a:extLst>
                </p:cNvPr>
                <p:cNvSpPr/>
                <p:nvPr/>
              </p:nvSpPr>
              <p:spPr>
                <a:xfrm>
                  <a:off x="4346920" y="3472660"/>
                  <a:ext cx="816091" cy="75664"/>
                </a:xfrm>
                <a:custGeom>
                  <a:avLst/>
                  <a:gdLst>
                    <a:gd name="connsiteX0" fmla="*/ 792419 w 816090"/>
                    <a:gd name="connsiteY0" fmla="*/ 79231 h 75664"/>
                    <a:gd name="connsiteX1" fmla="*/ 23726 w 816090"/>
                    <a:gd name="connsiteY1" fmla="*/ 79231 h 75664"/>
                    <a:gd name="connsiteX2" fmla="*/ 0 w 816090"/>
                    <a:gd name="connsiteY2" fmla="*/ 55505 h 75664"/>
                    <a:gd name="connsiteX3" fmla="*/ 0 w 816090"/>
                    <a:gd name="connsiteY3" fmla="*/ 23726 h 75664"/>
                    <a:gd name="connsiteX4" fmla="*/ 23726 w 816090"/>
                    <a:gd name="connsiteY4" fmla="*/ 0 h 75664"/>
                    <a:gd name="connsiteX5" fmla="*/ 792419 w 816090"/>
                    <a:gd name="connsiteY5" fmla="*/ 0 h 75664"/>
                    <a:gd name="connsiteX6" fmla="*/ 816145 w 816090"/>
                    <a:gd name="connsiteY6" fmla="*/ 23726 h 75664"/>
                    <a:gd name="connsiteX7" fmla="*/ 816145 w 816090"/>
                    <a:gd name="connsiteY7" fmla="*/ 55505 h 75664"/>
                    <a:gd name="connsiteX8" fmla="*/ 792419 w 816090"/>
                    <a:gd name="connsiteY8" fmla="*/ 79231 h 7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6090" h="75664">
                      <a:moveTo>
                        <a:pt x="792419" y="79231"/>
                      </a:moveTo>
                      <a:lnTo>
                        <a:pt x="23726" y="79231"/>
                      </a:lnTo>
                      <a:cubicBezTo>
                        <a:pt x="10647" y="79231"/>
                        <a:pt x="0" y="68638"/>
                        <a:pt x="0" y="55505"/>
                      </a:cubicBezTo>
                      <a:lnTo>
                        <a:pt x="0" y="23726"/>
                      </a:lnTo>
                      <a:cubicBezTo>
                        <a:pt x="0" y="10647"/>
                        <a:pt x="10647" y="0"/>
                        <a:pt x="23726" y="0"/>
                      </a:cubicBezTo>
                      <a:lnTo>
                        <a:pt x="792419" y="0"/>
                      </a:lnTo>
                      <a:cubicBezTo>
                        <a:pt x="805498" y="0"/>
                        <a:pt x="816145" y="10647"/>
                        <a:pt x="816145" y="23726"/>
                      </a:cubicBezTo>
                      <a:lnTo>
                        <a:pt x="816145" y="55505"/>
                      </a:lnTo>
                      <a:cubicBezTo>
                        <a:pt x="816145" y="68638"/>
                        <a:pt x="805498" y="79231"/>
                        <a:pt x="792419" y="79231"/>
                      </a:cubicBezTo>
                      <a:close/>
                    </a:path>
                  </a:pathLst>
                </a:custGeom>
                <a:solidFill>
                  <a:srgbClr val="D9D9D9">
                    <a:alpha val="72000"/>
                  </a:srgbClr>
                </a:solidFill>
                <a:ln w="5398" cap="flat">
                  <a:noFill/>
                  <a:prstDash val="solid"/>
                  <a:miter/>
                </a:ln>
              </p:spPr>
              <p:txBody>
                <a:bodyPr rtlCol="0" anchor="ctr"/>
                <a:lstStyle/>
                <a:p>
                  <a:endParaRPr lang="en-ID"/>
                </a:p>
              </p:txBody>
            </p:sp>
          </p:grpSp>
          <p:grpSp>
            <p:nvGrpSpPr>
              <p:cNvPr id="143" name="Graphic 106">
                <a:extLst>
                  <a:ext uri="{FF2B5EF4-FFF2-40B4-BE49-F238E27FC236}">
                    <a16:creationId xmlns:a16="http://schemas.microsoft.com/office/drawing/2014/main" id="{8E87AD01-2110-4611-89FD-71773BFF96FA}"/>
                  </a:ext>
                </a:extLst>
              </p:cNvPr>
              <p:cNvGrpSpPr/>
              <p:nvPr/>
            </p:nvGrpSpPr>
            <p:grpSpPr>
              <a:xfrm>
                <a:off x="4246895" y="3887283"/>
                <a:ext cx="962014" cy="205374"/>
                <a:chOff x="4346920" y="3706354"/>
                <a:chExt cx="962014" cy="205374"/>
              </a:xfrm>
              <a:solidFill>
                <a:srgbClr val="D9D9D9">
                  <a:alpha val="72000"/>
                </a:srgbClr>
              </a:solidFill>
            </p:grpSpPr>
            <p:sp>
              <p:nvSpPr>
                <p:cNvPr id="168" name="Freeform: Shape 167">
                  <a:extLst>
                    <a:ext uri="{FF2B5EF4-FFF2-40B4-BE49-F238E27FC236}">
                      <a16:creationId xmlns:a16="http://schemas.microsoft.com/office/drawing/2014/main" id="{628373A4-1827-42B0-933C-D3FBDCD5A21D}"/>
                    </a:ext>
                  </a:extLst>
                </p:cNvPr>
                <p:cNvSpPr/>
                <p:nvPr/>
              </p:nvSpPr>
              <p:spPr>
                <a:xfrm>
                  <a:off x="4346920" y="3706354"/>
                  <a:ext cx="962014" cy="75664"/>
                </a:xfrm>
                <a:custGeom>
                  <a:avLst/>
                  <a:gdLst>
                    <a:gd name="connsiteX0" fmla="*/ 935154 w 962014"/>
                    <a:gd name="connsiteY0" fmla="*/ 79231 h 75664"/>
                    <a:gd name="connsiteX1" fmla="*/ 27509 w 962014"/>
                    <a:gd name="connsiteY1" fmla="*/ 79231 h 75664"/>
                    <a:gd name="connsiteX2" fmla="*/ 0 w 962014"/>
                    <a:gd name="connsiteY2" fmla="*/ 51722 h 75664"/>
                    <a:gd name="connsiteX3" fmla="*/ 0 w 962014"/>
                    <a:gd name="connsiteY3" fmla="*/ 27509 h 75664"/>
                    <a:gd name="connsiteX4" fmla="*/ 27509 w 962014"/>
                    <a:gd name="connsiteY4" fmla="*/ 0 h 75664"/>
                    <a:gd name="connsiteX5" fmla="*/ 935154 w 962014"/>
                    <a:gd name="connsiteY5" fmla="*/ 0 h 75664"/>
                    <a:gd name="connsiteX6" fmla="*/ 962663 w 962014"/>
                    <a:gd name="connsiteY6" fmla="*/ 27509 h 75664"/>
                    <a:gd name="connsiteX7" fmla="*/ 962663 w 962014"/>
                    <a:gd name="connsiteY7" fmla="*/ 51722 h 75664"/>
                    <a:gd name="connsiteX8" fmla="*/ 935154 w 962014"/>
                    <a:gd name="connsiteY8" fmla="*/ 79231 h 7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2014" h="75664">
                      <a:moveTo>
                        <a:pt x="935154" y="79231"/>
                      </a:moveTo>
                      <a:lnTo>
                        <a:pt x="27509" y="79231"/>
                      </a:lnTo>
                      <a:cubicBezTo>
                        <a:pt x="12322" y="79231"/>
                        <a:pt x="0" y="66909"/>
                        <a:pt x="0" y="51722"/>
                      </a:cubicBezTo>
                      <a:lnTo>
                        <a:pt x="0" y="27509"/>
                      </a:lnTo>
                      <a:cubicBezTo>
                        <a:pt x="0" y="12323"/>
                        <a:pt x="12322" y="0"/>
                        <a:pt x="27509" y="0"/>
                      </a:cubicBezTo>
                      <a:lnTo>
                        <a:pt x="935154" y="0"/>
                      </a:lnTo>
                      <a:cubicBezTo>
                        <a:pt x="950340" y="0"/>
                        <a:pt x="962663" y="12323"/>
                        <a:pt x="962663" y="27509"/>
                      </a:cubicBezTo>
                      <a:lnTo>
                        <a:pt x="962663" y="51722"/>
                      </a:lnTo>
                      <a:cubicBezTo>
                        <a:pt x="962663" y="66963"/>
                        <a:pt x="950340" y="79231"/>
                        <a:pt x="935154" y="79231"/>
                      </a:cubicBezTo>
                      <a:close/>
                    </a:path>
                  </a:pathLst>
                </a:custGeom>
                <a:solidFill>
                  <a:srgbClr val="D9D9D9">
                    <a:alpha val="72000"/>
                  </a:srgbClr>
                </a:solidFill>
                <a:ln w="5398" cap="flat">
                  <a:noFill/>
                  <a:prstDash val="solid"/>
                  <a:miter/>
                </a:ln>
              </p:spPr>
              <p:txBody>
                <a:bodyPr rtlCol="0" anchor="ctr"/>
                <a:lstStyle/>
                <a:p>
                  <a:endParaRPr lang="en-ID"/>
                </a:p>
              </p:txBody>
            </p:sp>
            <p:sp>
              <p:nvSpPr>
                <p:cNvPr id="169" name="Freeform: Shape 168">
                  <a:extLst>
                    <a:ext uri="{FF2B5EF4-FFF2-40B4-BE49-F238E27FC236}">
                      <a16:creationId xmlns:a16="http://schemas.microsoft.com/office/drawing/2014/main" id="{6F49524A-11B8-4B0F-B753-4BCD452E5D75}"/>
                    </a:ext>
                  </a:extLst>
                </p:cNvPr>
                <p:cNvSpPr/>
                <p:nvPr/>
              </p:nvSpPr>
              <p:spPr>
                <a:xfrm>
                  <a:off x="4346920" y="3834443"/>
                  <a:ext cx="880946" cy="75664"/>
                </a:xfrm>
                <a:custGeom>
                  <a:avLst/>
                  <a:gdLst>
                    <a:gd name="connsiteX0" fmla="*/ 858084 w 880945"/>
                    <a:gd name="connsiteY0" fmla="*/ 79285 h 75664"/>
                    <a:gd name="connsiteX1" fmla="*/ 24699 w 880945"/>
                    <a:gd name="connsiteY1" fmla="*/ 79285 h 75664"/>
                    <a:gd name="connsiteX2" fmla="*/ 0 w 880945"/>
                    <a:gd name="connsiteY2" fmla="*/ 54586 h 75664"/>
                    <a:gd name="connsiteX3" fmla="*/ 0 w 880945"/>
                    <a:gd name="connsiteY3" fmla="*/ 24699 h 75664"/>
                    <a:gd name="connsiteX4" fmla="*/ 24699 w 880945"/>
                    <a:gd name="connsiteY4" fmla="*/ 0 h 75664"/>
                    <a:gd name="connsiteX5" fmla="*/ 858138 w 880945"/>
                    <a:gd name="connsiteY5" fmla="*/ 0 h 75664"/>
                    <a:gd name="connsiteX6" fmla="*/ 882837 w 880945"/>
                    <a:gd name="connsiteY6" fmla="*/ 24699 h 75664"/>
                    <a:gd name="connsiteX7" fmla="*/ 882837 w 880945"/>
                    <a:gd name="connsiteY7" fmla="*/ 54586 h 75664"/>
                    <a:gd name="connsiteX8" fmla="*/ 858084 w 880945"/>
                    <a:gd name="connsiteY8" fmla="*/ 79285 h 7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0945" h="75664">
                      <a:moveTo>
                        <a:pt x="858084" y="79285"/>
                      </a:moveTo>
                      <a:lnTo>
                        <a:pt x="24699" y="79285"/>
                      </a:lnTo>
                      <a:cubicBezTo>
                        <a:pt x="11079" y="79285"/>
                        <a:pt x="0" y="68260"/>
                        <a:pt x="0" y="54586"/>
                      </a:cubicBezTo>
                      <a:lnTo>
                        <a:pt x="0" y="24699"/>
                      </a:lnTo>
                      <a:cubicBezTo>
                        <a:pt x="0" y="11079"/>
                        <a:pt x="11025" y="0"/>
                        <a:pt x="24699" y="0"/>
                      </a:cubicBezTo>
                      <a:lnTo>
                        <a:pt x="858138" y="0"/>
                      </a:lnTo>
                      <a:cubicBezTo>
                        <a:pt x="871758" y="0"/>
                        <a:pt x="882837" y="11025"/>
                        <a:pt x="882837" y="24699"/>
                      </a:cubicBezTo>
                      <a:lnTo>
                        <a:pt x="882837" y="54586"/>
                      </a:lnTo>
                      <a:cubicBezTo>
                        <a:pt x="882783" y="68206"/>
                        <a:pt x="871758" y="79285"/>
                        <a:pt x="858084" y="79285"/>
                      </a:cubicBezTo>
                      <a:close/>
                    </a:path>
                  </a:pathLst>
                </a:custGeom>
                <a:solidFill>
                  <a:srgbClr val="D9D9D9">
                    <a:alpha val="72000"/>
                  </a:srgbClr>
                </a:solidFill>
                <a:ln w="5398" cap="flat">
                  <a:noFill/>
                  <a:prstDash val="solid"/>
                  <a:miter/>
                </a:ln>
              </p:spPr>
              <p:txBody>
                <a:bodyPr rtlCol="0" anchor="ctr"/>
                <a:lstStyle/>
                <a:p>
                  <a:endParaRPr lang="en-ID"/>
                </a:p>
              </p:txBody>
            </p:sp>
          </p:grpSp>
          <p:sp>
            <p:nvSpPr>
              <p:cNvPr id="144" name="Freeform: Shape 143">
                <a:extLst>
                  <a:ext uri="{FF2B5EF4-FFF2-40B4-BE49-F238E27FC236}">
                    <a16:creationId xmlns:a16="http://schemas.microsoft.com/office/drawing/2014/main" id="{D663AEF7-BE88-4E5F-AFFB-CE35E2D7923A}"/>
                  </a:ext>
                </a:extLst>
              </p:cNvPr>
              <p:cNvSpPr/>
              <p:nvPr/>
            </p:nvSpPr>
            <p:spPr>
              <a:xfrm>
                <a:off x="3896355" y="3863449"/>
                <a:ext cx="254015" cy="254015"/>
              </a:xfrm>
              <a:custGeom>
                <a:avLst/>
                <a:gdLst>
                  <a:gd name="connsiteX0" fmla="*/ 50641 w 254015"/>
                  <a:gd name="connsiteY0" fmla="*/ 255096 h 254015"/>
                  <a:gd name="connsiteX1" fmla="*/ 204455 w 254015"/>
                  <a:gd name="connsiteY1" fmla="*/ 255096 h 254015"/>
                  <a:gd name="connsiteX2" fmla="*/ 255096 w 254015"/>
                  <a:gd name="connsiteY2" fmla="*/ 204455 h 254015"/>
                  <a:gd name="connsiteX3" fmla="*/ 255096 w 254015"/>
                  <a:gd name="connsiteY3" fmla="*/ 50641 h 254015"/>
                  <a:gd name="connsiteX4" fmla="*/ 204455 w 254015"/>
                  <a:gd name="connsiteY4" fmla="*/ 0 h 254015"/>
                  <a:gd name="connsiteX5" fmla="*/ 50641 w 254015"/>
                  <a:gd name="connsiteY5" fmla="*/ 0 h 254015"/>
                  <a:gd name="connsiteX6" fmla="*/ 0 w 254015"/>
                  <a:gd name="connsiteY6" fmla="*/ 50641 h 254015"/>
                  <a:gd name="connsiteX7" fmla="*/ 0 w 254015"/>
                  <a:gd name="connsiteY7" fmla="*/ 204455 h 254015"/>
                  <a:gd name="connsiteX8" fmla="*/ 50641 w 254015"/>
                  <a:gd name="connsiteY8" fmla="*/ 255096 h 254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015" h="254015">
                    <a:moveTo>
                      <a:pt x="50641" y="255096"/>
                    </a:moveTo>
                    <a:lnTo>
                      <a:pt x="204455" y="255096"/>
                    </a:lnTo>
                    <a:cubicBezTo>
                      <a:pt x="232451" y="255096"/>
                      <a:pt x="255096" y="232397"/>
                      <a:pt x="255096" y="204455"/>
                    </a:cubicBezTo>
                    <a:lnTo>
                      <a:pt x="255096" y="50641"/>
                    </a:lnTo>
                    <a:cubicBezTo>
                      <a:pt x="255096" y="22645"/>
                      <a:pt x="232397" y="0"/>
                      <a:pt x="204455" y="0"/>
                    </a:cubicBezTo>
                    <a:lnTo>
                      <a:pt x="50641" y="0"/>
                    </a:lnTo>
                    <a:cubicBezTo>
                      <a:pt x="22645" y="0"/>
                      <a:pt x="0" y="22699"/>
                      <a:pt x="0" y="50641"/>
                    </a:cubicBezTo>
                    <a:lnTo>
                      <a:pt x="0" y="204455"/>
                    </a:lnTo>
                    <a:cubicBezTo>
                      <a:pt x="0" y="232397"/>
                      <a:pt x="22645" y="255096"/>
                      <a:pt x="50641" y="255096"/>
                    </a:cubicBezTo>
                    <a:close/>
                  </a:path>
                </a:pathLst>
              </a:custGeom>
              <a:solidFill>
                <a:srgbClr val="73B6F0"/>
              </a:solidFill>
              <a:ln w="5398" cap="flat">
                <a:noFill/>
                <a:prstDash val="solid"/>
                <a:miter/>
              </a:ln>
            </p:spPr>
            <p:txBody>
              <a:bodyPr rtlCol="0" anchor="ctr"/>
              <a:lstStyle/>
              <a:p>
                <a:endParaRPr lang="en-ID"/>
              </a:p>
            </p:txBody>
          </p:sp>
          <p:sp>
            <p:nvSpPr>
              <p:cNvPr id="145" name="Freeform: Shape 144">
                <a:extLst>
                  <a:ext uri="{FF2B5EF4-FFF2-40B4-BE49-F238E27FC236}">
                    <a16:creationId xmlns:a16="http://schemas.microsoft.com/office/drawing/2014/main" id="{2628E8F8-6423-4ABF-92FC-D542D1CDE7B6}"/>
                  </a:ext>
                </a:extLst>
              </p:cNvPr>
              <p:cNvSpPr/>
              <p:nvPr/>
            </p:nvSpPr>
            <p:spPr>
              <a:xfrm>
                <a:off x="3964452" y="3279809"/>
                <a:ext cx="216183" cy="183756"/>
              </a:xfrm>
              <a:custGeom>
                <a:avLst/>
                <a:gdLst>
                  <a:gd name="connsiteX0" fmla="*/ 66963 w 216182"/>
                  <a:gd name="connsiteY0" fmla="*/ 0 h 183755"/>
                  <a:gd name="connsiteX1" fmla="*/ 107875 w 216182"/>
                  <a:gd name="connsiteY1" fmla="*/ 41669 h 183755"/>
                  <a:gd name="connsiteX2" fmla="*/ 166947 w 216182"/>
                  <a:gd name="connsiteY2" fmla="*/ 38481 h 183755"/>
                  <a:gd name="connsiteX3" fmla="*/ 217588 w 216182"/>
                  <a:gd name="connsiteY3" fmla="*/ 45507 h 183755"/>
                  <a:gd name="connsiteX4" fmla="*/ 138033 w 216182"/>
                  <a:gd name="connsiteY4" fmla="*/ 67557 h 183755"/>
                  <a:gd name="connsiteX5" fmla="*/ 176027 w 216182"/>
                  <a:gd name="connsiteY5" fmla="*/ 117820 h 183755"/>
                  <a:gd name="connsiteX6" fmla="*/ 82420 w 216182"/>
                  <a:gd name="connsiteY6" fmla="*/ 179432 h 183755"/>
                  <a:gd name="connsiteX7" fmla="*/ 33779 w 216182"/>
                  <a:gd name="connsiteY7" fmla="*/ 99931 h 183755"/>
                  <a:gd name="connsiteX8" fmla="*/ 0 w 216182"/>
                  <a:gd name="connsiteY8" fmla="*/ 57397 h 183755"/>
                  <a:gd name="connsiteX9" fmla="*/ 66963 w 216182"/>
                  <a:gd name="connsiteY9" fmla="*/ 0 h 183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182" h="183755">
                    <a:moveTo>
                      <a:pt x="66963" y="0"/>
                    </a:moveTo>
                    <a:cubicBezTo>
                      <a:pt x="66963" y="0"/>
                      <a:pt x="87878" y="47668"/>
                      <a:pt x="107875" y="41669"/>
                    </a:cubicBezTo>
                    <a:cubicBezTo>
                      <a:pt x="127872" y="35670"/>
                      <a:pt x="157597" y="37454"/>
                      <a:pt x="166947" y="38481"/>
                    </a:cubicBezTo>
                    <a:cubicBezTo>
                      <a:pt x="179432" y="39832"/>
                      <a:pt x="219966" y="30320"/>
                      <a:pt x="217588" y="45507"/>
                    </a:cubicBezTo>
                    <a:cubicBezTo>
                      <a:pt x="215210" y="60639"/>
                      <a:pt x="151382" y="64260"/>
                      <a:pt x="138033" y="67557"/>
                    </a:cubicBezTo>
                    <a:cubicBezTo>
                      <a:pt x="124684" y="70854"/>
                      <a:pt x="172676" y="104795"/>
                      <a:pt x="176027" y="117820"/>
                    </a:cubicBezTo>
                    <a:cubicBezTo>
                      <a:pt x="179378" y="130899"/>
                      <a:pt x="112361" y="206509"/>
                      <a:pt x="82420" y="179432"/>
                    </a:cubicBezTo>
                    <a:cubicBezTo>
                      <a:pt x="52478" y="152355"/>
                      <a:pt x="40102" y="103660"/>
                      <a:pt x="33779" y="99931"/>
                    </a:cubicBezTo>
                    <a:cubicBezTo>
                      <a:pt x="27455" y="96202"/>
                      <a:pt x="0" y="57397"/>
                      <a:pt x="0" y="57397"/>
                    </a:cubicBezTo>
                    <a:lnTo>
                      <a:pt x="66963" y="0"/>
                    </a:lnTo>
                    <a:close/>
                  </a:path>
                </a:pathLst>
              </a:custGeom>
              <a:solidFill>
                <a:srgbClr val="EEA886"/>
              </a:solidFill>
              <a:ln w="5398" cap="flat">
                <a:noFill/>
                <a:prstDash val="solid"/>
                <a:miter/>
              </a:ln>
            </p:spPr>
            <p:txBody>
              <a:bodyPr rtlCol="0" anchor="ctr"/>
              <a:lstStyle/>
              <a:p>
                <a:endParaRPr lang="en-ID"/>
              </a:p>
            </p:txBody>
          </p:sp>
          <p:sp>
            <p:nvSpPr>
              <p:cNvPr id="146" name="Freeform: Shape 145">
                <a:extLst>
                  <a:ext uri="{FF2B5EF4-FFF2-40B4-BE49-F238E27FC236}">
                    <a16:creationId xmlns:a16="http://schemas.microsoft.com/office/drawing/2014/main" id="{2AEBF8A2-1A8D-4CCF-BA55-939C0D1BA320}"/>
                  </a:ext>
                </a:extLst>
              </p:cNvPr>
              <p:cNvSpPr/>
              <p:nvPr/>
            </p:nvSpPr>
            <p:spPr>
              <a:xfrm>
                <a:off x="4048277" y="3389684"/>
                <a:ext cx="167542" cy="172946"/>
              </a:xfrm>
              <a:custGeom>
                <a:avLst/>
                <a:gdLst>
                  <a:gd name="connsiteX0" fmla="*/ 86797 w 167541"/>
                  <a:gd name="connsiteY0" fmla="*/ 0 h 172946"/>
                  <a:gd name="connsiteX1" fmla="*/ 172730 w 167541"/>
                  <a:gd name="connsiteY1" fmla="*/ 99714 h 172946"/>
                  <a:gd name="connsiteX2" fmla="*/ 159111 w 167541"/>
                  <a:gd name="connsiteY2" fmla="*/ 106848 h 172946"/>
                  <a:gd name="connsiteX3" fmla="*/ 73664 w 167541"/>
                  <a:gd name="connsiteY3" fmla="*/ 23294 h 172946"/>
                  <a:gd name="connsiteX4" fmla="*/ 157976 w 167541"/>
                  <a:gd name="connsiteY4" fmla="*/ 154409 h 172946"/>
                  <a:gd name="connsiteX5" fmla="*/ 144140 w 167541"/>
                  <a:gd name="connsiteY5" fmla="*/ 164677 h 172946"/>
                  <a:gd name="connsiteX6" fmla="*/ 50425 w 167541"/>
                  <a:gd name="connsiteY6" fmla="*/ 44263 h 172946"/>
                  <a:gd name="connsiteX7" fmla="*/ 126413 w 167541"/>
                  <a:gd name="connsiteY7" fmla="*/ 166623 h 172946"/>
                  <a:gd name="connsiteX8" fmla="*/ 108308 w 167541"/>
                  <a:gd name="connsiteY8" fmla="*/ 171595 h 172946"/>
                  <a:gd name="connsiteX9" fmla="*/ 24645 w 167541"/>
                  <a:gd name="connsiteY9" fmla="*/ 61396 h 172946"/>
                  <a:gd name="connsiteX10" fmla="*/ 70151 w 167541"/>
                  <a:gd name="connsiteY10" fmla="*/ 154949 h 172946"/>
                  <a:gd name="connsiteX11" fmla="*/ 46858 w 167541"/>
                  <a:gd name="connsiteY11" fmla="*/ 144410 h 172946"/>
                  <a:gd name="connsiteX12" fmla="*/ 0 w 167541"/>
                  <a:gd name="connsiteY12" fmla="*/ 70800 h 172946"/>
                  <a:gd name="connsiteX13" fmla="*/ 86797 w 167541"/>
                  <a:gd name="connsiteY13" fmla="*/ 0 h 172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7541" h="172946">
                    <a:moveTo>
                      <a:pt x="86797" y="0"/>
                    </a:moveTo>
                    <a:cubicBezTo>
                      <a:pt x="86797" y="0"/>
                      <a:pt x="172406" y="88959"/>
                      <a:pt x="172730" y="99714"/>
                    </a:cubicBezTo>
                    <a:cubicBezTo>
                      <a:pt x="173000" y="110470"/>
                      <a:pt x="167488" y="114847"/>
                      <a:pt x="159111" y="106848"/>
                    </a:cubicBezTo>
                    <a:cubicBezTo>
                      <a:pt x="150734" y="98850"/>
                      <a:pt x="73664" y="23294"/>
                      <a:pt x="73664" y="23294"/>
                    </a:cubicBezTo>
                    <a:cubicBezTo>
                      <a:pt x="73664" y="23294"/>
                      <a:pt x="155706" y="145707"/>
                      <a:pt x="157976" y="154409"/>
                    </a:cubicBezTo>
                    <a:cubicBezTo>
                      <a:pt x="159273" y="159489"/>
                      <a:pt x="149058" y="168569"/>
                      <a:pt x="144140" y="164677"/>
                    </a:cubicBezTo>
                    <a:cubicBezTo>
                      <a:pt x="139222" y="160840"/>
                      <a:pt x="50425" y="44263"/>
                      <a:pt x="50425" y="44263"/>
                    </a:cubicBezTo>
                    <a:cubicBezTo>
                      <a:pt x="50425" y="44263"/>
                      <a:pt x="126845" y="158732"/>
                      <a:pt x="126413" y="166623"/>
                    </a:cubicBezTo>
                    <a:cubicBezTo>
                      <a:pt x="126089" y="173541"/>
                      <a:pt x="114631" y="179702"/>
                      <a:pt x="108308" y="171595"/>
                    </a:cubicBezTo>
                    <a:cubicBezTo>
                      <a:pt x="102038" y="163488"/>
                      <a:pt x="24645" y="61396"/>
                      <a:pt x="24645" y="61396"/>
                    </a:cubicBezTo>
                    <a:cubicBezTo>
                      <a:pt x="24645" y="61396"/>
                      <a:pt x="74583" y="148302"/>
                      <a:pt x="70151" y="154949"/>
                    </a:cubicBezTo>
                    <a:cubicBezTo>
                      <a:pt x="67449" y="159003"/>
                      <a:pt x="58964" y="167272"/>
                      <a:pt x="46858" y="144410"/>
                    </a:cubicBezTo>
                    <a:cubicBezTo>
                      <a:pt x="34697" y="121549"/>
                      <a:pt x="0" y="70800"/>
                      <a:pt x="0" y="70800"/>
                    </a:cubicBezTo>
                    <a:lnTo>
                      <a:pt x="86797" y="0"/>
                    </a:lnTo>
                    <a:close/>
                  </a:path>
                </a:pathLst>
              </a:custGeom>
              <a:solidFill>
                <a:srgbClr val="EEA886"/>
              </a:solidFill>
              <a:ln w="5398" cap="flat">
                <a:noFill/>
                <a:prstDash val="solid"/>
                <a:miter/>
              </a:ln>
            </p:spPr>
            <p:txBody>
              <a:bodyPr rtlCol="0" anchor="ctr"/>
              <a:lstStyle/>
              <a:p>
                <a:endParaRPr lang="en-ID"/>
              </a:p>
            </p:txBody>
          </p:sp>
          <p:sp>
            <p:nvSpPr>
              <p:cNvPr id="147" name="Freeform: Shape 146">
                <a:extLst>
                  <a:ext uri="{FF2B5EF4-FFF2-40B4-BE49-F238E27FC236}">
                    <a16:creationId xmlns:a16="http://schemas.microsoft.com/office/drawing/2014/main" id="{FA5B0D7B-338F-4354-8E18-C945B3FB8083}"/>
                  </a:ext>
                </a:extLst>
              </p:cNvPr>
              <p:cNvSpPr/>
              <p:nvPr/>
            </p:nvSpPr>
            <p:spPr>
              <a:xfrm>
                <a:off x="2581908" y="1809656"/>
                <a:ext cx="426961" cy="372916"/>
              </a:xfrm>
              <a:custGeom>
                <a:avLst/>
                <a:gdLst>
                  <a:gd name="connsiteX0" fmla="*/ 0 w 426961"/>
                  <a:gd name="connsiteY0" fmla="*/ 0 h 372915"/>
                  <a:gd name="connsiteX1" fmla="*/ 427232 w 426961"/>
                  <a:gd name="connsiteY1" fmla="*/ 0 h 372915"/>
                  <a:gd name="connsiteX2" fmla="*/ 427232 w 426961"/>
                  <a:gd name="connsiteY2" fmla="*/ 309628 h 372915"/>
                  <a:gd name="connsiteX3" fmla="*/ 427232 w 426961"/>
                  <a:gd name="connsiteY3" fmla="*/ 374861 h 372915"/>
                  <a:gd name="connsiteX4" fmla="*/ 361998 w 426961"/>
                  <a:gd name="connsiteY4" fmla="*/ 309628 h 372915"/>
                  <a:gd name="connsiteX5" fmla="*/ 0 w 426961"/>
                  <a:gd name="connsiteY5" fmla="*/ 309628 h 37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961" h="372915">
                    <a:moveTo>
                      <a:pt x="0" y="0"/>
                    </a:moveTo>
                    <a:lnTo>
                      <a:pt x="427232" y="0"/>
                    </a:lnTo>
                    <a:lnTo>
                      <a:pt x="427232" y="309628"/>
                    </a:lnTo>
                    <a:lnTo>
                      <a:pt x="427232" y="374861"/>
                    </a:lnTo>
                    <a:lnTo>
                      <a:pt x="361998" y="309628"/>
                    </a:lnTo>
                    <a:lnTo>
                      <a:pt x="0" y="309628"/>
                    </a:lnTo>
                    <a:close/>
                  </a:path>
                </a:pathLst>
              </a:custGeom>
              <a:solidFill>
                <a:srgbClr val="FFC655"/>
              </a:solidFill>
              <a:ln w="5398" cap="flat">
                <a:noFill/>
                <a:prstDash val="solid"/>
                <a:miter/>
              </a:ln>
            </p:spPr>
            <p:txBody>
              <a:bodyPr rtlCol="0" anchor="ctr"/>
              <a:lstStyle/>
              <a:p>
                <a:endParaRPr lang="en-ID"/>
              </a:p>
            </p:txBody>
          </p:sp>
          <p:sp>
            <p:nvSpPr>
              <p:cNvPr id="148" name="Freeform: Shape 147">
                <a:extLst>
                  <a:ext uri="{FF2B5EF4-FFF2-40B4-BE49-F238E27FC236}">
                    <a16:creationId xmlns:a16="http://schemas.microsoft.com/office/drawing/2014/main" id="{C33A4823-5BE6-407D-B011-63A6F58172FC}"/>
                  </a:ext>
                </a:extLst>
              </p:cNvPr>
              <p:cNvSpPr/>
              <p:nvPr/>
            </p:nvSpPr>
            <p:spPr>
              <a:xfrm>
                <a:off x="2844132" y="4965983"/>
                <a:ext cx="226992" cy="189160"/>
              </a:xfrm>
              <a:custGeom>
                <a:avLst/>
                <a:gdLst>
                  <a:gd name="connsiteX0" fmla="*/ 113772 w 226992"/>
                  <a:gd name="connsiteY0" fmla="*/ 0 h 189160"/>
                  <a:gd name="connsiteX1" fmla="*/ 62753 w 226992"/>
                  <a:gd name="connsiteY1" fmla="*/ 39832 h 189160"/>
                  <a:gd name="connsiteX2" fmla="*/ 4654 w 226992"/>
                  <a:gd name="connsiteY2" fmla="*/ 115982 h 189160"/>
                  <a:gd name="connsiteX3" fmla="*/ 54538 w 226992"/>
                  <a:gd name="connsiteY3" fmla="*/ 191322 h 189160"/>
                  <a:gd name="connsiteX4" fmla="*/ 164629 w 226992"/>
                  <a:gd name="connsiteY4" fmla="*/ 125278 h 189160"/>
                  <a:gd name="connsiteX5" fmla="*/ 225214 w 226992"/>
                  <a:gd name="connsiteY5" fmla="*/ 65990 h 189160"/>
                  <a:gd name="connsiteX6" fmla="*/ 223107 w 226992"/>
                  <a:gd name="connsiteY6" fmla="*/ 6918 h 189160"/>
                  <a:gd name="connsiteX7" fmla="*/ 113772 w 226992"/>
                  <a:gd name="connsiteY7" fmla="*/ 0 h 18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992" h="189160">
                    <a:moveTo>
                      <a:pt x="113772" y="0"/>
                    </a:moveTo>
                    <a:cubicBezTo>
                      <a:pt x="113772" y="0"/>
                      <a:pt x="80966" y="23456"/>
                      <a:pt x="62753" y="39832"/>
                    </a:cubicBezTo>
                    <a:cubicBezTo>
                      <a:pt x="44539" y="56261"/>
                      <a:pt x="19840" y="74097"/>
                      <a:pt x="4654" y="115982"/>
                    </a:cubicBezTo>
                    <a:cubicBezTo>
                      <a:pt x="-10695" y="158354"/>
                      <a:pt x="13463" y="188836"/>
                      <a:pt x="54538" y="191322"/>
                    </a:cubicBezTo>
                    <a:cubicBezTo>
                      <a:pt x="95559" y="193808"/>
                      <a:pt x="158468" y="162840"/>
                      <a:pt x="164629" y="125278"/>
                    </a:cubicBezTo>
                    <a:cubicBezTo>
                      <a:pt x="170682" y="88095"/>
                      <a:pt x="218891" y="92472"/>
                      <a:pt x="225214" y="65990"/>
                    </a:cubicBezTo>
                    <a:cubicBezTo>
                      <a:pt x="231484" y="39507"/>
                      <a:pt x="223107" y="6918"/>
                      <a:pt x="223107" y="6918"/>
                    </a:cubicBezTo>
                    <a:lnTo>
                      <a:pt x="113772" y="0"/>
                    </a:lnTo>
                    <a:close/>
                  </a:path>
                </a:pathLst>
              </a:custGeom>
              <a:solidFill>
                <a:srgbClr val="292C47"/>
              </a:solidFill>
              <a:ln w="5398" cap="flat">
                <a:noFill/>
                <a:prstDash val="solid"/>
                <a:miter/>
              </a:ln>
            </p:spPr>
            <p:txBody>
              <a:bodyPr rtlCol="0" anchor="ctr"/>
              <a:lstStyle/>
              <a:p>
                <a:endParaRPr lang="en-ID"/>
              </a:p>
            </p:txBody>
          </p:sp>
          <p:sp>
            <p:nvSpPr>
              <p:cNvPr id="149" name="Freeform: Shape 148">
                <a:extLst>
                  <a:ext uri="{FF2B5EF4-FFF2-40B4-BE49-F238E27FC236}">
                    <a16:creationId xmlns:a16="http://schemas.microsoft.com/office/drawing/2014/main" id="{A56EAFBB-A9FE-4C41-BA72-5D791D8E4D1B}"/>
                  </a:ext>
                </a:extLst>
              </p:cNvPr>
              <p:cNvSpPr/>
              <p:nvPr/>
            </p:nvSpPr>
            <p:spPr>
              <a:xfrm>
                <a:off x="2957904" y="4935176"/>
                <a:ext cx="108091" cy="43237"/>
              </a:xfrm>
              <a:custGeom>
                <a:avLst/>
                <a:gdLst>
                  <a:gd name="connsiteX0" fmla="*/ 5459 w 108091"/>
                  <a:gd name="connsiteY0" fmla="*/ 0 h 43236"/>
                  <a:gd name="connsiteX1" fmla="*/ 0 w 108091"/>
                  <a:gd name="connsiteY1" fmla="*/ 30752 h 43236"/>
                  <a:gd name="connsiteX2" fmla="*/ 109281 w 108091"/>
                  <a:gd name="connsiteY2" fmla="*/ 37724 h 43236"/>
                  <a:gd name="connsiteX3" fmla="*/ 104525 w 108091"/>
                  <a:gd name="connsiteY3" fmla="*/ 7404 h 43236"/>
                  <a:gd name="connsiteX4" fmla="*/ 5459 w 108091"/>
                  <a:gd name="connsiteY4" fmla="*/ 0 h 43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91" h="43236">
                    <a:moveTo>
                      <a:pt x="5459" y="0"/>
                    </a:moveTo>
                    <a:lnTo>
                      <a:pt x="0" y="30752"/>
                    </a:lnTo>
                    <a:cubicBezTo>
                      <a:pt x="0" y="30752"/>
                      <a:pt x="16916" y="62044"/>
                      <a:pt x="109281" y="37724"/>
                    </a:cubicBezTo>
                    <a:lnTo>
                      <a:pt x="104525" y="7404"/>
                    </a:lnTo>
                    <a:lnTo>
                      <a:pt x="5459" y="0"/>
                    </a:lnTo>
                    <a:close/>
                  </a:path>
                </a:pathLst>
              </a:custGeom>
              <a:solidFill>
                <a:srgbClr val="EEA886"/>
              </a:solidFill>
              <a:ln w="5398" cap="flat">
                <a:noFill/>
                <a:prstDash val="solid"/>
                <a:miter/>
              </a:ln>
            </p:spPr>
            <p:txBody>
              <a:bodyPr rtlCol="0" anchor="ctr"/>
              <a:lstStyle/>
              <a:p>
                <a:endParaRPr lang="en-ID"/>
              </a:p>
            </p:txBody>
          </p:sp>
          <p:sp>
            <p:nvSpPr>
              <p:cNvPr id="150" name="Freeform: Shape 149">
                <a:extLst>
                  <a:ext uri="{FF2B5EF4-FFF2-40B4-BE49-F238E27FC236}">
                    <a16:creationId xmlns:a16="http://schemas.microsoft.com/office/drawing/2014/main" id="{8CA1D64F-F164-434C-89CF-F103BAFA3960}"/>
                  </a:ext>
                </a:extLst>
              </p:cNvPr>
              <p:cNvSpPr/>
              <p:nvPr/>
            </p:nvSpPr>
            <p:spPr>
              <a:xfrm>
                <a:off x="2957904" y="4965260"/>
                <a:ext cx="108091" cy="37832"/>
              </a:xfrm>
              <a:custGeom>
                <a:avLst/>
                <a:gdLst>
                  <a:gd name="connsiteX0" fmla="*/ 109281 w 108091"/>
                  <a:gd name="connsiteY0" fmla="*/ 7640 h 37832"/>
                  <a:gd name="connsiteX1" fmla="*/ 73664 w 108091"/>
                  <a:gd name="connsiteY1" fmla="*/ 12720 h 37832"/>
                  <a:gd name="connsiteX2" fmla="*/ 0 w 108091"/>
                  <a:gd name="connsiteY2" fmla="*/ 722 h 37832"/>
                  <a:gd name="connsiteX3" fmla="*/ 9080 w 108091"/>
                  <a:gd name="connsiteY3" fmla="*/ 38122 h 37832"/>
                  <a:gd name="connsiteX4" fmla="*/ 109281 w 108091"/>
                  <a:gd name="connsiteY4" fmla="*/ 7640 h 3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91" h="37832">
                    <a:moveTo>
                      <a:pt x="109281" y="7640"/>
                    </a:moveTo>
                    <a:cubicBezTo>
                      <a:pt x="109281" y="7640"/>
                      <a:pt x="88473" y="10396"/>
                      <a:pt x="73664" y="12720"/>
                    </a:cubicBezTo>
                    <a:cubicBezTo>
                      <a:pt x="58856" y="15044"/>
                      <a:pt x="29455" y="-3872"/>
                      <a:pt x="0" y="722"/>
                    </a:cubicBezTo>
                    <a:lnTo>
                      <a:pt x="9080" y="38122"/>
                    </a:lnTo>
                    <a:cubicBezTo>
                      <a:pt x="9080" y="38122"/>
                      <a:pt x="107227" y="19746"/>
                      <a:pt x="109281" y="7640"/>
                    </a:cubicBezTo>
                    <a:close/>
                  </a:path>
                </a:pathLst>
              </a:custGeom>
              <a:solidFill>
                <a:srgbClr val="292C47"/>
              </a:solidFill>
              <a:ln w="5398" cap="flat">
                <a:noFill/>
                <a:prstDash val="solid"/>
                <a:miter/>
              </a:ln>
            </p:spPr>
            <p:txBody>
              <a:bodyPr rtlCol="0" anchor="ctr"/>
              <a:lstStyle/>
              <a:p>
                <a:endParaRPr lang="en-ID"/>
              </a:p>
            </p:txBody>
          </p:sp>
          <p:sp>
            <p:nvSpPr>
              <p:cNvPr id="151" name="Freeform: Shape 150">
                <a:extLst>
                  <a:ext uri="{FF2B5EF4-FFF2-40B4-BE49-F238E27FC236}">
                    <a16:creationId xmlns:a16="http://schemas.microsoft.com/office/drawing/2014/main" id="{49183C97-BE04-4FA9-9779-BF82830D37F1}"/>
                  </a:ext>
                </a:extLst>
              </p:cNvPr>
              <p:cNvSpPr/>
              <p:nvPr/>
            </p:nvSpPr>
            <p:spPr>
              <a:xfrm>
                <a:off x="3433773" y="4965983"/>
                <a:ext cx="226992" cy="189160"/>
              </a:xfrm>
              <a:custGeom>
                <a:avLst/>
                <a:gdLst>
                  <a:gd name="connsiteX0" fmla="*/ 113771 w 226992"/>
                  <a:gd name="connsiteY0" fmla="*/ 0 h 189160"/>
                  <a:gd name="connsiteX1" fmla="*/ 164790 w 226992"/>
                  <a:gd name="connsiteY1" fmla="*/ 39832 h 189160"/>
                  <a:gd name="connsiteX2" fmla="*/ 222889 w 226992"/>
                  <a:gd name="connsiteY2" fmla="*/ 115982 h 189160"/>
                  <a:gd name="connsiteX3" fmla="*/ 173005 w 226992"/>
                  <a:gd name="connsiteY3" fmla="*/ 191322 h 189160"/>
                  <a:gd name="connsiteX4" fmla="*/ 62914 w 226992"/>
                  <a:gd name="connsiteY4" fmla="*/ 125278 h 189160"/>
                  <a:gd name="connsiteX5" fmla="*/ 2328 w 226992"/>
                  <a:gd name="connsiteY5" fmla="*/ 65990 h 189160"/>
                  <a:gd name="connsiteX6" fmla="*/ 4436 w 226992"/>
                  <a:gd name="connsiteY6" fmla="*/ 6918 h 189160"/>
                  <a:gd name="connsiteX7" fmla="*/ 113771 w 226992"/>
                  <a:gd name="connsiteY7" fmla="*/ 0 h 18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992" h="189160">
                    <a:moveTo>
                      <a:pt x="113771" y="0"/>
                    </a:moveTo>
                    <a:cubicBezTo>
                      <a:pt x="113771" y="0"/>
                      <a:pt x="146576" y="23456"/>
                      <a:pt x="164790" y="39832"/>
                    </a:cubicBezTo>
                    <a:cubicBezTo>
                      <a:pt x="183003" y="56261"/>
                      <a:pt x="207702" y="74097"/>
                      <a:pt x="222889" y="115982"/>
                    </a:cubicBezTo>
                    <a:cubicBezTo>
                      <a:pt x="238238" y="158354"/>
                      <a:pt x="214079" y="188836"/>
                      <a:pt x="173005" y="191322"/>
                    </a:cubicBezTo>
                    <a:cubicBezTo>
                      <a:pt x="131984" y="193808"/>
                      <a:pt x="69075" y="162840"/>
                      <a:pt x="62914" y="125278"/>
                    </a:cubicBezTo>
                    <a:cubicBezTo>
                      <a:pt x="56860" y="88095"/>
                      <a:pt x="8652" y="92472"/>
                      <a:pt x="2328" y="65990"/>
                    </a:cubicBezTo>
                    <a:cubicBezTo>
                      <a:pt x="-3941" y="39507"/>
                      <a:pt x="4436" y="6918"/>
                      <a:pt x="4436" y="6918"/>
                    </a:cubicBezTo>
                    <a:lnTo>
                      <a:pt x="113771" y="0"/>
                    </a:lnTo>
                    <a:close/>
                  </a:path>
                </a:pathLst>
              </a:custGeom>
              <a:solidFill>
                <a:srgbClr val="292C47"/>
              </a:solidFill>
              <a:ln w="5398" cap="flat">
                <a:noFill/>
                <a:prstDash val="solid"/>
                <a:miter/>
              </a:ln>
            </p:spPr>
            <p:txBody>
              <a:bodyPr rtlCol="0" anchor="ctr"/>
              <a:lstStyle/>
              <a:p>
                <a:endParaRPr lang="en-ID"/>
              </a:p>
            </p:txBody>
          </p:sp>
          <p:sp>
            <p:nvSpPr>
              <p:cNvPr id="152" name="Freeform: Shape 151">
                <a:extLst>
                  <a:ext uri="{FF2B5EF4-FFF2-40B4-BE49-F238E27FC236}">
                    <a16:creationId xmlns:a16="http://schemas.microsoft.com/office/drawing/2014/main" id="{5F957422-64F5-4B1B-B4E9-4C9C56858B44}"/>
                  </a:ext>
                </a:extLst>
              </p:cNvPr>
              <p:cNvSpPr/>
              <p:nvPr/>
            </p:nvSpPr>
            <p:spPr>
              <a:xfrm>
                <a:off x="3438263" y="4935176"/>
                <a:ext cx="108091" cy="43237"/>
              </a:xfrm>
              <a:custGeom>
                <a:avLst/>
                <a:gdLst>
                  <a:gd name="connsiteX0" fmla="*/ 103822 w 108091"/>
                  <a:gd name="connsiteY0" fmla="*/ 0 h 43236"/>
                  <a:gd name="connsiteX1" fmla="*/ 109281 w 108091"/>
                  <a:gd name="connsiteY1" fmla="*/ 30752 h 43236"/>
                  <a:gd name="connsiteX2" fmla="*/ 0 w 108091"/>
                  <a:gd name="connsiteY2" fmla="*/ 37724 h 43236"/>
                  <a:gd name="connsiteX3" fmla="*/ 4756 w 108091"/>
                  <a:gd name="connsiteY3" fmla="*/ 7404 h 43236"/>
                  <a:gd name="connsiteX4" fmla="*/ 103822 w 108091"/>
                  <a:gd name="connsiteY4" fmla="*/ 0 h 43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91" h="43236">
                    <a:moveTo>
                      <a:pt x="103822" y="0"/>
                    </a:moveTo>
                    <a:lnTo>
                      <a:pt x="109281" y="30752"/>
                    </a:lnTo>
                    <a:cubicBezTo>
                      <a:pt x="109281" y="30752"/>
                      <a:pt x="92364" y="62044"/>
                      <a:pt x="0" y="37724"/>
                    </a:cubicBezTo>
                    <a:lnTo>
                      <a:pt x="4756" y="7404"/>
                    </a:lnTo>
                    <a:lnTo>
                      <a:pt x="103822" y="0"/>
                    </a:lnTo>
                    <a:close/>
                  </a:path>
                </a:pathLst>
              </a:custGeom>
              <a:solidFill>
                <a:srgbClr val="EEA886"/>
              </a:solidFill>
              <a:ln w="5398" cap="flat">
                <a:noFill/>
                <a:prstDash val="solid"/>
                <a:miter/>
              </a:ln>
            </p:spPr>
            <p:txBody>
              <a:bodyPr rtlCol="0" anchor="ctr"/>
              <a:lstStyle/>
              <a:p>
                <a:endParaRPr lang="en-ID"/>
              </a:p>
            </p:txBody>
          </p:sp>
          <p:sp>
            <p:nvSpPr>
              <p:cNvPr id="153" name="Freeform: Shape 152">
                <a:extLst>
                  <a:ext uri="{FF2B5EF4-FFF2-40B4-BE49-F238E27FC236}">
                    <a16:creationId xmlns:a16="http://schemas.microsoft.com/office/drawing/2014/main" id="{7A9D39E2-D9D2-41E6-BBE0-53C2A36C7158}"/>
                  </a:ext>
                </a:extLst>
              </p:cNvPr>
              <p:cNvSpPr/>
              <p:nvPr/>
            </p:nvSpPr>
            <p:spPr>
              <a:xfrm>
                <a:off x="2951257" y="3232900"/>
                <a:ext cx="664763" cy="1713250"/>
              </a:xfrm>
              <a:custGeom>
                <a:avLst/>
                <a:gdLst>
                  <a:gd name="connsiteX0" fmla="*/ 630228 w 664762"/>
                  <a:gd name="connsiteY0" fmla="*/ 984981 h 1713250"/>
                  <a:gd name="connsiteX1" fmla="*/ 603475 w 664762"/>
                  <a:gd name="connsiteY1" fmla="*/ 1695845 h 1713250"/>
                  <a:gd name="connsiteX2" fmla="*/ 482575 w 664762"/>
                  <a:gd name="connsiteY2" fmla="*/ 1705951 h 1713250"/>
                  <a:gd name="connsiteX3" fmla="*/ 459821 w 664762"/>
                  <a:gd name="connsiteY3" fmla="*/ 993736 h 1713250"/>
                  <a:gd name="connsiteX4" fmla="*/ 381077 w 664762"/>
                  <a:gd name="connsiteY4" fmla="*/ 426094 h 1713250"/>
                  <a:gd name="connsiteX5" fmla="*/ 233802 w 664762"/>
                  <a:gd name="connsiteY5" fmla="*/ 952824 h 1713250"/>
                  <a:gd name="connsiteX6" fmla="*/ 127062 w 664762"/>
                  <a:gd name="connsiteY6" fmla="*/ 1705573 h 1713250"/>
                  <a:gd name="connsiteX7" fmla="*/ 0 w 664762"/>
                  <a:gd name="connsiteY7" fmla="*/ 1705573 h 1713250"/>
                  <a:gd name="connsiteX8" fmla="*/ 29509 w 664762"/>
                  <a:gd name="connsiteY8" fmla="*/ 915100 h 1713250"/>
                  <a:gd name="connsiteX9" fmla="*/ 47506 w 664762"/>
                  <a:gd name="connsiteY9" fmla="*/ 694863 h 1713250"/>
                  <a:gd name="connsiteX10" fmla="*/ 112848 w 664762"/>
                  <a:gd name="connsiteY10" fmla="*/ 132193 h 1713250"/>
                  <a:gd name="connsiteX11" fmla="*/ 115280 w 664762"/>
                  <a:gd name="connsiteY11" fmla="*/ 113979 h 1713250"/>
                  <a:gd name="connsiteX12" fmla="*/ 125008 w 664762"/>
                  <a:gd name="connsiteY12" fmla="*/ 41720 h 1713250"/>
                  <a:gd name="connsiteX13" fmla="*/ 126143 w 664762"/>
                  <a:gd name="connsiteY13" fmla="*/ 33613 h 1713250"/>
                  <a:gd name="connsiteX14" fmla="*/ 145978 w 664762"/>
                  <a:gd name="connsiteY14" fmla="*/ 25507 h 1713250"/>
                  <a:gd name="connsiteX15" fmla="*/ 629525 w 664762"/>
                  <a:gd name="connsiteY15" fmla="*/ 28966 h 1713250"/>
                  <a:gd name="connsiteX16" fmla="*/ 630065 w 664762"/>
                  <a:gd name="connsiteY16" fmla="*/ 33451 h 1713250"/>
                  <a:gd name="connsiteX17" fmla="*/ 632011 w 664762"/>
                  <a:gd name="connsiteY17" fmla="*/ 49881 h 1713250"/>
                  <a:gd name="connsiteX18" fmla="*/ 639740 w 664762"/>
                  <a:gd name="connsiteY18" fmla="*/ 116033 h 1713250"/>
                  <a:gd name="connsiteX19" fmla="*/ 639794 w 664762"/>
                  <a:gd name="connsiteY19" fmla="*/ 116628 h 1713250"/>
                  <a:gd name="connsiteX20" fmla="*/ 640064 w 664762"/>
                  <a:gd name="connsiteY20" fmla="*/ 119114 h 1713250"/>
                  <a:gd name="connsiteX21" fmla="*/ 665411 w 664762"/>
                  <a:gd name="connsiteY21" fmla="*/ 371561 h 1713250"/>
                  <a:gd name="connsiteX22" fmla="*/ 630228 w 664762"/>
                  <a:gd name="connsiteY22" fmla="*/ 984981 h 171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64762" h="1713250">
                    <a:moveTo>
                      <a:pt x="630228" y="984981"/>
                    </a:moveTo>
                    <a:cubicBezTo>
                      <a:pt x="630228" y="1052592"/>
                      <a:pt x="603475" y="1695845"/>
                      <a:pt x="603475" y="1695845"/>
                    </a:cubicBezTo>
                    <a:cubicBezTo>
                      <a:pt x="596719" y="1718382"/>
                      <a:pt x="505112" y="1717193"/>
                      <a:pt x="482575" y="1705951"/>
                    </a:cubicBezTo>
                    <a:cubicBezTo>
                      <a:pt x="460037" y="1694656"/>
                      <a:pt x="463983" y="1061942"/>
                      <a:pt x="459821" y="993736"/>
                    </a:cubicBezTo>
                    <a:cubicBezTo>
                      <a:pt x="455660" y="925530"/>
                      <a:pt x="400857" y="423824"/>
                      <a:pt x="381077" y="426094"/>
                    </a:cubicBezTo>
                    <a:cubicBezTo>
                      <a:pt x="361296" y="428364"/>
                      <a:pt x="249583" y="900940"/>
                      <a:pt x="233802" y="952824"/>
                    </a:cubicBezTo>
                    <a:cubicBezTo>
                      <a:pt x="218021" y="1004654"/>
                      <a:pt x="127062" y="1705573"/>
                      <a:pt x="127062" y="1705573"/>
                    </a:cubicBezTo>
                    <a:cubicBezTo>
                      <a:pt x="49992" y="1732380"/>
                      <a:pt x="0" y="1705573"/>
                      <a:pt x="0" y="1705573"/>
                    </a:cubicBezTo>
                    <a:cubicBezTo>
                      <a:pt x="0" y="1705573"/>
                      <a:pt x="29455" y="998979"/>
                      <a:pt x="29509" y="915100"/>
                    </a:cubicBezTo>
                    <a:cubicBezTo>
                      <a:pt x="29509" y="883969"/>
                      <a:pt x="38697" y="860405"/>
                      <a:pt x="47506" y="694863"/>
                    </a:cubicBezTo>
                    <a:cubicBezTo>
                      <a:pt x="54208" y="568666"/>
                      <a:pt x="89338" y="310111"/>
                      <a:pt x="112848" y="132193"/>
                    </a:cubicBezTo>
                    <a:cubicBezTo>
                      <a:pt x="113712" y="125870"/>
                      <a:pt x="114469" y="119762"/>
                      <a:pt x="115280" y="113979"/>
                    </a:cubicBezTo>
                    <a:cubicBezTo>
                      <a:pt x="119873" y="79336"/>
                      <a:pt x="123332" y="53881"/>
                      <a:pt x="125008" y="41720"/>
                    </a:cubicBezTo>
                    <a:cubicBezTo>
                      <a:pt x="125710" y="36424"/>
                      <a:pt x="126143" y="33613"/>
                      <a:pt x="126143" y="33613"/>
                    </a:cubicBezTo>
                    <a:cubicBezTo>
                      <a:pt x="132466" y="30695"/>
                      <a:pt x="139114" y="27993"/>
                      <a:pt x="145978" y="25507"/>
                    </a:cubicBezTo>
                    <a:cubicBezTo>
                      <a:pt x="311087" y="-33836"/>
                      <a:pt x="629525" y="28966"/>
                      <a:pt x="629525" y="28966"/>
                    </a:cubicBezTo>
                    <a:cubicBezTo>
                      <a:pt x="629525" y="28966"/>
                      <a:pt x="629687" y="30533"/>
                      <a:pt x="630065" y="33451"/>
                    </a:cubicBezTo>
                    <a:cubicBezTo>
                      <a:pt x="630498" y="37018"/>
                      <a:pt x="631146" y="42639"/>
                      <a:pt x="632011" y="49881"/>
                    </a:cubicBezTo>
                    <a:cubicBezTo>
                      <a:pt x="633849" y="65554"/>
                      <a:pt x="636605" y="88902"/>
                      <a:pt x="639740" y="116033"/>
                    </a:cubicBezTo>
                    <a:cubicBezTo>
                      <a:pt x="639740" y="116249"/>
                      <a:pt x="639794" y="116412"/>
                      <a:pt x="639794" y="116628"/>
                    </a:cubicBezTo>
                    <a:cubicBezTo>
                      <a:pt x="639902" y="117438"/>
                      <a:pt x="640010" y="118303"/>
                      <a:pt x="640064" y="119114"/>
                    </a:cubicBezTo>
                    <a:cubicBezTo>
                      <a:pt x="651197" y="215586"/>
                      <a:pt x="656656" y="268604"/>
                      <a:pt x="665411" y="371561"/>
                    </a:cubicBezTo>
                    <a:cubicBezTo>
                      <a:pt x="667195" y="394099"/>
                      <a:pt x="630228" y="917316"/>
                      <a:pt x="630228" y="984981"/>
                    </a:cubicBezTo>
                    <a:close/>
                  </a:path>
                </a:pathLst>
              </a:custGeom>
              <a:solidFill>
                <a:srgbClr val="292C47"/>
              </a:solidFill>
              <a:ln w="5398" cap="flat">
                <a:noFill/>
                <a:prstDash val="solid"/>
                <a:miter/>
              </a:ln>
            </p:spPr>
            <p:txBody>
              <a:bodyPr rtlCol="0" anchor="ctr"/>
              <a:lstStyle/>
              <a:p>
                <a:endParaRPr lang="en-ID"/>
              </a:p>
            </p:txBody>
          </p:sp>
          <p:sp>
            <p:nvSpPr>
              <p:cNvPr id="154" name="Freeform: Shape 153">
                <a:extLst>
                  <a:ext uri="{FF2B5EF4-FFF2-40B4-BE49-F238E27FC236}">
                    <a16:creationId xmlns:a16="http://schemas.microsoft.com/office/drawing/2014/main" id="{6A3C5E1A-E956-46A7-8FA5-FFF0CAFD0307}"/>
                  </a:ext>
                </a:extLst>
              </p:cNvPr>
              <p:cNvSpPr/>
              <p:nvPr/>
            </p:nvSpPr>
            <p:spPr>
              <a:xfrm>
                <a:off x="2795595" y="2340818"/>
                <a:ext cx="1275480" cy="1075511"/>
              </a:xfrm>
              <a:custGeom>
                <a:avLst/>
                <a:gdLst>
                  <a:gd name="connsiteX0" fmla="*/ 636615 w 1275479"/>
                  <a:gd name="connsiteY0" fmla="*/ 11728 h 1075510"/>
                  <a:gd name="connsiteX1" fmla="*/ 929543 w 1275479"/>
                  <a:gd name="connsiteY1" fmla="*/ 144302 h 1075510"/>
                  <a:gd name="connsiteX2" fmla="*/ 1056766 w 1275479"/>
                  <a:gd name="connsiteY2" fmla="*/ 587856 h 1075510"/>
                  <a:gd name="connsiteX3" fmla="*/ 1278300 w 1275479"/>
                  <a:gd name="connsiteY3" fmla="*/ 964230 h 1075510"/>
                  <a:gd name="connsiteX4" fmla="*/ 1172424 w 1275479"/>
                  <a:gd name="connsiteY4" fmla="*/ 1031788 h 1075510"/>
                  <a:gd name="connsiteX5" fmla="*/ 920031 w 1275479"/>
                  <a:gd name="connsiteY5" fmla="*/ 647901 h 1075510"/>
                  <a:gd name="connsiteX6" fmla="*/ 841448 w 1275479"/>
                  <a:gd name="connsiteY6" fmla="*/ 399830 h 1075510"/>
                  <a:gd name="connsiteX7" fmla="*/ 805670 w 1275479"/>
                  <a:gd name="connsiteY7" fmla="*/ 860409 h 1075510"/>
                  <a:gd name="connsiteX8" fmla="*/ 809723 w 1275479"/>
                  <a:gd name="connsiteY8" fmla="*/ 1046812 h 1075510"/>
                  <a:gd name="connsiteX9" fmla="*/ 514958 w 1275479"/>
                  <a:gd name="connsiteY9" fmla="*/ 1075024 h 1075510"/>
                  <a:gd name="connsiteX10" fmla="*/ 258132 w 1275479"/>
                  <a:gd name="connsiteY10" fmla="*/ 970013 h 1075510"/>
                  <a:gd name="connsiteX11" fmla="*/ 267590 w 1275479"/>
                  <a:gd name="connsiteY11" fmla="*/ 415504 h 1075510"/>
                  <a:gd name="connsiteX12" fmla="*/ 164147 w 1275479"/>
                  <a:gd name="connsiteY12" fmla="*/ 573750 h 1075510"/>
                  <a:gd name="connsiteX13" fmla="*/ 454048 w 1275479"/>
                  <a:gd name="connsiteY13" fmla="*/ 693137 h 1075510"/>
                  <a:gd name="connsiteX14" fmla="*/ 418810 w 1275479"/>
                  <a:gd name="connsiteY14" fmla="*/ 791392 h 1075510"/>
                  <a:gd name="connsiteX15" fmla="*/ 10 w 1275479"/>
                  <a:gd name="connsiteY15" fmla="*/ 643901 h 1075510"/>
                  <a:gd name="connsiteX16" fmla="*/ 230785 w 1275479"/>
                  <a:gd name="connsiteY16" fmla="*/ 96201 h 1075510"/>
                  <a:gd name="connsiteX17" fmla="*/ 528361 w 1275479"/>
                  <a:gd name="connsiteY17" fmla="*/ 0 h 1075510"/>
                  <a:gd name="connsiteX18" fmla="*/ 636615 w 1275479"/>
                  <a:gd name="connsiteY18" fmla="*/ 11728 h 1075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75479" h="1075510">
                    <a:moveTo>
                      <a:pt x="636615" y="11728"/>
                    </a:moveTo>
                    <a:cubicBezTo>
                      <a:pt x="636615" y="11728"/>
                      <a:pt x="907006" y="69124"/>
                      <a:pt x="929543" y="144302"/>
                    </a:cubicBezTo>
                    <a:cubicBezTo>
                      <a:pt x="952080" y="219426"/>
                      <a:pt x="995857" y="395939"/>
                      <a:pt x="1056766" y="587856"/>
                    </a:cubicBezTo>
                    <a:cubicBezTo>
                      <a:pt x="1093193" y="702703"/>
                      <a:pt x="1278300" y="964230"/>
                      <a:pt x="1278300" y="964230"/>
                    </a:cubicBezTo>
                    <a:cubicBezTo>
                      <a:pt x="1278300" y="964230"/>
                      <a:pt x="1172424" y="1042272"/>
                      <a:pt x="1172424" y="1031788"/>
                    </a:cubicBezTo>
                    <a:cubicBezTo>
                      <a:pt x="1172424" y="1021249"/>
                      <a:pt x="923057" y="688489"/>
                      <a:pt x="920031" y="647901"/>
                    </a:cubicBezTo>
                    <a:cubicBezTo>
                      <a:pt x="917004" y="607312"/>
                      <a:pt x="841448" y="399830"/>
                      <a:pt x="841448" y="399830"/>
                    </a:cubicBezTo>
                    <a:cubicBezTo>
                      <a:pt x="841448" y="399830"/>
                      <a:pt x="805670" y="798796"/>
                      <a:pt x="805670" y="860409"/>
                    </a:cubicBezTo>
                    <a:cubicBezTo>
                      <a:pt x="805670" y="922021"/>
                      <a:pt x="809723" y="1046812"/>
                      <a:pt x="809723" y="1046812"/>
                    </a:cubicBezTo>
                    <a:cubicBezTo>
                      <a:pt x="809723" y="1046812"/>
                      <a:pt x="709522" y="1085185"/>
                      <a:pt x="514958" y="1075024"/>
                    </a:cubicBezTo>
                    <a:cubicBezTo>
                      <a:pt x="514958" y="1075024"/>
                      <a:pt x="205275" y="1064377"/>
                      <a:pt x="258132" y="970013"/>
                    </a:cubicBezTo>
                    <a:cubicBezTo>
                      <a:pt x="298072" y="898619"/>
                      <a:pt x="273589" y="418530"/>
                      <a:pt x="267590" y="415504"/>
                    </a:cubicBezTo>
                    <a:cubicBezTo>
                      <a:pt x="261591" y="412477"/>
                      <a:pt x="153608" y="547700"/>
                      <a:pt x="164147" y="573750"/>
                    </a:cubicBezTo>
                    <a:cubicBezTo>
                      <a:pt x="174686" y="599800"/>
                      <a:pt x="454048" y="693137"/>
                      <a:pt x="454048" y="693137"/>
                    </a:cubicBezTo>
                    <a:cubicBezTo>
                      <a:pt x="454048" y="693137"/>
                      <a:pt x="462209" y="723240"/>
                      <a:pt x="418810" y="791392"/>
                    </a:cubicBezTo>
                    <a:cubicBezTo>
                      <a:pt x="418810" y="791392"/>
                      <a:pt x="1523" y="669465"/>
                      <a:pt x="10" y="643901"/>
                    </a:cubicBezTo>
                    <a:cubicBezTo>
                      <a:pt x="-1504" y="618338"/>
                      <a:pt x="173605" y="122143"/>
                      <a:pt x="230785" y="96201"/>
                    </a:cubicBezTo>
                    <a:cubicBezTo>
                      <a:pt x="313097" y="58802"/>
                      <a:pt x="528361" y="0"/>
                      <a:pt x="528361" y="0"/>
                    </a:cubicBezTo>
                    <a:lnTo>
                      <a:pt x="636615" y="11728"/>
                    </a:lnTo>
                    <a:close/>
                  </a:path>
                </a:pathLst>
              </a:custGeom>
              <a:solidFill>
                <a:schemeClr val="accent6">
                  <a:lumMod val="60000"/>
                  <a:lumOff val="40000"/>
                </a:schemeClr>
              </a:solidFill>
              <a:ln w="5398" cap="flat">
                <a:noFill/>
                <a:prstDash val="solid"/>
                <a:miter/>
              </a:ln>
            </p:spPr>
            <p:txBody>
              <a:bodyPr rtlCol="0" anchor="ctr"/>
              <a:lstStyle/>
              <a:p>
                <a:endParaRPr lang="en-ID"/>
              </a:p>
            </p:txBody>
          </p:sp>
          <p:sp>
            <p:nvSpPr>
              <p:cNvPr id="155" name="Freeform: Shape 154">
                <a:extLst>
                  <a:ext uri="{FF2B5EF4-FFF2-40B4-BE49-F238E27FC236}">
                    <a16:creationId xmlns:a16="http://schemas.microsoft.com/office/drawing/2014/main" id="{F9F469E7-7EC0-4EE1-9618-09A27A552805}"/>
                  </a:ext>
                </a:extLst>
              </p:cNvPr>
              <p:cNvSpPr/>
              <p:nvPr/>
            </p:nvSpPr>
            <p:spPr>
              <a:xfrm>
                <a:off x="3438263" y="4965260"/>
                <a:ext cx="108091" cy="37832"/>
              </a:xfrm>
              <a:custGeom>
                <a:avLst/>
                <a:gdLst>
                  <a:gd name="connsiteX0" fmla="*/ 0 w 108091"/>
                  <a:gd name="connsiteY0" fmla="*/ 7640 h 37832"/>
                  <a:gd name="connsiteX1" fmla="*/ 35616 w 108091"/>
                  <a:gd name="connsiteY1" fmla="*/ 12720 h 37832"/>
                  <a:gd name="connsiteX2" fmla="*/ 109281 w 108091"/>
                  <a:gd name="connsiteY2" fmla="*/ 722 h 37832"/>
                  <a:gd name="connsiteX3" fmla="*/ 100201 w 108091"/>
                  <a:gd name="connsiteY3" fmla="*/ 38122 h 37832"/>
                  <a:gd name="connsiteX4" fmla="*/ 0 w 108091"/>
                  <a:gd name="connsiteY4" fmla="*/ 7640 h 3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91" h="37832">
                    <a:moveTo>
                      <a:pt x="0" y="7640"/>
                    </a:moveTo>
                    <a:cubicBezTo>
                      <a:pt x="0" y="7640"/>
                      <a:pt x="20808" y="10396"/>
                      <a:pt x="35616" y="12720"/>
                    </a:cubicBezTo>
                    <a:cubicBezTo>
                      <a:pt x="50425" y="15044"/>
                      <a:pt x="79826" y="-3872"/>
                      <a:pt x="109281" y="722"/>
                    </a:cubicBezTo>
                    <a:lnTo>
                      <a:pt x="100201" y="38122"/>
                    </a:lnTo>
                    <a:cubicBezTo>
                      <a:pt x="100201" y="38122"/>
                      <a:pt x="2054" y="19746"/>
                      <a:pt x="0" y="7640"/>
                    </a:cubicBezTo>
                    <a:close/>
                  </a:path>
                </a:pathLst>
              </a:custGeom>
              <a:solidFill>
                <a:srgbClr val="292C47"/>
              </a:solidFill>
              <a:ln w="5398" cap="flat">
                <a:noFill/>
                <a:prstDash val="solid"/>
                <a:miter/>
              </a:ln>
            </p:spPr>
            <p:txBody>
              <a:bodyPr rtlCol="0" anchor="ctr"/>
              <a:lstStyle/>
              <a:p>
                <a:endParaRPr lang="en-ID"/>
              </a:p>
            </p:txBody>
          </p:sp>
          <p:sp>
            <p:nvSpPr>
              <p:cNvPr id="156" name="Freeform: Shape 155">
                <a:extLst>
                  <a:ext uri="{FF2B5EF4-FFF2-40B4-BE49-F238E27FC236}">
                    <a16:creationId xmlns:a16="http://schemas.microsoft.com/office/drawing/2014/main" id="{6641A4A4-2DE4-4DBE-ABC4-692578603996}"/>
                  </a:ext>
                </a:extLst>
              </p:cNvPr>
              <p:cNvSpPr/>
              <p:nvPr/>
            </p:nvSpPr>
            <p:spPr>
              <a:xfrm>
                <a:off x="3254021" y="2220297"/>
                <a:ext cx="178351" cy="237801"/>
              </a:xfrm>
              <a:custGeom>
                <a:avLst/>
                <a:gdLst>
                  <a:gd name="connsiteX0" fmla="*/ 173757 w 178350"/>
                  <a:gd name="connsiteY0" fmla="*/ 38209 h 237801"/>
                  <a:gd name="connsiteX1" fmla="*/ 181756 w 178350"/>
                  <a:gd name="connsiteY1" fmla="*/ 140950 h 237801"/>
                  <a:gd name="connsiteX2" fmla="*/ 101768 w 178350"/>
                  <a:gd name="connsiteY2" fmla="*/ 242502 h 237801"/>
                  <a:gd name="connsiteX3" fmla="*/ 0 w 178350"/>
                  <a:gd name="connsiteY3" fmla="*/ 157704 h 237801"/>
                  <a:gd name="connsiteX4" fmla="*/ 7891 w 178350"/>
                  <a:gd name="connsiteY4" fmla="*/ 38803 h 237801"/>
                  <a:gd name="connsiteX5" fmla="*/ 173757 w 178350"/>
                  <a:gd name="connsiteY5" fmla="*/ 38209 h 23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350" h="237801">
                    <a:moveTo>
                      <a:pt x="173757" y="38209"/>
                    </a:moveTo>
                    <a:cubicBezTo>
                      <a:pt x="173757" y="38209"/>
                      <a:pt x="162624" y="99281"/>
                      <a:pt x="181756" y="140950"/>
                    </a:cubicBezTo>
                    <a:cubicBezTo>
                      <a:pt x="181756" y="140950"/>
                      <a:pt x="201266" y="238124"/>
                      <a:pt x="101768" y="242502"/>
                    </a:cubicBezTo>
                    <a:cubicBezTo>
                      <a:pt x="2270" y="246880"/>
                      <a:pt x="0" y="157704"/>
                      <a:pt x="0" y="157704"/>
                    </a:cubicBezTo>
                    <a:cubicBezTo>
                      <a:pt x="0" y="157704"/>
                      <a:pt x="23780" y="125763"/>
                      <a:pt x="7891" y="38803"/>
                    </a:cubicBezTo>
                    <a:cubicBezTo>
                      <a:pt x="-7945" y="-48156"/>
                      <a:pt x="173757" y="38209"/>
                      <a:pt x="173757" y="38209"/>
                    </a:cubicBezTo>
                    <a:close/>
                  </a:path>
                </a:pathLst>
              </a:custGeom>
              <a:solidFill>
                <a:srgbClr val="EEA886"/>
              </a:solidFill>
              <a:ln w="5398" cap="flat">
                <a:noFill/>
                <a:prstDash val="solid"/>
                <a:miter/>
              </a:ln>
            </p:spPr>
            <p:txBody>
              <a:bodyPr rtlCol="0" anchor="ctr"/>
              <a:lstStyle/>
              <a:p>
                <a:endParaRPr lang="en-ID"/>
              </a:p>
            </p:txBody>
          </p:sp>
          <p:sp>
            <p:nvSpPr>
              <p:cNvPr id="157" name="Freeform: Shape 156">
                <a:extLst>
                  <a:ext uri="{FF2B5EF4-FFF2-40B4-BE49-F238E27FC236}">
                    <a16:creationId xmlns:a16="http://schemas.microsoft.com/office/drawing/2014/main" id="{4ED6FAF9-61CA-4C0A-8574-49396B97AED7}"/>
                  </a:ext>
                </a:extLst>
              </p:cNvPr>
              <p:cNvSpPr/>
              <p:nvPr/>
            </p:nvSpPr>
            <p:spPr>
              <a:xfrm>
                <a:off x="3214939" y="1904141"/>
                <a:ext cx="259420" cy="410748"/>
              </a:xfrm>
              <a:custGeom>
                <a:avLst/>
                <a:gdLst>
                  <a:gd name="connsiteX0" fmla="*/ 152362 w 259419"/>
                  <a:gd name="connsiteY0" fmla="*/ 1231 h 410747"/>
                  <a:gd name="connsiteX1" fmla="*/ 260291 w 259419"/>
                  <a:gd name="connsiteY1" fmla="*/ 225737 h 410747"/>
                  <a:gd name="connsiteX2" fmla="*/ 121015 w 259419"/>
                  <a:gd name="connsiteY2" fmla="*/ 412789 h 410747"/>
                  <a:gd name="connsiteX3" fmla="*/ 7 w 259419"/>
                  <a:gd name="connsiteY3" fmla="*/ 167476 h 410747"/>
                  <a:gd name="connsiteX4" fmla="*/ 152362 w 259419"/>
                  <a:gd name="connsiteY4" fmla="*/ 1231 h 410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419" h="410747">
                    <a:moveTo>
                      <a:pt x="152362" y="1231"/>
                    </a:moveTo>
                    <a:cubicBezTo>
                      <a:pt x="152362" y="1231"/>
                      <a:pt x="279694" y="21768"/>
                      <a:pt x="260291" y="225737"/>
                    </a:cubicBezTo>
                    <a:cubicBezTo>
                      <a:pt x="240889" y="429705"/>
                      <a:pt x="128528" y="413005"/>
                      <a:pt x="121015" y="412789"/>
                    </a:cubicBezTo>
                    <a:cubicBezTo>
                      <a:pt x="113503" y="412573"/>
                      <a:pt x="8222" y="416518"/>
                      <a:pt x="7" y="167476"/>
                    </a:cubicBezTo>
                    <a:cubicBezTo>
                      <a:pt x="7" y="167476"/>
                      <a:pt x="-3560" y="-16712"/>
                      <a:pt x="152362" y="1231"/>
                    </a:cubicBezTo>
                    <a:close/>
                  </a:path>
                </a:pathLst>
              </a:custGeom>
              <a:solidFill>
                <a:srgbClr val="EEA886"/>
              </a:solidFill>
              <a:ln w="5398" cap="flat">
                <a:noFill/>
                <a:prstDash val="solid"/>
                <a:miter/>
              </a:ln>
            </p:spPr>
            <p:txBody>
              <a:bodyPr rtlCol="0" anchor="ctr"/>
              <a:lstStyle/>
              <a:p>
                <a:endParaRPr lang="en-ID"/>
              </a:p>
            </p:txBody>
          </p:sp>
          <p:sp>
            <p:nvSpPr>
              <p:cNvPr id="158" name="Freeform: Shape 157">
                <a:extLst>
                  <a:ext uri="{FF2B5EF4-FFF2-40B4-BE49-F238E27FC236}">
                    <a16:creationId xmlns:a16="http://schemas.microsoft.com/office/drawing/2014/main" id="{6D626CE4-DDA6-4BD1-918B-FDF1347FD895}"/>
                  </a:ext>
                </a:extLst>
              </p:cNvPr>
              <p:cNvSpPr/>
              <p:nvPr/>
            </p:nvSpPr>
            <p:spPr>
              <a:xfrm>
                <a:off x="3469827" y="2065555"/>
                <a:ext cx="27023" cy="97282"/>
              </a:xfrm>
              <a:custGeom>
                <a:avLst/>
                <a:gdLst>
                  <a:gd name="connsiteX0" fmla="*/ 7403 w 27022"/>
                  <a:gd name="connsiteY0" fmla="*/ 6710 h 97282"/>
                  <a:gd name="connsiteX1" fmla="*/ 26481 w 27022"/>
                  <a:gd name="connsiteY1" fmla="*/ 6926 h 97282"/>
                  <a:gd name="connsiteX2" fmla="*/ 6592 w 27022"/>
                  <a:gd name="connsiteY2" fmla="*/ 94426 h 97282"/>
                  <a:gd name="connsiteX3" fmla="*/ 701 w 27022"/>
                  <a:gd name="connsiteY3" fmla="*/ 97129 h 97282"/>
                  <a:gd name="connsiteX4" fmla="*/ 7403 w 27022"/>
                  <a:gd name="connsiteY4" fmla="*/ 6710 h 9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22" h="97282">
                    <a:moveTo>
                      <a:pt x="7403" y="6710"/>
                    </a:moveTo>
                    <a:cubicBezTo>
                      <a:pt x="7403" y="6710"/>
                      <a:pt x="21346" y="-8531"/>
                      <a:pt x="26481" y="6926"/>
                    </a:cubicBezTo>
                    <a:cubicBezTo>
                      <a:pt x="31615" y="22383"/>
                      <a:pt x="8321" y="88860"/>
                      <a:pt x="6592" y="94426"/>
                    </a:cubicBezTo>
                    <a:cubicBezTo>
                      <a:pt x="6592" y="94426"/>
                      <a:pt x="4052" y="100425"/>
                      <a:pt x="701" y="97129"/>
                    </a:cubicBezTo>
                    <a:cubicBezTo>
                      <a:pt x="-2704" y="93832"/>
                      <a:pt x="7403" y="6710"/>
                      <a:pt x="7403" y="6710"/>
                    </a:cubicBezTo>
                    <a:close/>
                  </a:path>
                </a:pathLst>
              </a:custGeom>
              <a:solidFill>
                <a:srgbClr val="EEA886"/>
              </a:solidFill>
              <a:ln w="5398" cap="flat">
                <a:noFill/>
                <a:prstDash val="solid"/>
                <a:miter/>
              </a:ln>
            </p:spPr>
            <p:txBody>
              <a:bodyPr rtlCol="0" anchor="ctr"/>
              <a:lstStyle/>
              <a:p>
                <a:endParaRPr lang="en-ID"/>
              </a:p>
            </p:txBody>
          </p:sp>
          <p:sp>
            <p:nvSpPr>
              <p:cNvPr id="159" name="Freeform: Shape 158">
                <a:extLst>
                  <a:ext uri="{FF2B5EF4-FFF2-40B4-BE49-F238E27FC236}">
                    <a16:creationId xmlns:a16="http://schemas.microsoft.com/office/drawing/2014/main" id="{514DD9AA-22EC-434D-BFC7-64C305FB1DFE}"/>
                  </a:ext>
                </a:extLst>
              </p:cNvPr>
              <p:cNvSpPr/>
              <p:nvPr/>
            </p:nvSpPr>
            <p:spPr>
              <a:xfrm>
                <a:off x="3198167" y="2062712"/>
                <a:ext cx="21618" cy="97282"/>
              </a:xfrm>
              <a:custGeom>
                <a:avLst/>
                <a:gdLst>
                  <a:gd name="connsiteX0" fmla="*/ 19914 w 21618"/>
                  <a:gd name="connsiteY0" fmla="*/ 6958 h 97282"/>
                  <a:gd name="connsiteX1" fmla="*/ 836 w 21618"/>
                  <a:gd name="connsiteY1" fmla="*/ 6742 h 97282"/>
                  <a:gd name="connsiteX2" fmla="*/ 19049 w 21618"/>
                  <a:gd name="connsiteY2" fmla="*/ 94621 h 97282"/>
                  <a:gd name="connsiteX3" fmla="*/ 24886 w 21618"/>
                  <a:gd name="connsiteY3" fmla="*/ 97431 h 97282"/>
                  <a:gd name="connsiteX4" fmla="*/ 19914 w 21618"/>
                  <a:gd name="connsiteY4" fmla="*/ 6958 h 9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8" h="97282">
                    <a:moveTo>
                      <a:pt x="19914" y="6958"/>
                    </a:moveTo>
                    <a:cubicBezTo>
                      <a:pt x="19914" y="6958"/>
                      <a:pt x="6240" y="-8553"/>
                      <a:pt x="836" y="6742"/>
                    </a:cubicBezTo>
                    <a:cubicBezTo>
                      <a:pt x="-4569" y="22091"/>
                      <a:pt x="17968" y="92026"/>
                      <a:pt x="19049" y="94621"/>
                    </a:cubicBezTo>
                    <a:cubicBezTo>
                      <a:pt x="19049" y="94621"/>
                      <a:pt x="21481" y="100674"/>
                      <a:pt x="24886" y="97431"/>
                    </a:cubicBezTo>
                    <a:cubicBezTo>
                      <a:pt x="28291" y="94242"/>
                      <a:pt x="19914" y="6958"/>
                      <a:pt x="19914" y="6958"/>
                    </a:cubicBezTo>
                    <a:close/>
                  </a:path>
                </a:pathLst>
              </a:custGeom>
              <a:solidFill>
                <a:srgbClr val="EEA886"/>
              </a:solidFill>
              <a:ln w="5398" cap="flat">
                <a:noFill/>
                <a:prstDash val="solid"/>
                <a:miter/>
              </a:ln>
            </p:spPr>
            <p:txBody>
              <a:bodyPr rtlCol="0" anchor="ctr"/>
              <a:lstStyle/>
              <a:p>
                <a:endParaRPr lang="en-ID"/>
              </a:p>
            </p:txBody>
          </p:sp>
          <p:sp>
            <p:nvSpPr>
              <p:cNvPr id="160" name="Freeform: Shape 159">
                <a:extLst>
                  <a:ext uri="{FF2B5EF4-FFF2-40B4-BE49-F238E27FC236}">
                    <a16:creationId xmlns:a16="http://schemas.microsoft.com/office/drawing/2014/main" id="{26965FA0-20AF-42EA-AE06-D42AAFA4E9DD}"/>
                  </a:ext>
                </a:extLst>
              </p:cNvPr>
              <p:cNvSpPr/>
              <p:nvPr/>
            </p:nvSpPr>
            <p:spPr>
              <a:xfrm>
                <a:off x="3203054" y="1888069"/>
                <a:ext cx="286442" cy="248610"/>
              </a:xfrm>
              <a:custGeom>
                <a:avLst/>
                <a:gdLst>
                  <a:gd name="connsiteX0" fmla="*/ 274067 w 286442"/>
                  <a:gd name="connsiteY0" fmla="*/ 215489 h 248610"/>
                  <a:gd name="connsiteX1" fmla="*/ 255854 w 286442"/>
                  <a:gd name="connsiteY1" fmla="*/ 240458 h 248610"/>
                  <a:gd name="connsiteX2" fmla="*/ 253422 w 286442"/>
                  <a:gd name="connsiteY2" fmla="*/ 177170 h 248610"/>
                  <a:gd name="connsiteX3" fmla="*/ 254449 w 286442"/>
                  <a:gd name="connsiteY3" fmla="*/ 132528 h 248610"/>
                  <a:gd name="connsiteX4" fmla="*/ 28592 w 286442"/>
                  <a:gd name="connsiteY4" fmla="*/ 135231 h 248610"/>
                  <a:gd name="connsiteX5" fmla="*/ 34969 w 286442"/>
                  <a:gd name="connsiteY5" fmla="*/ 188033 h 248610"/>
                  <a:gd name="connsiteX6" fmla="*/ 30375 w 286442"/>
                  <a:gd name="connsiteY6" fmla="*/ 252078 h 248610"/>
                  <a:gd name="connsiteX7" fmla="*/ 15404 w 286442"/>
                  <a:gd name="connsiteY7" fmla="*/ 234783 h 248610"/>
                  <a:gd name="connsiteX8" fmla="*/ 110 w 286442"/>
                  <a:gd name="connsiteY8" fmla="*/ 114045 h 248610"/>
                  <a:gd name="connsiteX9" fmla="*/ 189810 w 286442"/>
                  <a:gd name="connsiteY9" fmla="*/ 2116 h 248610"/>
                  <a:gd name="connsiteX10" fmla="*/ 251476 w 286442"/>
                  <a:gd name="connsiteY10" fmla="*/ 26382 h 248610"/>
                  <a:gd name="connsiteX11" fmla="*/ 290281 w 286442"/>
                  <a:gd name="connsiteY11" fmla="*/ 100101 h 248610"/>
                  <a:gd name="connsiteX12" fmla="*/ 274067 w 286442"/>
                  <a:gd name="connsiteY12" fmla="*/ 215489 h 248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6442" h="248610">
                    <a:moveTo>
                      <a:pt x="274067" y="215489"/>
                    </a:moveTo>
                    <a:lnTo>
                      <a:pt x="255854" y="240458"/>
                    </a:lnTo>
                    <a:cubicBezTo>
                      <a:pt x="255854" y="240458"/>
                      <a:pt x="256394" y="185763"/>
                      <a:pt x="253422" y="177170"/>
                    </a:cubicBezTo>
                    <a:cubicBezTo>
                      <a:pt x="250503" y="168577"/>
                      <a:pt x="256881" y="138744"/>
                      <a:pt x="254449" y="132528"/>
                    </a:cubicBezTo>
                    <a:cubicBezTo>
                      <a:pt x="252017" y="126367"/>
                      <a:pt x="167381" y="149337"/>
                      <a:pt x="28592" y="135231"/>
                    </a:cubicBezTo>
                    <a:cubicBezTo>
                      <a:pt x="28592" y="135231"/>
                      <a:pt x="44049" y="184520"/>
                      <a:pt x="34969" y="188033"/>
                    </a:cubicBezTo>
                    <a:cubicBezTo>
                      <a:pt x="25943" y="191546"/>
                      <a:pt x="30375" y="252078"/>
                      <a:pt x="30375" y="252078"/>
                    </a:cubicBezTo>
                    <a:lnTo>
                      <a:pt x="15404" y="234783"/>
                    </a:lnTo>
                    <a:cubicBezTo>
                      <a:pt x="15404" y="234783"/>
                      <a:pt x="-1512" y="131339"/>
                      <a:pt x="110" y="114045"/>
                    </a:cubicBezTo>
                    <a:cubicBezTo>
                      <a:pt x="2325" y="91075"/>
                      <a:pt x="-5511" y="-16314"/>
                      <a:pt x="189810" y="2116"/>
                    </a:cubicBezTo>
                    <a:cubicBezTo>
                      <a:pt x="212185" y="4224"/>
                      <a:pt x="233641" y="12439"/>
                      <a:pt x="251476" y="26382"/>
                    </a:cubicBezTo>
                    <a:cubicBezTo>
                      <a:pt x="271527" y="42056"/>
                      <a:pt x="292173" y="66484"/>
                      <a:pt x="290281" y="100101"/>
                    </a:cubicBezTo>
                    <a:cubicBezTo>
                      <a:pt x="287795" y="144418"/>
                      <a:pt x="274067" y="215489"/>
                      <a:pt x="274067" y="215489"/>
                    </a:cubicBezTo>
                    <a:close/>
                  </a:path>
                </a:pathLst>
              </a:custGeom>
              <a:solidFill>
                <a:srgbClr val="434343"/>
              </a:solidFill>
              <a:ln w="5398" cap="flat">
                <a:noFill/>
                <a:prstDash val="solid"/>
                <a:miter/>
              </a:ln>
            </p:spPr>
            <p:txBody>
              <a:bodyPr rtlCol="0" anchor="ctr"/>
              <a:lstStyle/>
              <a:p>
                <a:endParaRPr lang="en-ID"/>
              </a:p>
            </p:txBody>
          </p:sp>
          <p:sp>
            <p:nvSpPr>
              <p:cNvPr id="161" name="Freeform: Shape 160">
                <a:extLst>
                  <a:ext uri="{FF2B5EF4-FFF2-40B4-BE49-F238E27FC236}">
                    <a16:creationId xmlns:a16="http://schemas.microsoft.com/office/drawing/2014/main" id="{E7194FFA-0D89-497F-8C90-3F04219E93F3}"/>
                  </a:ext>
                </a:extLst>
              </p:cNvPr>
              <p:cNvSpPr/>
              <p:nvPr/>
            </p:nvSpPr>
            <p:spPr>
              <a:xfrm>
                <a:off x="3277963" y="2289907"/>
                <a:ext cx="135114" cy="43237"/>
              </a:xfrm>
              <a:custGeom>
                <a:avLst/>
                <a:gdLst>
                  <a:gd name="connsiteX0" fmla="*/ 0 w 135114"/>
                  <a:gd name="connsiteY0" fmla="*/ 0 h 43236"/>
                  <a:gd name="connsiteX1" fmla="*/ 135925 w 135114"/>
                  <a:gd name="connsiteY1" fmla="*/ 0 h 43236"/>
                  <a:gd name="connsiteX2" fmla="*/ 63558 w 135114"/>
                  <a:gd name="connsiteY2" fmla="*/ 47614 h 43236"/>
                  <a:gd name="connsiteX3" fmla="*/ 0 w 135114"/>
                  <a:gd name="connsiteY3" fmla="*/ 0 h 43236"/>
                </a:gdLst>
                <a:ahLst/>
                <a:cxnLst>
                  <a:cxn ang="0">
                    <a:pos x="connsiteX0" y="connsiteY0"/>
                  </a:cxn>
                  <a:cxn ang="0">
                    <a:pos x="connsiteX1" y="connsiteY1"/>
                  </a:cxn>
                  <a:cxn ang="0">
                    <a:pos x="connsiteX2" y="connsiteY2"/>
                  </a:cxn>
                  <a:cxn ang="0">
                    <a:pos x="connsiteX3" y="connsiteY3"/>
                  </a:cxn>
                </a:cxnLst>
                <a:rect l="l" t="t" r="r" b="b"/>
                <a:pathLst>
                  <a:path w="135114" h="43236">
                    <a:moveTo>
                      <a:pt x="0" y="0"/>
                    </a:moveTo>
                    <a:cubicBezTo>
                      <a:pt x="0" y="0"/>
                      <a:pt x="52532" y="61342"/>
                      <a:pt x="135925" y="0"/>
                    </a:cubicBezTo>
                    <a:cubicBezTo>
                      <a:pt x="135925" y="0"/>
                      <a:pt x="112523" y="46533"/>
                      <a:pt x="63558" y="47614"/>
                    </a:cubicBezTo>
                    <a:cubicBezTo>
                      <a:pt x="14484" y="48695"/>
                      <a:pt x="0" y="0"/>
                      <a:pt x="0" y="0"/>
                    </a:cubicBezTo>
                    <a:close/>
                  </a:path>
                </a:pathLst>
              </a:custGeom>
              <a:solidFill>
                <a:srgbClr val="A77860"/>
              </a:solidFill>
              <a:ln w="5398" cap="flat">
                <a:noFill/>
                <a:prstDash val="solid"/>
                <a:miter/>
              </a:ln>
            </p:spPr>
            <p:txBody>
              <a:bodyPr rtlCol="0" anchor="ctr"/>
              <a:lstStyle/>
              <a:p>
                <a:endParaRPr lang="en-ID"/>
              </a:p>
            </p:txBody>
          </p:sp>
          <p:sp>
            <p:nvSpPr>
              <p:cNvPr id="162" name="Freeform: Shape 161">
                <a:extLst>
                  <a:ext uri="{FF2B5EF4-FFF2-40B4-BE49-F238E27FC236}">
                    <a16:creationId xmlns:a16="http://schemas.microsoft.com/office/drawing/2014/main" id="{A73711E7-74B9-4EBD-9A07-5F00CBA67FBB}"/>
                  </a:ext>
                </a:extLst>
              </p:cNvPr>
              <p:cNvSpPr/>
              <p:nvPr/>
            </p:nvSpPr>
            <p:spPr>
              <a:xfrm>
                <a:off x="2865640" y="2591568"/>
                <a:ext cx="562076" cy="702595"/>
              </a:xfrm>
              <a:custGeom>
                <a:avLst/>
                <a:gdLst>
                  <a:gd name="connsiteX0" fmla="*/ 171986 w 562075"/>
                  <a:gd name="connsiteY0" fmla="*/ 0 h 702594"/>
                  <a:gd name="connsiteX1" fmla="*/ 565337 w 562075"/>
                  <a:gd name="connsiteY1" fmla="*/ 114200 h 702594"/>
                  <a:gd name="connsiteX2" fmla="*/ 393351 w 562075"/>
                  <a:gd name="connsiteY2" fmla="*/ 706588 h 702594"/>
                  <a:gd name="connsiteX3" fmla="*/ 0 w 562075"/>
                  <a:gd name="connsiteY3" fmla="*/ 592388 h 702594"/>
                </a:gdLst>
                <a:ahLst/>
                <a:cxnLst>
                  <a:cxn ang="0">
                    <a:pos x="connsiteX0" y="connsiteY0"/>
                  </a:cxn>
                  <a:cxn ang="0">
                    <a:pos x="connsiteX1" y="connsiteY1"/>
                  </a:cxn>
                  <a:cxn ang="0">
                    <a:pos x="connsiteX2" y="connsiteY2"/>
                  </a:cxn>
                  <a:cxn ang="0">
                    <a:pos x="connsiteX3" y="connsiteY3"/>
                  </a:cxn>
                </a:cxnLst>
                <a:rect l="l" t="t" r="r" b="b"/>
                <a:pathLst>
                  <a:path w="562075" h="702594">
                    <a:moveTo>
                      <a:pt x="171986" y="0"/>
                    </a:moveTo>
                    <a:lnTo>
                      <a:pt x="565337" y="114200"/>
                    </a:lnTo>
                    <a:lnTo>
                      <a:pt x="393351" y="706588"/>
                    </a:lnTo>
                    <a:lnTo>
                      <a:pt x="0" y="592388"/>
                    </a:lnTo>
                    <a:close/>
                  </a:path>
                </a:pathLst>
              </a:custGeom>
              <a:solidFill>
                <a:schemeClr val="bg2">
                  <a:lumMod val="25000"/>
                </a:schemeClr>
              </a:solidFill>
              <a:ln w="5398" cap="flat">
                <a:noFill/>
                <a:prstDash val="solid"/>
                <a:miter/>
              </a:ln>
            </p:spPr>
            <p:txBody>
              <a:bodyPr rtlCol="0" anchor="ctr"/>
              <a:lstStyle/>
              <a:p>
                <a:endParaRPr lang="en-ID"/>
              </a:p>
            </p:txBody>
          </p:sp>
          <p:sp>
            <p:nvSpPr>
              <p:cNvPr id="163" name="Freeform: Shape 162">
                <a:extLst>
                  <a:ext uri="{FF2B5EF4-FFF2-40B4-BE49-F238E27FC236}">
                    <a16:creationId xmlns:a16="http://schemas.microsoft.com/office/drawing/2014/main" id="{1CC54C70-32B9-4D68-B1CE-34FC58B00DA6}"/>
                  </a:ext>
                </a:extLst>
              </p:cNvPr>
              <p:cNvSpPr/>
              <p:nvPr/>
            </p:nvSpPr>
            <p:spPr>
              <a:xfrm>
                <a:off x="3322875" y="3027847"/>
                <a:ext cx="32427" cy="16214"/>
              </a:xfrm>
              <a:custGeom>
                <a:avLst/>
                <a:gdLst>
                  <a:gd name="connsiteX0" fmla="*/ 0 w 32427"/>
                  <a:gd name="connsiteY0" fmla="*/ 1893 h 16213"/>
                  <a:gd name="connsiteX1" fmla="*/ 33562 w 32427"/>
                  <a:gd name="connsiteY1" fmla="*/ 55 h 16213"/>
                  <a:gd name="connsiteX2" fmla="*/ 27131 w 32427"/>
                  <a:gd name="connsiteY2" fmla="*/ 18809 h 16213"/>
                  <a:gd name="connsiteX3" fmla="*/ 0 w 32427"/>
                  <a:gd name="connsiteY3" fmla="*/ 1893 h 16213"/>
                </a:gdLst>
                <a:ahLst/>
                <a:cxnLst>
                  <a:cxn ang="0">
                    <a:pos x="connsiteX0" y="connsiteY0"/>
                  </a:cxn>
                  <a:cxn ang="0">
                    <a:pos x="connsiteX1" y="connsiteY1"/>
                  </a:cxn>
                  <a:cxn ang="0">
                    <a:pos x="connsiteX2" y="connsiteY2"/>
                  </a:cxn>
                  <a:cxn ang="0">
                    <a:pos x="connsiteX3" y="connsiteY3"/>
                  </a:cxn>
                </a:cxnLst>
                <a:rect l="l" t="t" r="r" b="b"/>
                <a:pathLst>
                  <a:path w="32427" h="16213">
                    <a:moveTo>
                      <a:pt x="0" y="1893"/>
                    </a:moveTo>
                    <a:cubicBezTo>
                      <a:pt x="0" y="1893"/>
                      <a:pt x="25672" y="1190"/>
                      <a:pt x="33562" y="55"/>
                    </a:cubicBezTo>
                    <a:cubicBezTo>
                      <a:pt x="41453" y="-1080"/>
                      <a:pt x="36211" y="15620"/>
                      <a:pt x="27131" y="18809"/>
                    </a:cubicBezTo>
                    <a:cubicBezTo>
                      <a:pt x="17943" y="21944"/>
                      <a:pt x="0" y="1893"/>
                      <a:pt x="0" y="1893"/>
                    </a:cubicBezTo>
                    <a:close/>
                  </a:path>
                </a:pathLst>
              </a:custGeom>
              <a:solidFill>
                <a:srgbClr val="C98462"/>
              </a:solidFill>
              <a:ln w="5398" cap="flat">
                <a:noFill/>
                <a:prstDash val="solid"/>
                <a:miter/>
              </a:ln>
            </p:spPr>
            <p:txBody>
              <a:bodyPr rtlCol="0" anchor="ctr"/>
              <a:lstStyle/>
              <a:p>
                <a:endParaRPr lang="en-ID"/>
              </a:p>
            </p:txBody>
          </p:sp>
          <p:sp>
            <p:nvSpPr>
              <p:cNvPr id="164" name="Freeform: Shape 163">
                <a:extLst>
                  <a:ext uri="{FF2B5EF4-FFF2-40B4-BE49-F238E27FC236}">
                    <a16:creationId xmlns:a16="http://schemas.microsoft.com/office/drawing/2014/main" id="{2DE74DB4-278C-4CC6-A8BD-BA82B5F58DB1}"/>
                  </a:ext>
                </a:extLst>
              </p:cNvPr>
              <p:cNvSpPr/>
              <p:nvPr/>
            </p:nvSpPr>
            <p:spPr>
              <a:xfrm>
                <a:off x="3212622" y="3027741"/>
                <a:ext cx="151328" cy="124305"/>
              </a:xfrm>
              <a:custGeom>
                <a:avLst/>
                <a:gdLst>
                  <a:gd name="connsiteX0" fmla="*/ 125224 w 151328"/>
                  <a:gd name="connsiteY0" fmla="*/ 124628 h 124305"/>
                  <a:gd name="connsiteX1" fmla="*/ 108524 w 151328"/>
                  <a:gd name="connsiteY1" fmla="*/ 126142 h 124305"/>
                  <a:gd name="connsiteX2" fmla="*/ 91608 w 151328"/>
                  <a:gd name="connsiteY2" fmla="*/ 121494 h 124305"/>
                  <a:gd name="connsiteX3" fmla="*/ 86095 w 151328"/>
                  <a:gd name="connsiteY3" fmla="*/ 120413 h 124305"/>
                  <a:gd name="connsiteX4" fmla="*/ 55829 w 151328"/>
                  <a:gd name="connsiteY4" fmla="*/ 115332 h 124305"/>
                  <a:gd name="connsiteX5" fmla="*/ 0 w 151328"/>
                  <a:gd name="connsiteY5" fmla="*/ 88255 h 124305"/>
                  <a:gd name="connsiteX6" fmla="*/ 12322 w 151328"/>
                  <a:gd name="connsiteY6" fmla="*/ 48208 h 124305"/>
                  <a:gd name="connsiteX7" fmla="*/ 21618 w 151328"/>
                  <a:gd name="connsiteY7" fmla="*/ 16483 h 124305"/>
                  <a:gd name="connsiteX8" fmla="*/ 106848 w 151328"/>
                  <a:gd name="connsiteY8" fmla="*/ 377 h 124305"/>
                  <a:gd name="connsiteX9" fmla="*/ 110307 w 151328"/>
                  <a:gd name="connsiteY9" fmla="*/ 1512 h 124305"/>
                  <a:gd name="connsiteX10" fmla="*/ 131655 w 151328"/>
                  <a:gd name="connsiteY10" fmla="*/ 14969 h 124305"/>
                  <a:gd name="connsiteX11" fmla="*/ 152517 w 151328"/>
                  <a:gd name="connsiteY11" fmla="*/ 32967 h 124305"/>
                  <a:gd name="connsiteX12" fmla="*/ 146788 w 151328"/>
                  <a:gd name="connsiteY12" fmla="*/ 52099 h 124305"/>
                  <a:gd name="connsiteX13" fmla="*/ 142302 w 151328"/>
                  <a:gd name="connsiteY13" fmla="*/ 78743 h 124305"/>
                  <a:gd name="connsiteX14" fmla="*/ 133223 w 151328"/>
                  <a:gd name="connsiteY14" fmla="*/ 104145 h 124305"/>
                  <a:gd name="connsiteX15" fmla="*/ 125224 w 151328"/>
                  <a:gd name="connsiteY15" fmla="*/ 124628 h 12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1328" h="124305">
                    <a:moveTo>
                      <a:pt x="125224" y="124628"/>
                    </a:moveTo>
                    <a:cubicBezTo>
                      <a:pt x="125224" y="124628"/>
                      <a:pt x="114037" y="127331"/>
                      <a:pt x="108524" y="126142"/>
                    </a:cubicBezTo>
                    <a:cubicBezTo>
                      <a:pt x="108524" y="126142"/>
                      <a:pt x="98742" y="123169"/>
                      <a:pt x="91608" y="121494"/>
                    </a:cubicBezTo>
                    <a:cubicBezTo>
                      <a:pt x="89338" y="120953"/>
                      <a:pt x="87392" y="120575"/>
                      <a:pt x="86095" y="120413"/>
                    </a:cubicBezTo>
                    <a:cubicBezTo>
                      <a:pt x="80636" y="119872"/>
                      <a:pt x="68530" y="120305"/>
                      <a:pt x="55829" y="115332"/>
                    </a:cubicBezTo>
                    <a:cubicBezTo>
                      <a:pt x="43129" y="110360"/>
                      <a:pt x="0" y="88255"/>
                      <a:pt x="0" y="88255"/>
                    </a:cubicBezTo>
                    <a:lnTo>
                      <a:pt x="12322" y="48208"/>
                    </a:lnTo>
                    <a:lnTo>
                      <a:pt x="21618" y="16483"/>
                    </a:lnTo>
                    <a:cubicBezTo>
                      <a:pt x="21618" y="16483"/>
                      <a:pt x="94472" y="-2920"/>
                      <a:pt x="106848" y="377"/>
                    </a:cubicBezTo>
                    <a:cubicBezTo>
                      <a:pt x="108037" y="701"/>
                      <a:pt x="109226" y="1080"/>
                      <a:pt x="110307" y="1512"/>
                    </a:cubicBezTo>
                    <a:cubicBezTo>
                      <a:pt x="120522" y="5295"/>
                      <a:pt x="126521" y="12375"/>
                      <a:pt x="131655" y="14969"/>
                    </a:cubicBezTo>
                    <a:cubicBezTo>
                      <a:pt x="133547" y="15942"/>
                      <a:pt x="151544" y="26751"/>
                      <a:pt x="152517" y="32967"/>
                    </a:cubicBezTo>
                    <a:cubicBezTo>
                      <a:pt x="153814" y="41614"/>
                      <a:pt x="151220" y="48099"/>
                      <a:pt x="146788" y="52099"/>
                    </a:cubicBezTo>
                    <a:cubicBezTo>
                      <a:pt x="146788" y="52099"/>
                      <a:pt x="148626" y="69123"/>
                      <a:pt x="142302" y="78743"/>
                    </a:cubicBezTo>
                    <a:cubicBezTo>
                      <a:pt x="142302" y="78743"/>
                      <a:pt x="144518" y="94363"/>
                      <a:pt x="133223" y="104145"/>
                    </a:cubicBezTo>
                    <a:cubicBezTo>
                      <a:pt x="133277" y="104145"/>
                      <a:pt x="133709" y="120251"/>
                      <a:pt x="125224" y="124628"/>
                    </a:cubicBezTo>
                    <a:close/>
                  </a:path>
                </a:pathLst>
              </a:custGeom>
              <a:solidFill>
                <a:srgbClr val="EEA886"/>
              </a:solidFill>
              <a:ln w="5398" cap="flat">
                <a:noFill/>
                <a:prstDash val="solid"/>
                <a:miter/>
              </a:ln>
            </p:spPr>
            <p:txBody>
              <a:bodyPr rtlCol="0" anchor="ctr"/>
              <a:lstStyle/>
              <a:p>
                <a:endParaRPr lang="en-ID"/>
              </a:p>
            </p:txBody>
          </p:sp>
          <p:sp>
            <p:nvSpPr>
              <p:cNvPr id="165" name="Freeform: Shape 164">
                <a:extLst>
                  <a:ext uri="{FF2B5EF4-FFF2-40B4-BE49-F238E27FC236}">
                    <a16:creationId xmlns:a16="http://schemas.microsoft.com/office/drawing/2014/main" id="{80993990-5CC3-4E21-8BA8-686DEB71A0FC}"/>
                  </a:ext>
                </a:extLst>
              </p:cNvPr>
              <p:cNvSpPr/>
              <p:nvPr/>
            </p:nvSpPr>
            <p:spPr>
              <a:xfrm>
                <a:off x="2866222" y="2558460"/>
                <a:ext cx="378320" cy="572885"/>
              </a:xfrm>
              <a:custGeom>
                <a:avLst/>
                <a:gdLst>
                  <a:gd name="connsiteX0" fmla="*/ 383367 w 378320"/>
                  <a:gd name="connsiteY0" fmla="*/ 475495 h 572885"/>
                  <a:gd name="connsiteX1" fmla="*/ 348129 w 378320"/>
                  <a:gd name="connsiteY1" fmla="*/ 573750 h 572885"/>
                  <a:gd name="connsiteX2" fmla="*/ 5155 w 378320"/>
                  <a:gd name="connsiteY2" fmla="*/ 463767 h 572885"/>
                  <a:gd name="connsiteX3" fmla="*/ 137783 w 378320"/>
                  <a:gd name="connsiteY3" fmla="*/ 0 h 572885"/>
                  <a:gd name="connsiteX4" fmla="*/ 262196 w 378320"/>
                  <a:gd name="connsiteY4" fmla="*/ 42372 h 572885"/>
                  <a:gd name="connsiteX5" fmla="*/ 195342 w 378320"/>
                  <a:gd name="connsiteY5" fmla="*/ 168785 h 572885"/>
                  <a:gd name="connsiteX6" fmla="*/ 93411 w 378320"/>
                  <a:gd name="connsiteY6" fmla="*/ 356107 h 572885"/>
                  <a:gd name="connsiteX7" fmla="*/ 383367 w 378320"/>
                  <a:gd name="connsiteY7" fmla="*/ 475495 h 57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8320" h="572885">
                    <a:moveTo>
                      <a:pt x="383367" y="475495"/>
                    </a:moveTo>
                    <a:cubicBezTo>
                      <a:pt x="383367" y="475495"/>
                      <a:pt x="387042" y="526622"/>
                      <a:pt x="348129" y="573750"/>
                    </a:cubicBezTo>
                    <a:cubicBezTo>
                      <a:pt x="348129" y="573750"/>
                      <a:pt x="41690" y="478143"/>
                      <a:pt x="5155" y="463767"/>
                    </a:cubicBezTo>
                    <a:cubicBezTo>
                      <a:pt x="-31326" y="449391"/>
                      <a:pt x="137783" y="0"/>
                      <a:pt x="137783" y="0"/>
                    </a:cubicBezTo>
                    <a:lnTo>
                      <a:pt x="262196" y="42372"/>
                    </a:lnTo>
                    <a:lnTo>
                      <a:pt x="195342" y="168785"/>
                    </a:lnTo>
                    <a:cubicBezTo>
                      <a:pt x="195342" y="168785"/>
                      <a:pt x="162266" y="239585"/>
                      <a:pt x="93411" y="356107"/>
                    </a:cubicBezTo>
                    <a:cubicBezTo>
                      <a:pt x="93466" y="356107"/>
                      <a:pt x="135783" y="396318"/>
                      <a:pt x="383367" y="475495"/>
                    </a:cubicBezTo>
                    <a:close/>
                  </a:path>
                </a:pathLst>
              </a:custGeom>
              <a:solidFill>
                <a:schemeClr val="accent6">
                  <a:lumMod val="60000"/>
                  <a:lumOff val="40000"/>
                </a:schemeClr>
              </a:solidFill>
              <a:ln w="5398" cap="flat">
                <a:noFill/>
                <a:prstDash val="solid"/>
                <a:miter/>
              </a:ln>
            </p:spPr>
            <p:txBody>
              <a:bodyPr rtlCol="0" anchor="ctr"/>
              <a:lstStyle/>
              <a:p>
                <a:endParaRPr lang="en-ID"/>
              </a:p>
            </p:txBody>
          </p:sp>
          <p:sp>
            <p:nvSpPr>
              <p:cNvPr id="166" name="Freeform: Shape 165">
                <a:extLst>
                  <a:ext uri="{FF2B5EF4-FFF2-40B4-BE49-F238E27FC236}">
                    <a16:creationId xmlns:a16="http://schemas.microsoft.com/office/drawing/2014/main" id="{47D79A0A-C2F7-4324-B4E8-E13487C1214F}"/>
                  </a:ext>
                </a:extLst>
              </p:cNvPr>
              <p:cNvSpPr/>
              <p:nvPr/>
            </p:nvSpPr>
            <p:spPr>
              <a:xfrm>
                <a:off x="3082804" y="2860252"/>
                <a:ext cx="102687" cy="118901"/>
              </a:xfrm>
              <a:custGeom>
                <a:avLst/>
                <a:gdLst>
                  <a:gd name="connsiteX0" fmla="*/ 103227 w 102686"/>
                  <a:gd name="connsiteY0" fmla="*/ 60910 h 118900"/>
                  <a:gd name="connsiteX1" fmla="*/ 51614 w 102686"/>
                  <a:gd name="connsiteY1" fmla="*/ 121819 h 118900"/>
                  <a:gd name="connsiteX2" fmla="*/ 0 w 102686"/>
                  <a:gd name="connsiteY2" fmla="*/ 60910 h 118900"/>
                  <a:gd name="connsiteX3" fmla="*/ 51614 w 102686"/>
                  <a:gd name="connsiteY3" fmla="*/ 0 h 118900"/>
                  <a:gd name="connsiteX4" fmla="*/ 103227 w 102686"/>
                  <a:gd name="connsiteY4" fmla="*/ 60910 h 118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686" h="118900">
                    <a:moveTo>
                      <a:pt x="103227" y="60910"/>
                    </a:moveTo>
                    <a:cubicBezTo>
                      <a:pt x="103227" y="94526"/>
                      <a:pt x="80096" y="121819"/>
                      <a:pt x="51614" y="121819"/>
                    </a:cubicBezTo>
                    <a:cubicBezTo>
                      <a:pt x="23078" y="121819"/>
                      <a:pt x="0" y="94580"/>
                      <a:pt x="0" y="60910"/>
                    </a:cubicBezTo>
                    <a:cubicBezTo>
                      <a:pt x="0" y="27293"/>
                      <a:pt x="23132" y="0"/>
                      <a:pt x="51614" y="0"/>
                    </a:cubicBezTo>
                    <a:cubicBezTo>
                      <a:pt x="80096" y="0"/>
                      <a:pt x="103227" y="27293"/>
                      <a:pt x="103227" y="60910"/>
                    </a:cubicBezTo>
                    <a:close/>
                  </a:path>
                </a:pathLst>
              </a:custGeom>
              <a:solidFill>
                <a:schemeClr val="accent3"/>
              </a:solidFill>
              <a:ln w="5398" cap="flat">
                <a:noFill/>
                <a:prstDash val="solid"/>
                <a:miter/>
              </a:ln>
            </p:spPr>
            <p:txBody>
              <a:bodyPr rtlCol="0" anchor="ctr"/>
              <a:lstStyle/>
              <a:p>
                <a:endParaRPr lang="en-ID"/>
              </a:p>
            </p:txBody>
          </p:sp>
          <p:sp>
            <p:nvSpPr>
              <p:cNvPr id="167" name="Freeform: Shape 166">
                <a:extLst>
                  <a:ext uri="{FF2B5EF4-FFF2-40B4-BE49-F238E27FC236}">
                    <a16:creationId xmlns:a16="http://schemas.microsoft.com/office/drawing/2014/main" id="{4CE3C2A7-AFAB-4F01-A196-A31111EC6B79}"/>
                  </a:ext>
                </a:extLst>
              </p:cNvPr>
              <p:cNvSpPr/>
              <p:nvPr/>
            </p:nvSpPr>
            <p:spPr>
              <a:xfrm>
                <a:off x="3229754" y="2334333"/>
                <a:ext cx="232397" cy="129710"/>
              </a:xfrm>
              <a:custGeom>
                <a:avLst/>
                <a:gdLst>
                  <a:gd name="connsiteX0" fmla="*/ 235585 w 232396"/>
                  <a:gd name="connsiteY0" fmla="*/ 89121 h 129709"/>
                  <a:gd name="connsiteX1" fmla="*/ 207319 w 232396"/>
                  <a:gd name="connsiteY1" fmla="*/ 0 h 129709"/>
                  <a:gd name="connsiteX2" fmla="*/ 29941 w 232396"/>
                  <a:gd name="connsiteY2" fmla="*/ 6485 h 129709"/>
                  <a:gd name="connsiteX3" fmla="*/ 0 w 232396"/>
                  <a:gd name="connsiteY3" fmla="*/ 91770 h 129709"/>
                  <a:gd name="connsiteX4" fmla="*/ 235585 w 232396"/>
                  <a:gd name="connsiteY4" fmla="*/ 89121 h 129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396" h="129709">
                    <a:moveTo>
                      <a:pt x="235585" y="89121"/>
                    </a:moveTo>
                    <a:lnTo>
                      <a:pt x="207319" y="0"/>
                    </a:lnTo>
                    <a:cubicBezTo>
                      <a:pt x="207319" y="0"/>
                      <a:pt x="161813" y="21186"/>
                      <a:pt x="29941" y="6485"/>
                    </a:cubicBezTo>
                    <a:lnTo>
                      <a:pt x="0" y="91770"/>
                    </a:lnTo>
                    <a:cubicBezTo>
                      <a:pt x="-54" y="91770"/>
                      <a:pt x="113172" y="190349"/>
                      <a:pt x="235585" y="89121"/>
                    </a:cubicBezTo>
                    <a:close/>
                  </a:path>
                </a:pathLst>
              </a:custGeom>
              <a:solidFill>
                <a:schemeClr val="accent6">
                  <a:lumMod val="60000"/>
                  <a:lumOff val="40000"/>
                </a:schemeClr>
              </a:solidFill>
              <a:ln w="5398" cap="flat">
                <a:noFill/>
                <a:prstDash val="solid"/>
                <a:miter/>
              </a:ln>
            </p:spPr>
            <p:txBody>
              <a:bodyPr rtlCol="0" anchor="ctr"/>
              <a:lstStyle/>
              <a:p>
                <a:endParaRPr lang="en-ID"/>
              </a:p>
            </p:txBody>
          </p:sp>
        </p:grpSp>
        <p:grpSp>
          <p:nvGrpSpPr>
            <p:cNvPr id="21" name="Graphic 6">
              <a:extLst>
                <a:ext uri="{FF2B5EF4-FFF2-40B4-BE49-F238E27FC236}">
                  <a16:creationId xmlns:a16="http://schemas.microsoft.com/office/drawing/2014/main" id="{448175FD-D760-47FA-9831-DE33244A7E58}"/>
                </a:ext>
              </a:extLst>
            </p:cNvPr>
            <p:cNvGrpSpPr/>
            <p:nvPr/>
          </p:nvGrpSpPr>
          <p:grpSpPr>
            <a:xfrm>
              <a:off x="7465888" y="2707519"/>
              <a:ext cx="1541565" cy="2204437"/>
              <a:chOff x="7510272" y="2448282"/>
              <a:chExt cx="1541565" cy="2204437"/>
            </a:xfrm>
            <a:solidFill>
              <a:schemeClr val="accent1"/>
            </a:solidFill>
          </p:grpSpPr>
          <p:sp>
            <p:nvSpPr>
              <p:cNvPr id="101" name="Freeform: Shape 100">
                <a:extLst>
                  <a:ext uri="{FF2B5EF4-FFF2-40B4-BE49-F238E27FC236}">
                    <a16:creationId xmlns:a16="http://schemas.microsoft.com/office/drawing/2014/main" id="{F43ABE08-65D8-46EA-9778-8B40599334A9}"/>
                  </a:ext>
                </a:extLst>
              </p:cNvPr>
              <p:cNvSpPr/>
              <p:nvPr/>
            </p:nvSpPr>
            <p:spPr>
              <a:xfrm>
                <a:off x="8605631" y="3790790"/>
                <a:ext cx="123325" cy="693704"/>
              </a:xfrm>
              <a:custGeom>
                <a:avLst/>
                <a:gdLst>
                  <a:gd name="connsiteX0" fmla="*/ 104402 w 123325"/>
                  <a:gd name="connsiteY0" fmla="*/ 697481 h 693704"/>
                  <a:gd name="connsiteX1" fmla="*/ 0 w 123325"/>
                  <a:gd name="connsiteY1" fmla="*/ 3122 h 693704"/>
                  <a:gd name="connsiteX2" fmla="*/ 20117 w 123325"/>
                  <a:gd name="connsiteY2" fmla="*/ 0 h 693704"/>
                  <a:gd name="connsiteX3" fmla="*/ 124520 w 123325"/>
                  <a:gd name="connsiteY3" fmla="*/ 694398 h 693704"/>
                </a:gdLst>
                <a:ahLst/>
                <a:cxnLst>
                  <a:cxn ang="0">
                    <a:pos x="connsiteX0" y="connsiteY0"/>
                  </a:cxn>
                  <a:cxn ang="0">
                    <a:pos x="connsiteX1" y="connsiteY1"/>
                  </a:cxn>
                  <a:cxn ang="0">
                    <a:pos x="connsiteX2" y="connsiteY2"/>
                  </a:cxn>
                  <a:cxn ang="0">
                    <a:pos x="connsiteX3" y="connsiteY3"/>
                  </a:cxn>
                </a:cxnLst>
                <a:rect l="l" t="t" r="r" b="b"/>
                <a:pathLst>
                  <a:path w="123325" h="693704">
                    <a:moveTo>
                      <a:pt x="104402" y="697481"/>
                    </a:moveTo>
                    <a:lnTo>
                      <a:pt x="0" y="3122"/>
                    </a:lnTo>
                    <a:lnTo>
                      <a:pt x="20117" y="0"/>
                    </a:lnTo>
                    <a:lnTo>
                      <a:pt x="124520" y="694398"/>
                    </a:lnTo>
                    <a:close/>
                  </a:path>
                </a:pathLst>
              </a:custGeom>
              <a:solidFill>
                <a:srgbClr val="5C5049"/>
              </a:solidFill>
              <a:ln w="3842" cap="flat">
                <a:noFill/>
                <a:prstDash val="solid"/>
                <a:miter/>
              </a:ln>
            </p:spPr>
            <p:txBody>
              <a:bodyPr rtlCol="0" anchor="ctr"/>
              <a:lstStyle/>
              <a:p>
                <a:endParaRPr lang="en-ID"/>
              </a:p>
            </p:txBody>
          </p:sp>
          <p:sp>
            <p:nvSpPr>
              <p:cNvPr id="102" name="Freeform: Shape 101">
                <a:extLst>
                  <a:ext uri="{FF2B5EF4-FFF2-40B4-BE49-F238E27FC236}">
                    <a16:creationId xmlns:a16="http://schemas.microsoft.com/office/drawing/2014/main" id="{2ACDC6D3-281C-4A1A-B4D0-FB19BB9F249B}"/>
                  </a:ext>
                </a:extLst>
              </p:cNvPr>
              <p:cNvSpPr/>
              <p:nvPr/>
            </p:nvSpPr>
            <p:spPr>
              <a:xfrm>
                <a:off x="8478143" y="3790790"/>
                <a:ext cx="123325" cy="693704"/>
              </a:xfrm>
              <a:custGeom>
                <a:avLst/>
                <a:gdLst>
                  <a:gd name="connsiteX0" fmla="*/ 104403 w 123325"/>
                  <a:gd name="connsiteY0" fmla="*/ 697481 h 693704"/>
                  <a:gd name="connsiteX1" fmla="*/ 0 w 123325"/>
                  <a:gd name="connsiteY1" fmla="*/ 3122 h 693704"/>
                  <a:gd name="connsiteX2" fmla="*/ 20117 w 123325"/>
                  <a:gd name="connsiteY2" fmla="*/ 0 h 693704"/>
                  <a:gd name="connsiteX3" fmla="*/ 124520 w 123325"/>
                  <a:gd name="connsiteY3" fmla="*/ 694398 h 693704"/>
                </a:gdLst>
                <a:ahLst/>
                <a:cxnLst>
                  <a:cxn ang="0">
                    <a:pos x="connsiteX0" y="connsiteY0"/>
                  </a:cxn>
                  <a:cxn ang="0">
                    <a:pos x="connsiteX1" y="connsiteY1"/>
                  </a:cxn>
                  <a:cxn ang="0">
                    <a:pos x="connsiteX2" y="connsiteY2"/>
                  </a:cxn>
                  <a:cxn ang="0">
                    <a:pos x="connsiteX3" y="connsiteY3"/>
                  </a:cxn>
                </a:cxnLst>
                <a:rect l="l" t="t" r="r" b="b"/>
                <a:pathLst>
                  <a:path w="123325" h="693704">
                    <a:moveTo>
                      <a:pt x="104403" y="697481"/>
                    </a:moveTo>
                    <a:lnTo>
                      <a:pt x="0" y="3122"/>
                    </a:lnTo>
                    <a:lnTo>
                      <a:pt x="20117" y="0"/>
                    </a:lnTo>
                    <a:lnTo>
                      <a:pt x="124520" y="694398"/>
                    </a:lnTo>
                    <a:close/>
                  </a:path>
                </a:pathLst>
              </a:custGeom>
              <a:solidFill>
                <a:srgbClr val="5C5049"/>
              </a:solidFill>
              <a:ln w="3842" cap="flat">
                <a:noFill/>
                <a:prstDash val="solid"/>
                <a:miter/>
              </a:ln>
            </p:spPr>
            <p:txBody>
              <a:bodyPr rtlCol="0" anchor="ctr"/>
              <a:lstStyle/>
              <a:p>
                <a:endParaRPr lang="en-ID"/>
              </a:p>
            </p:txBody>
          </p:sp>
          <p:sp>
            <p:nvSpPr>
              <p:cNvPr id="103" name="Freeform: Shape 102">
                <a:extLst>
                  <a:ext uri="{FF2B5EF4-FFF2-40B4-BE49-F238E27FC236}">
                    <a16:creationId xmlns:a16="http://schemas.microsoft.com/office/drawing/2014/main" id="{E1801AC0-4FA0-4EC1-BB2C-4A6261F4F1CE}"/>
                  </a:ext>
                </a:extLst>
              </p:cNvPr>
              <p:cNvSpPr/>
              <p:nvPr/>
            </p:nvSpPr>
            <p:spPr>
              <a:xfrm>
                <a:off x="7934434" y="3790790"/>
                <a:ext cx="123325" cy="693704"/>
              </a:xfrm>
              <a:custGeom>
                <a:avLst/>
                <a:gdLst>
                  <a:gd name="connsiteX0" fmla="*/ 20117 w 123325"/>
                  <a:gd name="connsiteY0" fmla="*/ 697481 h 693704"/>
                  <a:gd name="connsiteX1" fmla="*/ 0 w 123325"/>
                  <a:gd name="connsiteY1" fmla="*/ 694398 h 693704"/>
                  <a:gd name="connsiteX2" fmla="*/ 104402 w 123325"/>
                  <a:gd name="connsiteY2" fmla="*/ 0 h 693704"/>
                  <a:gd name="connsiteX3" fmla="*/ 124520 w 123325"/>
                  <a:gd name="connsiteY3" fmla="*/ 3122 h 693704"/>
                </a:gdLst>
                <a:ahLst/>
                <a:cxnLst>
                  <a:cxn ang="0">
                    <a:pos x="connsiteX0" y="connsiteY0"/>
                  </a:cxn>
                  <a:cxn ang="0">
                    <a:pos x="connsiteX1" y="connsiteY1"/>
                  </a:cxn>
                  <a:cxn ang="0">
                    <a:pos x="connsiteX2" y="connsiteY2"/>
                  </a:cxn>
                  <a:cxn ang="0">
                    <a:pos x="connsiteX3" y="connsiteY3"/>
                  </a:cxn>
                </a:cxnLst>
                <a:rect l="l" t="t" r="r" b="b"/>
                <a:pathLst>
                  <a:path w="123325" h="693704">
                    <a:moveTo>
                      <a:pt x="20117" y="697481"/>
                    </a:moveTo>
                    <a:lnTo>
                      <a:pt x="0" y="694398"/>
                    </a:lnTo>
                    <a:lnTo>
                      <a:pt x="104402" y="0"/>
                    </a:lnTo>
                    <a:lnTo>
                      <a:pt x="124520" y="3122"/>
                    </a:lnTo>
                    <a:close/>
                  </a:path>
                </a:pathLst>
              </a:custGeom>
              <a:solidFill>
                <a:srgbClr val="5C5049"/>
              </a:solidFill>
              <a:ln w="3842" cap="flat">
                <a:noFill/>
                <a:prstDash val="solid"/>
                <a:miter/>
              </a:ln>
            </p:spPr>
            <p:txBody>
              <a:bodyPr rtlCol="0" anchor="ctr"/>
              <a:lstStyle/>
              <a:p>
                <a:endParaRPr lang="en-ID"/>
              </a:p>
            </p:txBody>
          </p:sp>
          <p:sp>
            <p:nvSpPr>
              <p:cNvPr id="104" name="Freeform: Shape 103">
                <a:extLst>
                  <a:ext uri="{FF2B5EF4-FFF2-40B4-BE49-F238E27FC236}">
                    <a16:creationId xmlns:a16="http://schemas.microsoft.com/office/drawing/2014/main" id="{0D511D82-6E0D-48A2-B771-9E45C34A6B64}"/>
                  </a:ext>
                </a:extLst>
              </p:cNvPr>
              <p:cNvSpPr/>
              <p:nvPr/>
            </p:nvSpPr>
            <p:spPr>
              <a:xfrm>
                <a:off x="8360676" y="2925623"/>
                <a:ext cx="358414" cy="874838"/>
              </a:xfrm>
              <a:custGeom>
                <a:avLst/>
                <a:gdLst>
                  <a:gd name="connsiteX0" fmla="*/ 277636 w 358413"/>
                  <a:gd name="connsiteY0" fmla="*/ 875341 h 874837"/>
                  <a:gd name="connsiteX1" fmla="*/ 359416 w 358413"/>
                  <a:gd name="connsiteY1" fmla="*/ 14840 h 874837"/>
                  <a:gd name="connsiteX2" fmla="*/ 129915 w 358413"/>
                  <a:gd name="connsiteY2" fmla="*/ 734 h 874837"/>
                  <a:gd name="connsiteX3" fmla="*/ 0 w 358413"/>
                  <a:gd name="connsiteY3" fmla="*/ 875341 h 874837"/>
                  <a:gd name="connsiteX4" fmla="*/ 277636 w 358413"/>
                  <a:gd name="connsiteY4" fmla="*/ 875341 h 874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413" h="874837">
                    <a:moveTo>
                      <a:pt x="277636" y="875341"/>
                    </a:moveTo>
                    <a:lnTo>
                      <a:pt x="359416" y="14840"/>
                    </a:lnTo>
                    <a:cubicBezTo>
                      <a:pt x="359416" y="14840"/>
                      <a:pt x="216359" y="-3890"/>
                      <a:pt x="129915" y="734"/>
                    </a:cubicBezTo>
                    <a:lnTo>
                      <a:pt x="0" y="875341"/>
                    </a:lnTo>
                    <a:lnTo>
                      <a:pt x="277636" y="875341"/>
                    </a:lnTo>
                    <a:close/>
                  </a:path>
                </a:pathLst>
              </a:custGeom>
              <a:solidFill>
                <a:schemeClr val="bg2"/>
              </a:solidFill>
              <a:ln w="3842" cap="flat">
                <a:noFill/>
                <a:prstDash val="solid"/>
                <a:miter/>
              </a:ln>
            </p:spPr>
            <p:txBody>
              <a:bodyPr rtlCol="0" anchor="ctr"/>
              <a:lstStyle/>
              <a:p>
                <a:endParaRPr lang="en-ID"/>
              </a:p>
            </p:txBody>
          </p:sp>
          <p:sp>
            <p:nvSpPr>
              <p:cNvPr id="105" name="Freeform: Shape 104">
                <a:extLst>
                  <a:ext uri="{FF2B5EF4-FFF2-40B4-BE49-F238E27FC236}">
                    <a16:creationId xmlns:a16="http://schemas.microsoft.com/office/drawing/2014/main" id="{452963F9-73C8-41D2-82E8-570395319DEE}"/>
                  </a:ext>
                </a:extLst>
              </p:cNvPr>
              <p:cNvSpPr/>
              <p:nvPr/>
            </p:nvSpPr>
            <p:spPr>
              <a:xfrm>
                <a:off x="8360676" y="3757223"/>
                <a:ext cx="277482" cy="42393"/>
              </a:xfrm>
              <a:custGeom>
                <a:avLst/>
                <a:gdLst>
                  <a:gd name="connsiteX0" fmla="*/ 0 w 277481"/>
                  <a:gd name="connsiteY0" fmla="*/ 0 h 42393"/>
                  <a:gd name="connsiteX1" fmla="*/ 277597 w 277481"/>
                  <a:gd name="connsiteY1" fmla="*/ 0 h 42393"/>
                  <a:gd name="connsiteX2" fmla="*/ 277597 w 277481"/>
                  <a:gd name="connsiteY2" fmla="*/ 43742 h 42393"/>
                  <a:gd name="connsiteX3" fmla="*/ 0 w 277481"/>
                  <a:gd name="connsiteY3" fmla="*/ 43742 h 42393"/>
                </a:gdLst>
                <a:ahLst/>
                <a:cxnLst>
                  <a:cxn ang="0">
                    <a:pos x="connsiteX0" y="connsiteY0"/>
                  </a:cxn>
                  <a:cxn ang="0">
                    <a:pos x="connsiteX1" y="connsiteY1"/>
                  </a:cxn>
                  <a:cxn ang="0">
                    <a:pos x="connsiteX2" y="connsiteY2"/>
                  </a:cxn>
                  <a:cxn ang="0">
                    <a:pos x="connsiteX3" y="connsiteY3"/>
                  </a:cxn>
                </a:cxnLst>
                <a:rect l="l" t="t" r="r" b="b"/>
                <a:pathLst>
                  <a:path w="277481" h="42393">
                    <a:moveTo>
                      <a:pt x="0" y="0"/>
                    </a:moveTo>
                    <a:lnTo>
                      <a:pt x="277597" y="0"/>
                    </a:lnTo>
                    <a:lnTo>
                      <a:pt x="277597" y="43742"/>
                    </a:lnTo>
                    <a:lnTo>
                      <a:pt x="0" y="43742"/>
                    </a:lnTo>
                    <a:close/>
                  </a:path>
                </a:pathLst>
              </a:custGeom>
              <a:solidFill>
                <a:schemeClr val="bg1">
                  <a:lumMod val="75000"/>
                </a:schemeClr>
              </a:solidFill>
              <a:ln w="3842" cap="flat">
                <a:noFill/>
                <a:prstDash val="solid"/>
                <a:miter/>
              </a:ln>
            </p:spPr>
            <p:txBody>
              <a:bodyPr rtlCol="0" anchor="ctr"/>
              <a:lstStyle/>
              <a:p>
                <a:endParaRPr lang="en-ID"/>
              </a:p>
            </p:txBody>
          </p:sp>
          <p:sp>
            <p:nvSpPr>
              <p:cNvPr id="106" name="Freeform: Shape 105">
                <a:extLst>
                  <a:ext uri="{FF2B5EF4-FFF2-40B4-BE49-F238E27FC236}">
                    <a16:creationId xmlns:a16="http://schemas.microsoft.com/office/drawing/2014/main" id="{62BB20A4-A9BD-4B13-8633-CB9CB3D89AF1}"/>
                  </a:ext>
                </a:extLst>
              </p:cNvPr>
              <p:cNvSpPr/>
              <p:nvPr/>
            </p:nvSpPr>
            <p:spPr>
              <a:xfrm>
                <a:off x="8135685" y="2926698"/>
                <a:ext cx="581941" cy="836299"/>
              </a:xfrm>
              <a:custGeom>
                <a:avLst/>
                <a:gdLst>
                  <a:gd name="connsiteX0" fmla="*/ 43395 w 581940"/>
                  <a:gd name="connsiteY0" fmla="*/ 839235 h 836298"/>
                  <a:gd name="connsiteX1" fmla="*/ 0 w 581940"/>
                  <a:gd name="connsiteY1" fmla="*/ 19200 h 836298"/>
                  <a:gd name="connsiteX2" fmla="*/ 584407 w 581940"/>
                  <a:gd name="connsiteY2" fmla="*/ 13766 h 836298"/>
                  <a:gd name="connsiteX3" fmla="*/ 43395 w 581940"/>
                  <a:gd name="connsiteY3" fmla="*/ 839235 h 836298"/>
                </a:gdLst>
                <a:ahLst/>
                <a:cxnLst>
                  <a:cxn ang="0">
                    <a:pos x="connsiteX0" y="connsiteY0"/>
                  </a:cxn>
                  <a:cxn ang="0">
                    <a:pos x="connsiteX1" y="connsiteY1"/>
                  </a:cxn>
                  <a:cxn ang="0">
                    <a:pos x="connsiteX2" y="connsiteY2"/>
                  </a:cxn>
                  <a:cxn ang="0">
                    <a:pos x="connsiteX3" y="connsiteY3"/>
                  </a:cxn>
                </a:cxnLst>
                <a:rect l="l" t="t" r="r" b="b"/>
                <a:pathLst>
                  <a:path w="581940" h="836298">
                    <a:moveTo>
                      <a:pt x="43395" y="839235"/>
                    </a:moveTo>
                    <a:lnTo>
                      <a:pt x="0" y="19200"/>
                    </a:lnTo>
                    <a:cubicBezTo>
                      <a:pt x="0" y="19200"/>
                      <a:pt x="362037" y="-20110"/>
                      <a:pt x="584407" y="13766"/>
                    </a:cubicBezTo>
                    <a:lnTo>
                      <a:pt x="43395" y="839235"/>
                    </a:lnTo>
                    <a:close/>
                  </a:path>
                </a:pathLst>
              </a:custGeom>
              <a:solidFill>
                <a:schemeClr val="bg2"/>
              </a:solidFill>
              <a:ln w="3842" cap="flat">
                <a:noFill/>
                <a:prstDash val="solid"/>
                <a:miter/>
              </a:ln>
            </p:spPr>
            <p:txBody>
              <a:bodyPr rtlCol="0" anchor="ctr"/>
              <a:lstStyle/>
              <a:p>
                <a:endParaRPr lang="en-ID"/>
              </a:p>
            </p:txBody>
          </p:sp>
          <p:sp>
            <p:nvSpPr>
              <p:cNvPr id="107" name="Freeform: Shape 106">
                <a:extLst>
                  <a:ext uri="{FF2B5EF4-FFF2-40B4-BE49-F238E27FC236}">
                    <a16:creationId xmlns:a16="http://schemas.microsoft.com/office/drawing/2014/main" id="{EB41CA68-8228-4972-8B6B-136143842120}"/>
                  </a:ext>
                </a:extLst>
              </p:cNvPr>
              <p:cNvSpPr/>
              <p:nvPr/>
            </p:nvSpPr>
            <p:spPr>
              <a:xfrm>
                <a:off x="8116730" y="2448282"/>
                <a:ext cx="362268" cy="558817"/>
              </a:xfrm>
              <a:custGeom>
                <a:avLst/>
                <a:gdLst>
                  <a:gd name="connsiteX0" fmla="*/ 351471 w 362267"/>
                  <a:gd name="connsiteY0" fmla="*/ 232081 h 558817"/>
                  <a:gd name="connsiteX1" fmla="*/ 300715 w 362267"/>
                  <a:gd name="connsiteY1" fmla="*/ 17302 h 558817"/>
                  <a:gd name="connsiteX2" fmla="*/ 86360 w 362267"/>
                  <a:gd name="connsiteY2" fmla="*/ 79697 h 558817"/>
                  <a:gd name="connsiteX3" fmla="*/ 88364 w 362267"/>
                  <a:gd name="connsiteY3" fmla="*/ 242139 h 558817"/>
                  <a:gd name="connsiteX4" fmla="*/ 69133 w 362267"/>
                  <a:gd name="connsiteY4" fmla="*/ 394947 h 558817"/>
                  <a:gd name="connsiteX5" fmla="*/ 71 w 362267"/>
                  <a:gd name="connsiteY5" fmla="*/ 549990 h 558817"/>
                  <a:gd name="connsiteX6" fmla="*/ 211882 w 362267"/>
                  <a:gd name="connsiteY6" fmla="*/ 412290 h 558817"/>
                  <a:gd name="connsiteX7" fmla="*/ 351471 w 362267"/>
                  <a:gd name="connsiteY7" fmla="*/ 232081 h 558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2267" h="558817">
                    <a:moveTo>
                      <a:pt x="351471" y="232081"/>
                    </a:moveTo>
                    <a:cubicBezTo>
                      <a:pt x="351471" y="232081"/>
                      <a:pt x="407391" y="68135"/>
                      <a:pt x="300715" y="17302"/>
                    </a:cubicBezTo>
                    <a:cubicBezTo>
                      <a:pt x="194038" y="-33531"/>
                      <a:pt x="103471" y="39963"/>
                      <a:pt x="86360" y="79697"/>
                    </a:cubicBezTo>
                    <a:cubicBezTo>
                      <a:pt x="69249" y="119431"/>
                      <a:pt x="73796" y="191730"/>
                      <a:pt x="88364" y="242139"/>
                    </a:cubicBezTo>
                    <a:cubicBezTo>
                      <a:pt x="102970" y="292548"/>
                      <a:pt x="100851" y="369280"/>
                      <a:pt x="69133" y="394947"/>
                    </a:cubicBezTo>
                    <a:cubicBezTo>
                      <a:pt x="37415" y="420614"/>
                      <a:pt x="-1895" y="463238"/>
                      <a:pt x="71" y="549990"/>
                    </a:cubicBezTo>
                    <a:cubicBezTo>
                      <a:pt x="1266" y="603829"/>
                      <a:pt x="211882" y="412290"/>
                      <a:pt x="211882" y="412290"/>
                    </a:cubicBezTo>
                    <a:lnTo>
                      <a:pt x="351471" y="232081"/>
                    </a:lnTo>
                    <a:close/>
                  </a:path>
                </a:pathLst>
              </a:custGeom>
              <a:solidFill>
                <a:srgbClr val="292C47"/>
              </a:solidFill>
              <a:ln w="3842" cap="flat">
                <a:noFill/>
                <a:prstDash val="solid"/>
                <a:miter/>
              </a:ln>
            </p:spPr>
            <p:txBody>
              <a:bodyPr rtlCol="0" anchor="ctr"/>
              <a:lstStyle/>
              <a:p>
                <a:endParaRPr lang="en-ID"/>
              </a:p>
            </p:txBody>
          </p:sp>
          <p:sp>
            <p:nvSpPr>
              <p:cNvPr id="108" name="Freeform: Shape 107">
                <a:extLst>
                  <a:ext uri="{FF2B5EF4-FFF2-40B4-BE49-F238E27FC236}">
                    <a16:creationId xmlns:a16="http://schemas.microsoft.com/office/drawing/2014/main" id="{4C24D85A-A80B-4A6B-8B53-E1A35F7AA12B}"/>
                  </a:ext>
                </a:extLst>
              </p:cNvPr>
              <p:cNvSpPr/>
              <p:nvPr/>
            </p:nvSpPr>
            <p:spPr>
              <a:xfrm>
                <a:off x="8283328" y="4259591"/>
                <a:ext cx="165718" cy="308313"/>
              </a:xfrm>
              <a:custGeom>
                <a:avLst/>
                <a:gdLst>
                  <a:gd name="connsiteX0" fmla="*/ 42509 w 165718"/>
                  <a:gd name="connsiteY0" fmla="*/ 184900 h 308312"/>
                  <a:gd name="connsiteX1" fmla="*/ 55728 w 165718"/>
                  <a:gd name="connsiteY1" fmla="*/ 307724 h 308312"/>
                  <a:gd name="connsiteX2" fmla="*/ 162519 w 165718"/>
                  <a:gd name="connsiteY2" fmla="*/ 234577 h 308312"/>
                  <a:gd name="connsiteX3" fmla="*/ 117699 w 165718"/>
                  <a:gd name="connsiteY3" fmla="*/ 50861 h 308312"/>
                  <a:gd name="connsiteX4" fmla="*/ 41044 w 165718"/>
                  <a:gd name="connsiteY4" fmla="*/ 1955 h 308312"/>
                  <a:gd name="connsiteX5" fmla="*/ 0 w 165718"/>
                  <a:gd name="connsiteY5" fmla="*/ 41303 h 308312"/>
                  <a:gd name="connsiteX6" fmla="*/ 42509 w 165718"/>
                  <a:gd name="connsiteY6" fmla="*/ 184900 h 30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718" h="308312">
                    <a:moveTo>
                      <a:pt x="42509" y="184900"/>
                    </a:moveTo>
                    <a:cubicBezTo>
                      <a:pt x="42509" y="184900"/>
                      <a:pt x="39194" y="300748"/>
                      <a:pt x="55728" y="307724"/>
                    </a:cubicBezTo>
                    <a:cubicBezTo>
                      <a:pt x="72261" y="314700"/>
                      <a:pt x="134887" y="274426"/>
                      <a:pt x="162519" y="234577"/>
                    </a:cubicBezTo>
                    <a:cubicBezTo>
                      <a:pt x="190152" y="194727"/>
                      <a:pt x="127911" y="102002"/>
                      <a:pt x="117699" y="50861"/>
                    </a:cubicBezTo>
                    <a:cubicBezTo>
                      <a:pt x="113421" y="29433"/>
                      <a:pt x="64784" y="-9106"/>
                      <a:pt x="41044" y="1955"/>
                    </a:cubicBezTo>
                    <a:cubicBezTo>
                      <a:pt x="17304" y="13015"/>
                      <a:pt x="0" y="41303"/>
                      <a:pt x="0" y="41303"/>
                    </a:cubicBezTo>
                    <a:cubicBezTo>
                      <a:pt x="0" y="41303"/>
                      <a:pt x="60352" y="82617"/>
                      <a:pt x="42509" y="184900"/>
                    </a:cubicBezTo>
                    <a:close/>
                  </a:path>
                </a:pathLst>
              </a:custGeom>
              <a:solidFill>
                <a:srgbClr val="C00000"/>
              </a:solidFill>
              <a:ln w="3842" cap="flat">
                <a:noFill/>
                <a:prstDash val="solid"/>
                <a:miter/>
              </a:ln>
            </p:spPr>
            <p:txBody>
              <a:bodyPr rtlCol="0" anchor="ctr"/>
              <a:lstStyle/>
              <a:p>
                <a:endParaRPr lang="en-ID"/>
              </a:p>
            </p:txBody>
          </p:sp>
          <p:sp>
            <p:nvSpPr>
              <p:cNvPr id="109" name="Freeform: Shape 108">
                <a:extLst>
                  <a:ext uri="{FF2B5EF4-FFF2-40B4-BE49-F238E27FC236}">
                    <a16:creationId xmlns:a16="http://schemas.microsoft.com/office/drawing/2014/main" id="{64F38E89-DE9D-48F7-95B7-AA8F1B0E2E89}"/>
                  </a:ext>
                </a:extLst>
              </p:cNvPr>
              <p:cNvSpPr/>
              <p:nvPr/>
            </p:nvSpPr>
            <p:spPr>
              <a:xfrm>
                <a:off x="8283328" y="4261507"/>
                <a:ext cx="115617" cy="231235"/>
              </a:xfrm>
              <a:custGeom>
                <a:avLst/>
                <a:gdLst>
                  <a:gd name="connsiteX0" fmla="*/ 0 w 115617"/>
                  <a:gd name="connsiteY0" fmla="*/ 39349 h 231234"/>
                  <a:gd name="connsiteX1" fmla="*/ 31101 w 115617"/>
                  <a:gd name="connsiteY1" fmla="*/ 109567 h 231234"/>
                  <a:gd name="connsiteX2" fmla="*/ 50294 w 115617"/>
                  <a:gd name="connsiteY2" fmla="*/ 231081 h 231234"/>
                  <a:gd name="connsiteX3" fmla="*/ 116427 w 115617"/>
                  <a:gd name="connsiteY3" fmla="*/ 178744 h 231234"/>
                  <a:gd name="connsiteX4" fmla="*/ 81896 w 115617"/>
                  <a:gd name="connsiteY4" fmla="*/ 50101 h 231234"/>
                  <a:gd name="connsiteX5" fmla="*/ 41044 w 115617"/>
                  <a:gd name="connsiteY5" fmla="*/ 0 h 231234"/>
                  <a:gd name="connsiteX6" fmla="*/ 0 w 115617"/>
                  <a:gd name="connsiteY6" fmla="*/ 39349 h 231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617" h="231234">
                    <a:moveTo>
                      <a:pt x="0" y="39349"/>
                    </a:moveTo>
                    <a:cubicBezTo>
                      <a:pt x="0" y="39349"/>
                      <a:pt x="20541" y="78890"/>
                      <a:pt x="31101" y="109567"/>
                    </a:cubicBezTo>
                    <a:cubicBezTo>
                      <a:pt x="41661" y="140244"/>
                      <a:pt x="43626" y="225184"/>
                      <a:pt x="50294" y="231081"/>
                    </a:cubicBezTo>
                    <a:cubicBezTo>
                      <a:pt x="56961" y="236977"/>
                      <a:pt x="109413" y="210501"/>
                      <a:pt x="116427" y="178744"/>
                    </a:cubicBezTo>
                    <a:cubicBezTo>
                      <a:pt x="123441" y="146988"/>
                      <a:pt x="102167" y="83476"/>
                      <a:pt x="81896" y="50101"/>
                    </a:cubicBezTo>
                    <a:cubicBezTo>
                      <a:pt x="61624" y="16726"/>
                      <a:pt x="41044" y="0"/>
                      <a:pt x="41044" y="0"/>
                    </a:cubicBezTo>
                    <a:cubicBezTo>
                      <a:pt x="41044" y="0"/>
                      <a:pt x="5280" y="6976"/>
                      <a:pt x="0" y="39349"/>
                    </a:cubicBezTo>
                    <a:close/>
                  </a:path>
                </a:pathLst>
              </a:custGeom>
              <a:solidFill>
                <a:srgbClr val="DE9673"/>
              </a:solidFill>
              <a:ln w="3842" cap="flat">
                <a:noFill/>
                <a:prstDash val="solid"/>
                <a:miter/>
              </a:ln>
            </p:spPr>
            <p:txBody>
              <a:bodyPr rtlCol="0" anchor="ctr"/>
              <a:lstStyle/>
              <a:p>
                <a:endParaRPr lang="en-ID"/>
              </a:p>
            </p:txBody>
          </p:sp>
          <p:sp>
            <p:nvSpPr>
              <p:cNvPr id="110" name="Freeform: Shape 109">
                <a:extLst>
                  <a:ext uri="{FF2B5EF4-FFF2-40B4-BE49-F238E27FC236}">
                    <a16:creationId xmlns:a16="http://schemas.microsoft.com/office/drawing/2014/main" id="{7B12E715-A976-4DC1-8413-DDAB64E19F65}"/>
                  </a:ext>
                </a:extLst>
              </p:cNvPr>
              <p:cNvSpPr/>
              <p:nvPr/>
            </p:nvSpPr>
            <p:spPr>
              <a:xfrm>
                <a:off x="8401027" y="4310413"/>
                <a:ext cx="53955" cy="88640"/>
              </a:xfrm>
              <a:custGeom>
                <a:avLst/>
                <a:gdLst>
                  <a:gd name="connsiteX0" fmla="*/ 0 w 53954"/>
                  <a:gd name="connsiteY0" fmla="*/ 0 h 88639"/>
                  <a:gd name="connsiteX1" fmla="*/ 56383 w 53954"/>
                  <a:gd name="connsiteY1" fmla="*/ 82281 h 88639"/>
                  <a:gd name="connsiteX2" fmla="*/ 45707 w 53954"/>
                  <a:gd name="connsiteY2" fmla="*/ 89603 h 88639"/>
                  <a:gd name="connsiteX3" fmla="*/ 2120 w 53954"/>
                  <a:gd name="connsiteY3" fmla="*/ 26014 h 88639"/>
                </a:gdLst>
                <a:ahLst/>
                <a:cxnLst>
                  <a:cxn ang="0">
                    <a:pos x="connsiteX0" y="connsiteY0"/>
                  </a:cxn>
                  <a:cxn ang="0">
                    <a:pos x="connsiteX1" y="connsiteY1"/>
                  </a:cxn>
                  <a:cxn ang="0">
                    <a:pos x="connsiteX2" y="connsiteY2"/>
                  </a:cxn>
                  <a:cxn ang="0">
                    <a:pos x="connsiteX3" y="connsiteY3"/>
                  </a:cxn>
                </a:cxnLst>
                <a:rect l="l" t="t" r="r" b="b"/>
                <a:pathLst>
                  <a:path w="53954" h="88639">
                    <a:moveTo>
                      <a:pt x="0" y="0"/>
                    </a:moveTo>
                    <a:lnTo>
                      <a:pt x="56383" y="82281"/>
                    </a:lnTo>
                    <a:lnTo>
                      <a:pt x="45707" y="89603"/>
                    </a:lnTo>
                    <a:lnTo>
                      <a:pt x="2120" y="26014"/>
                    </a:lnTo>
                    <a:close/>
                  </a:path>
                </a:pathLst>
              </a:custGeom>
              <a:solidFill>
                <a:srgbClr val="9A0000"/>
              </a:solidFill>
              <a:ln w="3842" cap="flat">
                <a:noFill/>
                <a:prstDash val="solid"/>
                <a:miter/>
              </a:ln>
            </p:spPr>
            <p:txBody>
              <a:bodyPr rtlCol="0" anchor="ctr"/>
              <a:lstStyle/>
              <a:p>
                <a:endParaRPr lang="en-ID"/>
              </a:p>
            </p:txBody>
          </p:sp>
          <p:sp>
            <p:nvSpPr>
              <p:cNvPr id="111" name="Freeform: Shape 110">
                <a:extLst>
                  <a:ext uri="{FF2B5EF4-FFF2-40B4-BE49-F238E27FC236}">
                    <a16:creationId xmlns:a16="http://schemas.microsoft.com/office/drawing/2014/main" id="{FC3F5E57-9D31-44FF-9F62-71BA7337CF76}"/>
                  </a:ext>
                </a:extLst>
              </p:cNvPr>
              <p:cNvSpPr/>
              <p:nvPr/>
            </p:nvSpPr>
            <p:spPr>
              <a:xfrm>
                <a:off x="7986493" y="3369714"/>
                <a:ext cx="501009" cy="975040"/>
              </a:xfrm>
              <a:custGeom>
                <a:avLst/>
                <a:gdLst>
                  <a:gd name="connsiteX0" fmla="*/ 211587 w 501008"/>
                  <a:gd name="connsiteY0" fmla="*/ 30867 h 975039"/>
                  <a:gd name="connsiteX1" fmla="*/ 211587 w 501008"/>
                  <a:gd name="connsiteY1" fmla="*/ 111337 h 975039"/>
                  <a:gd name="connsiteX2" fmla="*/ 7 w 501008"/>
                  <a:gd name="connsiteY2" fmla="*/ 292124 h 975039"/>
                  <a:gd name="connsiteX3" fmla="*/ 47526 w 501008"/>
                  <a:gd name="connsiteY3" fmla="*/ 451445 h 975039"/>
                  <a:gd name="connsiteX4" fmla="*/ 128150 w 501008"/>
                  <a:gd name="connsiteY4" fmla="*/ 613271 h 975039"/>
                  <a:gd name="connsiteX5" fmla="*/ 313215 w 501008"/>
                  <a:gd name="connsiteY5" fmla="*/ 969179 h 975039"/>
                  <a:gd name="connsiteX6" fmla="*/ 323389 w 501008"/>
                  <a:gd name="connsiteY6" fmla="*/ 745460 h 975039"/>
                  <a:gd name="connsiteX7" fmla="*/ 188117 w 501008"/>
                  <a:gd name="connsiteY7" fmla="*/ 348892 h 975039"/>
                  <a:gd name="connsiteX8" fmla="*/ 504138 w 501008"/>
                  <a:gd name="connsiteY8" fmla="*/ 41042 h 975039"/>
                  <a:gd name="connsiteX9" fmla="*/ 211587 w 501008"/>
                  <a:gd name="connsiteY9" fmla="*/ 30867 h 97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1008" h="975039">
                    <a:moveTo>
                      <a:pt x="211587" y="30867"/>
                    </a:moveTo>
                    <a:cubicBezTo>
                      <a:pt x="211587" y="30867"/>
                      <a:pt x="239143" y="77423"/>
                      <a:pt x="211587" y="111337"/>
                    </a:cubicBezTo>
                    <a:cubicBezTo>
                      <a:pt x="184032" y="145251"/>
                      <a:pt x="-1342" y="238323"/>
                      <a:pt x="7" y="292124"/>
                    </a:cubicBezTo>
                    <a:cubicBezTo>
                      <a:pt x="1356" y="345925"/>
                      <a:pt x="35309" y="430094"/>
                      <a:pt x="47526" y="451445"/>
                    </a:cubicBezTo>
                    <a:cubicBezTo>
                      <a:pt x="59743" y="472795"/>
                      <a:pt x="104757" y="561435"/>
                      <a:pt x="128150" y="613271"/>
                    </a:cubicBezTo>
                    <a:cubicBezTo>
                      <a:pt x="151543" y="665144"/>
                      <a:pt x="286777" y="913259"/>
                      <a:pt x="313215" y="969179"/>
                    </a:cubicBezTo>
                    <a:cubicBezTo>
                      <a:pt x="339653" y="1025100"/>
                      <a:pt x="323389" y="745460"/>
                      <a:pt x="323389" y="745460"/>
                    </a:cubicBezTo>
                    <a:lnTo>
                      <a:pt x="188117" y="348892"/>
                    </a:lnTo>
                    <a:lnTo>
                      <a:pt x="504138" y="41042"/>
                    </a:lnTo>
                    <a:cubicBezTo>
                      <a:pt x="504099" y="41042"/>
                      <a:pt x="465868" y="-44091"/>
                      <a:pt x="211587" y="30867"/>
                    </a:cubicBezTo>
                    <a:close/>
                  </a:path>
                </a:pathLst>
              </a:custGeom>
              <a:solidFill>
                <a:srgbClr val="DE9673"/>
              </a:solidFill>
              <a:ln w="3842" cap="flat">
                <a:noFill/>
                <a:prstDash val="solid"/>
                <a:miter/>
              </a:ln>
            </p:spPr>
            <p:txBody>
              <a:bodyPr rtlCol="0" anchor="ctr"/>
              <a:lstStyle/>
              <a:p>
                <a:endParaRPr lang="en-ID"/>
              </a:p>
            </p:txBody>
          </p:sp>
          <p:sp>
            <p:nvSpPr>
              <p:cNvPr id="112" name="Freeform: Shape 111">
                <a:extLst>
                  <a:ext uri="{FF2B5EF4-FFF2-40B4-BE49-F238E27FC236}">
                    <a16:creationId xmlns:a16="http://schemas.microsoft.com/office/drawing/2014/main" id="{DFDBED34-8A7B-44E0-81C4-4C4F543A5ECA}"/>
                  </a:ext>
                </a:extLst>
              </p:cNvPr>
              <p:cNvSpPr/>
              <p:nvPr/>
            </p:nvSpPr>
            <p:spPr>
              <a:xfrm>
                <a:off x="8083734" y="2870973"/>
                <a:ext cx="593502" cy="508716"/>
              </a:xfrm>
              <a:custGeom>
                <a:avLst/>
                <a:gdLst>
                  <a:gd name="connsiteX0" fmla="*/ 234549 w 593502"/>
                  <a:gd name="connsiteY0" fmla="*/ 4436 h 508716"/>
                  <a:gd name="connsiteX1" fmla="*/ 112072 w 593502"/>
                  <a:gd name="connsiteY1" fmla="*/ 44209 h 508716"/>
                  <a:gd name="connsiteX2" fmla="*/ 0 w 593502"/>
                  <a:gd name="connsiteY2" fmla="*/ 198327 h 508716"/>
                  <a:gd name="connsiteX3" fmla="*/ 337988 w 593502"/>
                  <a:gd name="connsiteY3" fmla="*/ 276137 h 508716"/>
                  <a:gd name="connsiteX4" fmla="*/ 402040 w 593502"/>
                  <a:gd name="connsiteY4" fmla="*/ 510031 h 508716"/>
                  <a:gd name="connsiteX5" fmla="*/ 593233 w 593502"/>
                  <a:gd name="connsiteY5" fmla="*/ 433762 h 508716"/>
                  <a:gd name="connsiteX6" fmla="*/ 513765 w 593502"/>
                  <a:gd name="connsiteY6" fmla="*/ 101247 h 508716"/>
                  <a:gd name="connsiteX7" fmla="*/ 366468 w 593502"/>
                  <a:gd name="connsiteY7" fmla="*/ 4436 h 508716"/>
                  <a:gd name="connsiteX8" fmla="*/ 234549 w 593502"/>
                  <a:gd name="connsiteY8" fmla="*/ 4436 h 50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3502" h="508716">
                    <a:moveTo>
                      <a:pt x="234549" y="4436"/>
                    </a:moveTo>
                    <a:cubicBezTo>
                      <a:pt x="234549" y="4436"/>
                      <a:pt x="146873" y="23860"/>
                      <a:pt x="112072" y="44209"/>
                    </a:cubicBezTo>
                    <a:cubicBezTo>
                      <a:pt x="77271" y="64557"/>
                      <a:pt x="0" y="158092"/>
                      <a:pt x="0" y="198327"/>
                    </a:cubicBezTo>
                    <a:cubicBezTo>
                      <a:pt x="0" y="238561"/>
                      <a:pt x="337988" y="276137"/>
                      <a:pt x="337988" y="276137"/>
                    </a:cubicBezTo>
                    <a:lnTo>
                      <a:pt x="402040" y="510031"/>
                    </a:lnTo>
                    <a:cubicBezTo>
                      <a:pt x="402040" y="510031"/>
                      <a:pt x="572884" y="468332"/>
                      <a:pt x="593233" y="433762"/>
                    </a:cubicBezTo>
                    <a:cubicBezTo>
                      <a:pt x="613581" y="399193"/>
                      <a:pt x="525943" y="153082"/>
                      <a:pt x="513765" y="101247"/>
                    </a:cubicBezTo>
                    <a:cubicBezTo>
                      <a:pt x="501548" y="49373"/>
                      <a:pt x="437650" y="14418"/>
                      <a:pt x="366468" y="4436"/>
                    </a:cubicBezTo>
                    <a:cubicBezTo>
                      <a:pt x="295287" y="-5545"/>
                      <a:pt x="234549" y="4436"/>
                      <a:pt x="234549" y="4436"/>
                    </a:cubicBezTo>
                    <a:close/>
                  </a:path>
                </a:pathLst>
              </a:custGeom>
              <a:solidFill>
                <a:srgbClr val="D44040"/>
              </a:solidFill>
              <a:ln w="3842" cap="flat">
                <a:noFill/>
                <a:prstDash val="solid"/>
                <a:miter/>
              </a:ln>
            </p:spPr>
            <p:txBody>
              <a:bodyPr rtlCol="0" anchor="ctr"/>
              <a:lstStyle/>
              <a:p>
                <a:endParaRPr lang="en-ID"/>
              </a:p>
            </p:txBody>
          </p:sp>
          <p:sp>
            <p:nvSpPr>
              <p:cNvPr id="113" name="Freeform: Shape 112">
                <a:extLst>
                  <a:ext uri="{FF2B5EF4-FFF2-40B4-BE49-F238E27FC236}">
                    <a16:creationId xmlns:a16="http://schemas.microsoft.com/office/drawing/2014/main" id="{7C2456FF-4978-4E48-8E60-3C3F7ECF5366}"/>
                  </a:ext>
                </a:extLst>
              </p:cNvPr>
              <p:cNvSpPr/>
              <p:nvPr/>
            </p:nvSpPr>
            <p:spPr>
              <a:xfrm>
                <a:off x="8143305" y="3408290"/>
                <a:ext cx="454762" cy="1017433"/>
              </a:xfrm>
              <a:custGeom>
                <a:avLst/>
                <a:gdLst>
                  <a:gd name="connsiteX0" fmla="*/ 382203 w 454761"/>
                  <a:gd name="connsiteY0" fmla="*/ 0 h 1017432"/>
                  <a:gd name="connsiteX1" fmla="*/ 392377 w 454761"/>
                  <a:gd name="connsiteY1" fmla="*/ 56961 h 1017432"/>
                  <a:gd name="connsiteX2" fmla="*/ 443904 w 454761"/>
                  <a:gd name="connsiteY2" fmla="*/ 269851 h 1017432"/>
                  <a:gd name="connsiteX3" fmla="*/ 336804 w 454761"/>
                  <a:gd name="connsiteY3" fmla="*/ 357296 h 1017432"/>
                  <a:gd name="connsiteX4" fmla="*/ 227430 w 454761"/>
                  <a:gd name="connsiteY4" fmla="*/ 357296 h 1017432"/>
                  <a:gd name="connsiteX5" fmla="*/ 248935 w 454761"/>
                  <a:gd name="connsiteY5" fmla="*/ 623524 h 1017432"/>
                  <a:gd name="connsiteX6" fmla="*/ 189430 w 454761"/>
                  <a:gd name="connsiteY6" fmla="*/ 982979 h 1017432"/>
                  <a:gd name="connsiteX7" fmla="*/ 129964 w 454761"/>
                  <a:gd name="connsiteY7" fmla="*/ 1014003 h 1017432"/>
                  <a:gd name="connsiteX8" fmla="*/ 121640 w 454761"/>
                  <a:gd name="connsiteY8" fmla="*/ 813676 h 1017432"/>
                  <a:gd name="connsiteX9" fmla="*/ 75085 w 454761"/>
                  <a:gd name="connsiteY9" fmla="*/ 506558 h 1017432"/>
                  <a:gd name="connsiteX10" fmla="*/ 12035 w 454761"/>
                  <a:gd name="connsiteY10" fmla="*/ 365197 h 1017432"/>
                  <a:gd name="connsiteX11" fmla="*/ 74314 w 454761"/>
                  <a:gd name="connsiteY11" fmla="*/ 155158 h 1017432"/>
                  <a:gd name="connsiteX12" fmla="*/ 382203 w 454761"/>
                  <a:gd name="connsiteY12" fmla="*/ 0 h 101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4761" h="1017432">
                    <a:moveTo>
                      <a:pt x="382203" y="0"/>
                    </a:moveTo>
                    <a:cubicBezTo>
                      <a:pt x="382203" y="0"/>
                      <a:pt x="376114" y="40004"/>
                      <a:pt x="392377" y="56961"/>
                    </a:cubicBezTo>
                    <a:cubicBezTo>
                      <a:pt x="408641" y="73918"/>
                      <a:pt x="483599" y="172732"/>
                      <a:pt x="443904" y="269851"/>
                    </a:cubicBezTo>
                    <a:cubicBezTo>
                      <a:pt x="407446" y="358992"/>
                      <a:pt x="336804" y="357296"/>
                      <a:pt x="336804" y="357296"/>
                    </a:cubicBezTo>
                    <a:lnTo>
                      <a:pt x="227430" y="357296"/>
                    </a:lnTo>
                    <a:cubicBezTo>
                      <a:pt x="227430" y="357296"/>
                      <a:pt x="259186" y="517773"/>
                      <a:pt x="248935" y="623524"/>
                    </a:cubicBezTo>
                    <a:cubicBezTo>
                      <a:pt x="238683" y="729276"/>
                      <a:pt x="190432" y="970762"/>
                      <a:pt x="189430" y="982979"/>
                    </a:cubicBezTo>
                    <a:cubicBezTo>
                      <a:pt x="188428" y="995196"/>
                      <a:pt x="143183" y="1033349"/>
                      <a:pt x="129964" y="1014003"/>
                    </a:cubicBezTo>
                    <a:cubicBezTo>
                      <a:pt x="129964" y="1014003"/>
                      <a:pt x="128731" y="868595"/>
                      <a:pt x="121640" y="813676"/>
                    </a:cubicBezTo>
                    <a:cubicBezTo>
                      <a:pt x="114510" y="758758"/>
                      <a:pt x="84218" y="539124"/>
                      <a:pt x="75085" y="506558"/>
                    </a:cubicBezTo>
                    <a:cubicBezTo>
                      <a:pt x="65912" y="474031"/>
                      <a:pt x="12035" y="375371"/>
                      <a:pt x="12035" y="365197"/>
                    </a:cubicBezTo>
                    <a:cubicBezTo>
                      <a:pt x="12035" y="355022"/>
                      <a:pt x="-40610" y="195817"/>
                      <a:pt x="74314" y="155158"/>
                    </a:cubicBezTo>
                    <a:cubicBezTo>
                      <a:pt x="189160" y="114500"/>
                      <a:pt x="229781" y="848"/>
                      <a:pt x="382203" y="0"/>
                    </a:cubicBezTo>
                    <a:close/>
                  </a:path>
                </a:pathLst>
              </a:custGeom>
              <a:solidFill>
                <a:srgbClr val="EEA886"/>
              </a:solidFill>
              <a:ln w="3842" cap="flat">
                <a:noFill/>
                <a:prstDash val="solid"/>
                <a:miter/>
              </a:ln>
            </p:spPr>
            <p:txBody>
              <a:bodyPr rtlCol="0" anchor="ctr"/>
              <a:lstStyle/>
              <a:p>
                <a:endParaRPr lang="en-ID"/>
              </a:p>
            </p:txBody>
          </p:sp>
          <p:sp>
            <p:nvSpPr>
              <p:cNvPr id="114" name="Freeform: Shape 113">
                <a:extLst>
                  <a:ext uri="{FF2B5EF4-FFF2-40B4-BE49-F238E27FC236}">
                    <a16:creationId xmlns:a16="http://schemas.microsoft.com/office/drawing/2014/main" id="{7CA2AD35-119A-4B89-AB30-92E5DC572BD9}"/>
                  </a:ext>
                </a:extLst>
              </p:cNvPr>
              <p:cNvSpPr/>
              <p:nvPr/>
            </p:nvSpPr>
            <p:spPr>
              <a:xfrm>
                <a:off x="8151135" y="4389284"/>
                <a:ext cx="211965" cy="265920"/>
              </a:xfrm>
              <a:custGeom>
                <a:avLst/>
                <a:gdLst>
                  <a:gd name="connsiteX0" fmla="*/ 67640 w 211965"/>
                  <a:gd name="connsiteY0" fmla="*/ 145157 h 265919"/>
                  <a:gd name="connsiteX1" fmla="*/ 659 w 211965"/>
                  <a:gd name="connsiteY1" fmla="*/ 248982 h 265919"/>
                  <a:gd name="connsiteX2" fmla="*/ 129688 w 211965"/>
                  <a:gd name="connsiteY2" fmla="*/ 259233 h 265919"/>
                  <a:gd name="connsiteX3" fmla="*/ 210389 w 211965"/>
                  <a:gd name="connsiteY3" fmla="*/ 88196 h 265919"/>
                  <a:gd name="connsiteX4" fmla="*/ 181523 w 211965"/>
                  <a:gd name="connsiteY4" fmla="*/ 1946 h 265919"/>
                  <a:gd name="connsiteX5" fmla="*/ 124871 w 211965"/>
                  <a:gd name="connsiteY5" fmla="*/ 6725 h 265919"/>
                  <a:gd name="connsiteX6" fmla="*/ 67640 w 211965"/>
                  <a:gd name="connsiteY6" fmla="*/ 145157 h 265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965" h="265919">
                    <a:moveTo>
                      <a:pt x="67640" y="145157"/>
                    </a:moveTo>
                    <a:cubicBezTo>
                      <a:pt x="67640" y="145157"/>
                      <a:pt x="-7781" y="233142"/>
                      <a:pt x="659" y="248982"/>
                    </a:cubicBezTo>
                    <a:cubicBezTo>
                      <a:pt x="9138" y="264821"/>
                      <a:pt x="83171" y="272876"/>
                      <a:pt x="129688" y="259233"/>
                    </a:cubicBezTo>
                    <a:cubicBezTo>
                      <a:pt x="176205" y="245629"/>
                      <a:pt x="186148" y="134405"/>
                      <a:pt x="210389" y="88196"/>
                    </a:cubicBezTo>
                    <a:cubicBezTo>
                      <a:pt x="220525" y="68850"/>
                      <a:pt x="206920" y="8305"/>
                      <a:pt x="181523" y="1946"/>
                    </a:cubicBezTo>
                    <a:cubicBezTo>
                      <a:pt x="156126" y="-4375"/>
                      <a:pt x="124871" y="6725"/>
                      <a:pt x="124871" y="6725"/>
                    </a:cubicBezTo>
                    <a:cubicBezTo>
                      <a:pt x="124871" y="6725"/>
                      <a:pt x="145836" y="76866"/>
                      <a:pt x="67640" y="145157"/>
                    </a:cubicBezTo>
                    <a:close/>
                  </a:path>
                </a:pathLst>
              </a:custGeom>
              <a:solidFill>
                <a:srgbClr val="C00000"/>
              </a:solidFill>
              <a:ln w="3842" cap="flat">
                <a:noFill/>
                <a:prstDash val="solid"/>
                <a:miter/>
              </a:ln>
            </p:spPr>
            <p:txBody>
              <a:bodyPr rtlCol="0" anchor="ctr"/>
              <a:lstStyle/>
              <a:p>
                <a:endParaRPr lang="en-ID"/>
              </a:p>
            </p:txBody>
          </p:sp>
          <p:sp>
            <p:nvSpPr>
              <p:cNvPr id="115" name="Freeform: Shape 114">
                <a:extLst>
                  <a:ext uri="{FF2B5EF4-FFF2-40B4-BE49-F238E27FC236}">
                    <a16:creationId xmlns:a16="http://schemas.microsoft.com/office/drawing/2014/main" id="{471E2610-CE2A-4B56-9CF9-64ECC3B39A4E}"/>
                  </a:ext>
                </a:extLst>
              </p:cNvPr>
              <p:cNvSpPr/>
              <p:nvPr/>
            </p:nvSpPr>
            <p:spPr>
              <a:xfrm>
                <a:off x="8194542" y="4384903"/>
                <a:ext cx="138741" cy="200403"/>
              </a:xfrm>
              <a:custGeom>
                <a:avLst/>
                <a:gdLst>
                  <a:gd name="connsiteX0" fmla="*/ 81502 w 138740"/>
                  <a:gd name="connsiteY0" fmla="*/ 11144 h 200403"/>
                  <a:gd name="connsiteX1" fmla="*/ 61539 w 138740"/>
                  <a:gd name="connsiteY1" fmla="*/ 85293 h 200403"/>
                  <a:gd name="connsiteX2" fmla="*/ 30 w 138740"/>
                  <a:gd name="connsiteY2" fmla="*/ 191854 h 200403"/>
                  <a:gd name="connsiteX3" fmla="*/ 84354 w 138740"/>
                  <a:gd name="connsiteY3" fmla="*/ 192740 h 200403"/>
                  <a:gd name="connsiteX4" fmla="*/ 138386 w 138740"/>
                  <a:gd name="connsiteY4" fmla="*/ 70995 h 200403"/>
                  <a:gd name="connsiteX5" fmla="*/ 138116 w 138740"/>
                  <a:gd name="connsiteY5" fmla="*/ 6365 h 200403"/>
                  <a:gd name="connsiteX6" fmla="*/ 81502 w 138740"/>
                  <a:gd name="connsiteY6" fmla="*/ 11144 h 20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0" h="200403">
                    <a:moveTo>
                      <a:pt x="81502" y="11144"/>
                    </a:moveTo>
                    <a:cubicBezTo>
                      <a:pt x="81502" y="11144"/>
                      <a:pt x="72638" y="54809"/>
                      <a:pt x="61539" y="85293"/>
                    </a:cubicBezTo>
                    <a:cubicBezTo>
                      <a:pt x="50440" y="115777"/>
                      <a:pt x="-1434" y="183067"/>
                      <a:pt x="30" y="191854"/>
                    </a:cubicBezTo>
                    <a:cubicBezTo>
                      <a:pt x="1495" y="200641"/>
                      <a:pt x="58957" y="213050"/>
                      <a:pt x="84354" y="192740"/>
                    </a:cubicBezTo>
                    <a:cubicBezTo>
                      <a:pt x="109790" y="172430"/>
                      <a:pt x="133145" y="109688"/>
                      <a:pt x="138386" y="70995"/>
                    </a:cubicBezTo>
                    <a:cubicBezTo>
                      <a:pt x="143627" y="32302"/>
                      <a:pt x="138116" y="6365"/>
                      <a:pt x="138116" y="6365"/>
                    </a:cubicBezTo>
                    <a:cubicBezTo>
                      <a:pt x="138116" y="6365"/>
                      <a:pt x="105974" y="-10747"/>
                      <a:pt x="81502" y="11144"/>
                    </a:cubicBezTo>
                    <a:close/>
                  </a:path>
                </a:pathLst>
              </a:custGeom>
              <a:solidFill>
                <a:srgbClr val="EEA886"/>
              </a:solidFill>
              <a:ln w="3842" cap="flat">
                <a:noFill/>
                <a:prstDash val="solid"/>
                <a:miter/>
              </a:ln>
            </p:spPr>
            <p:txBody>
              <a:bodyPr rtlCol="0" anchor="ctr"/>
              <a:lstStyle/>
              <a:p>
                <a:endParaRPr lang="en-ID"/>
              </a:p>
            </p:txBody>
          </p:sp>
          <p:sp>
            <p:nvSpPr>
              <p:cNvPr id="116" name="Freeform: Shape 115">
                <a:extLst>
                  <a:ext uri="{FF2B5EF4-FFF2-40B4-BE49-F238E27FC236}">
                    <a16:creationId xmlns:a16="http://schemas.microsoft.com/office/drawing/2014/main" id="{61A9D91F-C7A6-4399-896F-8D08528F5495}"/>
                  </a:ext>
                </a:extLst>
              </p:cNvPr>
              <p:cNvSpPr/>
              <p:nvPr/>
            </p:nvSpPr>
            <p:spPr>
              <a:xfrm>
                <a:off x="8340751" y="4477480"/>
                <a:ext cx="19270" cy="96348"/>
              </a:xfrm>
              <a:custGeom>
                <a:avLst/>
                <a:gdLst>
                  <a:gd name="connsiteX0" fmla="*/ 20811 w 19269"/>
                  <a:gd name="connsiteY0" fmla="*/ 0 h 96347"/>
                  <a:gd name="connsiteX1" fmla="*/ 12872 w 19269"/>
                  <a:gd name="connsiteY1" fmla="*/ 99431 h 96347"/>
                  <a:gd name="connsiteX2" fmla="*/ 0 w 19269"/>
                  <a:gd name="connsiteY2" fmla="*/ 98429 h 96347"/>
                  <a:gd name="connsiteX3" fmla="*/ 6089 w 19269"/>
                  <a:gd name="connsiteY3" fmla="*/ 21582 h 96347"/>
                </a:gdLst>
                <a:ahLst/>
                <a:cxnLst>
                  <a:cxn ang="0">
                    <a:pos x="connsiteX0" y="connsiteY0"/>
                  </a:cxn>
                  <a:cxn ang="0">
                    <a:pos x="connsiteX1" y="connsiteY1"/>
                  </a:cxn>
                  <a:cxn ang="0">
                    <a:pos x="connsiteX2" y="connsiteY2"/>
                  </a:cxn>
                  <a:cxn ang="0">
                    <a:pos x="connsiteX3" y="connsiteY3"/>
                  </a:cxn>
                </a:cxnLst>
                <a:rect l="l" t="t" r="r" b="b"/>
                <a:pathLst>
                  <a:path w="19269" h="96347">
                    <a:moveTo>
                      <a:pt x="20811" y="0"/>
                    </a:moveTo>
                    <a:lnTo>
                      <a:pt x="12872" y="99431"/>
                    </a:lnTo>
                    <a:lnTo>
                      <a:pt x="0" y="98429"/>
                    </a:lnTo>
                    <a:lnTo>
                      <a:pt x="6089" y="21582"/>
                    </a:lnTo>
                    <a:close/>
                  </a:path>
                </a:pathLst>
              </a:custGeom>
              <a:solidFill>
                <a:srgbClr val="9A0000"/>
              </a:solidFill>
              <a:ln w="3842" cap="flat">
                <a:noFill/>
                <a:prstDash val="solid"/>
                <a:miter/>
              </a:ln>
            </p:spPr>
            <p:txBody>
              <a:bodyPr rtlCol="0" anchor="ctr"/>
              <a:lstStyle/>
              <a:p>
                <a:endParaRPr lang="en-ID"/>
              </a:p>
            </p:txBody>
          </p:sp>
          <p:sp>
            <p:nvSpPr>
              <p:cNvPr id="117" name="Freeform: Shape 116">
                <a:extLst>
                  <a:ext uri="{FF2B5EF4-FFF2-40B4-BE49-F238E27FC236}">
                    <a16:creationId xmlns:a16="http://schemas.microsoft.com/office/drawing/2014/main" id="{BD7693A3-FAD6-4519-9531-FE7B7F7394F3}"/>
                  </a:ext>
                </a:extLst>
              </p:cNvPr>
              <p:cNvSpPr/>
              <p:nvPr/>
            </p:nvSpPr>
            <p:spPr>
              <a:xfrm>
                <a:off x="7986029" y="3369714"/>
                <a:ext cx="612772" cy="393099"/>
              </a:xfrm>
              <a:custGeom>
                <a:avLst/>
                <a:gdLst>
                  <a:gd name="connsiteX0" fmla="*/ 601181 w 612771"/>
                  <a:gd name="connsiteY0" fmla="*/ 308387 h 393098"/>
                  <a:gd name="connsiteX1" fmla="*/ 494080 w 612771"/>
                  <a:gd name="connsiteY1" fmla="*/ 395833 h 393098"/>
                  <a:gd name="connsiteX2" fmla="*/ 384706 w 612771"/>
                  <a:gd name="connsiteY2" fmla="*/ 395833 h 393098"/>
                  <a:gd name="connsiteX3" fmla="*/ 227351 w 612771"/>
                  <a:gd name="connsiteY3" fmla="*/ 311124 h 393098"/>
                  <a:gd name="connsiteX4" fmla="*/ 143105 w 612771"/>
                  <a:gd name="connsiteY4" fmla="*/ 313128 h 393098"/>
                  <a:gd name="connsiteX5" fmla="*/ 141948 w 612771"/>
                  <a:gd name="connsiteY5" fmla="*/ 313282 h 393098"/>
                  <a:gd name="connsiteX6" fmla="*/ 22631 w 612771"/>
                  <a:gd name="connsiteY6" fmla="*/ 391170 h 393098"/>
                  <a:gd name="connsiteX7" fmla="*/ 471 w 612771"/>
                  <a:gd name="connsiteY7" fmla="*/ 287345 h 393098"/>
                  <a:gd name="connsiteX8" fmla="*/ 212051 w 612771"/>
                  <a:gd name="connsiteY8" fmla="*/ 111299 h 393098"/>
                  <a:gd name="connsiteX9" fmla="*/ 212051 w 612771"/>
                  <a:gd name="connsiteY9" fmla="*/ 30867 h 393098"/>
                  <a:gd name="connsiteX10" fmla="*/ 504602 w 612771"/>
                  <a:gd name="connsiteY10" fmla="*/ 41042 h 393098"/>
                  <a:gd name="connsiteX11" fmla="*/ 556475 w 612771"/>
                  <a:gd name="connsiteY11" fmla="*/ 22967 h 393098"/>
                  <a:gd name="connsiteX12" fmla="*/ 578173 w 612771"/>
                  <a:gd name="connsiteY12" fmla="*/ 75842 h 393098"/>
                  <a:gd name="connsiteX13" fmla="*/ 601181 w 612771"/>
                  <a:gd name="connsiteY13" fmla="*/ 308387 h 393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771" h="393098">
                    <a:moveTo>
                      <a:pt x="601181" y="308387"/>
                    </a:moveTo>
                    <a:cubicBezTo>
                      <a:pt x="566765" y="398723"/>
                      <a:pt x="494080" y="395833"/>
                      <a:pt x="494080" y="395833"/>
                    </a:cubicBezTo>
                    <a:lnTo>
                      <a:pt x="384706" y="395833"/>
                    </a:lnTo>
                    <a:cubicBezTo>
                      <a:pt x="384706" y="395833"/>
                      <a:pt x="339076" y="323533"/>
                      <a:pt x="227351" y="311124"/>
                    </a:cubicBezTo>
                    <a:cubicBezTo>
                      <a:pt x="202570" y="308387"/>
                      <a:pt x="174591" y="308542"/>
                      <a:pt x="143105" y="313128"/>
                    </a:cubicBezTo>
                    <a:cubicBezTo>
                      <a:pt x="142719" y="313166"/>
                      <a:pt x="142334" y="313243"/>
                      <a:pt x="141948" y="313282"/>
                    </a:cubicBezTo>
                    <a:cubicBezTo>
                      <a:pt x="-6504" y="335288"/>
                      <a:pt x="22169" y="389744"/>
                      <a:pt x="22631" y="391170"/>
                    </a:cubicBezTo>
                    <a:cubicBezTo>
                      <a:pt x="10299" y="361032"/>
                      <a:pt x="-2650" y="313128"/>
                      <a:pt x="471" y="287345"/>
                    </a:cubicBezTo>
                    <a:cubicBezTo>
                      <a:pt x="14692" y="169839"/>
                      <a:pt x="184496" y="145213"/>
                      <a:pt x="212051" y="111299"/>
                    </a:cubicBezTo>
                    <a:cubicBezTo>
                      <a:pt x="239607" y="77384"/>
                      <a:pt x="212051" y="30867"/>
                      <a:pt x="212051" y="30867"/>
                    </a:cubicBezTo>
                    <a:cubicBezTo>
                      <a:pt x="466332" y="-44091"/>
                      <a:pt x="504602" y="41042"/>
                      <a:pt x="504602" y="41042"/>
                    </a:cubicBezTo>
                    <a:cubicBezTo>
                      <a:pt x="515739" y="39500"/>
                      <a:pt x="544297" y="23044"/>
                      <a:pt x="556475" y="22967"/>
                    </a:cubicBezTo>
                    <a:cubicBezTo>
                      <a:pt x="556475" y="22967"/>
                      <a:pt x="569193" y="50754"/>
                      <a:pt x="578173" y="75842"/>
                    </a:cubicBezTo>
                    <a:cubicBezTo>
                      <a:pt x="586035" y="97964"/>
                      <a:pt x="638525" y="210344"/>
                      <a:pt x="601181" y="308387"/>
                    </a:cubicBezTo>
                    <a:close/>
                  </a:path>
                </a:pathLst>
              </a:custGeom>
              <a:solidFill>
                <a:srgbClr val="292C47"/>
              </a:solidFill>
              <a:ln w="3842" cap="flat">
                <a:noFill/>
                <a:prstDash val="solid"/>
                <a:miter/>
              </a:ln>
            </p:spPr>
            <p:txBody>
              <a:bodyPr rtlCol="0" anchor="ctr"/>
              <a:lstStyle/>
              <a:p>
                <a:endParaRPr lang="en-ID"/>
              </a:p>
            </p:txBody>
          </p:sp>
          <p:sp>
            <p:nvSpPr>
              <p:cNvPr id="118" name="Freeform: Shape 117">
                <a:extLst>
                  <a:ext uri="{FF2B5EF4-FFF2-40B4-BE49-F238E27FC236}">
                    <a16:creationId xmlns:a16="http://schemas.microsoft.com/office/drawing/2014/main" id="{5564F92A-9B91-4292-8CA5-3A6ED055E926}"/>
                  </a:ext>
                </a:extLst>
              </p:cNvPr>
              <p:cNvSpPr/>
              <p:nvPr/>
            </p:nvSpPr>
            <p:spPr>
              <a:xfrm>
                <a:off x="7986461" y="3031184"/>
                <a:ext cx="531840" cy="346852"/>
              </a:xfrm>
              <a:custGeom>
                <a:avLst/>
                <a:gdLst>
                  <a:gd name="connsiteX0" fmla="*/ 495228 w 531839"/>
                  <a:gd name="connsiteY0" fmla="*/ 0 h 346852"/>
                  <a:gd name="connsiteX1" fmla="*/ 532880 w 531839"/>
                  <a:gd name="connsiteY1" fmla="*/ 349820 h 346852"/>
                  <a:gd name="connsiteX2" fmla="*/ 37653 w 531839"/>
                  <a:gd name="connsiteY2" fmla="*/ 349820 h 346852"/>
                  <a:gd name="connsiteX3" fmla="*/ 0 w 531839"/>
                  <a:gd name="connsiteY3" fmla="*/ 0 h 346852"/>
                </a:gdLst>
                <a:ahLst/>
                <a:cxnLst>
                  <a:cxn ang="0">
                    <a:pos x="connsiteX0" y="connsiteY0"/>
                  </a:cxn>
                  <a:cxn ang="0">
                    <a:pos x="connsiteX1" y="connsiteY1"/>
                  </a:cxn>
                  <a:cxn ang="0">
                    <a:pos x="connsiteX2" y="connsiteY2"/>
                  </a:cxn>
                  <a:cxn ang="0">
                    <a:pos x="connsiteX3" y="connsiteY3"/>
                  </a:cxn>
                </a:cxnLst>
                <a:rect l="l" t="t" r="r" b="b"/>
                <a:pathLst>
                  <a:path w="531839" h="346852">
                    <a:moveTo>
                      <a:pt x="495228" y="0"/>
                    </a:moveTo>
                    <a:lnTo>
                      <a:pt x="532880" y="349820"/>
                    </a:lnTo>
                    <a:lnTo>
                      <a:pt x="37653" y="349820"/>
                    </a:lnTo>
                    <a:lnTo>
                      <a:pt x="0" y="0"/>
                    </a:lnTo>
                    <a:close/>
                  </a:path>
                </a:pathLst>
              </a:custGeom>
              <a:solidFill>
                <a:schemeClr val="tx2"/>
              </a:solidFill>
              <a:ln w="3842" cap="flat">
                <a:noFill/>
                <a:prstDash val="solid"/>
                <a:miter/>
              </a:ln>
            </p:spPr>
            <p:txBody>
              <a:bodyPr rtlCol="0" anchor="ctr"/>
              <a:lstStyle/>
              <a:p>
                <a:endParaRPr lang="en-ID"/>
              </a:p>
            </p:txBody>
          </p:sp>
          <p:sp>
            <p:nvSpPr>
              <p:cNvPr id="119" name="Freeform: Shape 118">
                <a:extLst>
                  <a:ext uri="{FF2B5EF4-FFF2-40B4-BE49-F238E27FC236}">
                    <a16:creationId xmlns:a16="http://schemas.microsoft.com/office/drawing/2014/main" id="{F41A1716-80CD-4531-B25E-974CFACA7AEA}"/>
                  </a:ext>
                </a:extLst>
              </p:cNvPr>
              <p:cNvSpPr/>
              <p:nvPr/>
            </p:nvSpPr>
            <p:spPr>
              <a:xfrm>
                <a:off x="8476024" y="3349517"/>
                <a:ext cx="80932" cy="30831"/>
              </a:xfrm>
              <a:custGeom>
                <a:avLst/>
                <a:gdLst>
                  <a:gd name="connsiteX0" fmla="*/ 0 w 80932"/>
                  <a:gd name="connsiteY0" fmla="*/ 0 h 30831"/>
                  <a:gd name="connsiteX1" fmla="*/ 82705 w 80932"/>
                  <a:gd name="connsiteY1" fmla="*/ 0 h 30831"/>
                  <a:gd name="connsiteX2" fmla="*/ 82705 w 80932"/>
                  <a:gd name="connsiteY2" fmla="*/ 31487 h 30831"/>
                  <a:gd name="connsiteX3" fmla="*/ 0 w 80932"/>
                  <a:gd name="connsiteY3" fmla="*/ 31487 h 30831"/>
                </a:gdLst>
                <a:ahLst/>
                <a:cxnLst>
                  <a:cxn ang="0">
                    <a:pos x="connsiteX0" y="connsiteY0"/>
                  </a:cxn>
                  <a:cxn ang="0">
                    <a:pos x="connsiteX1" y="connsiteY1"/>
                  </a:cxn>
                  <a:cxn ang="0">
                    <a:pos x="connsiteX2" y="connsiteY2"/>
                  </a:cxn>
                  <a:cxn ang="0">
                    <a:pos x="connsiteX3" y="connsiteY3"/>
                  </a:cxn>
                </a:cxnLst>
                <a:rect l="l" t="t" r="r" b="b"/>
                <a:pathLst>
                  <a:path w="80932" h="30831">
                    <a:moveTo>
                      <a:pt x="0" y="0"/>
                    </a:moveTo>
                    <a:lnTo>
                      <a:pt x="82705" y="0"/>
                    </a:lnTo>
                    <a:lnTo>
                      <a:pt x="82705" y="31487"/>
                    </a:lnTo>
                    <a:lnTo>
                      <a:pt x="0" y="31487"/>
                    </a:lnTo>
                    <a:close/>
                  </a:path>
                </a:pathLst>
              </a:custGeom>
              <a:solidFill>
                <a:schemeClr val="tx2"/>
              </a:solidFill>
              <a:ln w="3842" cap="flat">
                <a:noFill/>
                <a:prstDash val="solid"/>
                <a:miter/>
              </a:ln>
            </p:spPr>
            <p:txBody>
              <a:bodyPr rtlCol="0" anchor="ctr"/>
              <a:lstStyle/>
              <a:p>
                <a:endParaRPr lang="en-ID"/>
              </a:p>
            </p:txBody>
          </p:sp>
          <p:sp>
            <p:nvSpPr>
              <p:cNvPr id="120" name="Freeform: Shape 119">
                <a:extLst>
                  <a:ext uri="{FF2B5EF4-FFF2-40B4-BE49-F238E27FC236}">
                    <a16:creationId xmlns:a16="http://schemas.microsoft.com/office/drawing/2014/main" id="{FD5CCF5F-03CE-4068-815C-023A2243469D}"/>
                  </a:ext>
                </a:extLst>
              </p:cNvPr>
              <p:cNvSpPr/>
              <p:nvPr/>
            </p:nvSpPr>
            <p:spPr>
              <a:xfrm>
                <a:off x="7510272" y="3381004"/>
                <a:ext cx="1541565" cy="46247"/>
              </a:xfrm>
              <a:custGeom>
                <a:avLst/>
                <a:gdLst>
                  <a:gd name="connsiteX0" fmla="*/ 0 w 1541564"/>
                  <a:gd name="connsiteY0" fmla="*/ 0 h 46246"/>
                  <a:gd name="connsiteX1" fmla="*/ 1545226 w 1541564"/>
                  <a:gd name="connsiteY1" fmla="*/ 0 h 46246"/>
                  <a:gd name="connsiteX2" fmla="*/ 1545226 w 1541564"/>
                  <a:gd name="connsiteY2" fmla="*/ 47634 h 46246"/>
                  <a:gd name="connsiteX3" fmla="*/ 0 w 1541564"/>
                  <a:gd name="connsiteY3" fmla="*/ 47634 h 46246"/>
                </a:gdLst>
                <a:ahLst/>
                <a:cxnLst>
                  <a:cxn ang="0">
                    <a:pos x="connsiteX0" y="connsiteY0"/>
                  </a:cxn>
                  <a:cxn ang="0">
                    <a:pos x="connsiteX1" y="connsiteY1"/>
                  </a:cxn>
                  <a:cxn ang="0">
                    <a:pos x="connsiteX2" y="connsiteY2"/>
                  </a:cxn>
                  <a:cxn ang="0">
                    <a:pos x="connsiteX3" y="connsiteY3"/>
                  </a:cxn>
                </a:cxnLst>
                <a:rect l="l" t="t" r="r" b="b"/>
                <a:pathLst>
                  <a:path w="1541564" h="46246">
                    <a:moveTo>
                      <a:pt x="0" y="0"/>
                    </a:moveTo>
                    <a:lnTo>
                      <a:pt x="1545226" y="0"/>
                    </a:lnTo>
                    <a:lnTo>
                      <a:pt x="1545226" y="47634"/>
                    </a:lnTo>
                    <a:lnTo>
                      <a:pt x="0" y="47634"/>
                    </a:lnTo>
                    <a:close/>
                  </a:path>
                </a:pathLst>
              </a:custGeom>
              <a:solidFill>
                <a:srgbClr val="BC8551"/>
              </a:solidFill>
              <a:ln w="3842" cap="flat">
                <a:noFill/>
                <a:prstDash val="solid"/>
                <a:miter/>
              </a:ln>
            </p:spPr>
            <p:txBody>
              <a:bodyPr rtlCol="0" anchor="ctr"/>
              <a:lstStyle/>
              <a:p>
                <a:endParaRPr lang="en-ID"/>
              </a:p>
            </p:txBody>
          </p:sp>
          <p:sp>
            <p:nvSpPr>
              <p:cNvPr id="121" name="Freeform: Shape 120">
                <a:extLst>
                  <a:ext uri="{FF2B5EF4-FFF2-40B4-BE49-F238E27FC236}">
                    <a16:creationId xmlns:a16="http://schemas.microsoft.com/office/drawing/2014/main" id="{B223B6E2-6F98-4E32-854A-7E5A2E7E91C3}"/>
                  </a:ext>
                </a:extLst>
              </p:cNvPr>
              <p:cNvSpPr/>
              <p:nvPr/>
            </p:nvSpPr>
            <p:spPr>
              <a:xfrm>
                <a:off x="8249728" y="2491342"/>
                <a:ext cx="219673" cy="335290"/>
              </a:xfrm>
              <a:custGeom>
                <a:avLst/>
                <a:gdLst>
                  <a:gd name="connsiteX0" fmla="*/ 123358 w 219672"/>
                  <a:gd name="connsiteY0" fmla="*/ 2222 h 335290"/>
                  <a:gd name="connsiteX1" fmla="*/ 218472 w 219672"/>
                  <a:gd name="connsiteY1" fmla="*/ 189021 h 335290"/>
                  <a:gd name="connsiteX2" fmla="*/ 123358 w 219672"/>
                  <a:gd name="connsiteY2" fmla="*/ 336202 h 335290"/>
                  <a:gd name="connsiteX3" fmla="*/ 3347 w 219672"/>
                  <a:gd name="connsiteY3" fmla="*/ 156185 h 335290"/>
                  <a:gd name="connsiteX4" fmla="*/ 123358 w 219672"/>
                  <a:gd name="connsiteY4" fmla="*/ 2222 h 33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72" h="335290">
                    <a:moveTo>
                      <a:pt x="123358" y="2222"/>
                    </a:moveTo>
                    <a:cubicBezTo>
                      <a:pt x="123358" y="2222"/>
                      <a:pt x="234312" y="35057"/>
                      <a:pt x="218472" y="189021"/>
                    </a:cubicBezTo>
                    <a:cubicBezTo>
                      <a:pt x="202633" y="342984"/>
                      <a:pt x="130179" y="335084"/>
                      <a:pt x="123358" y="336202"/>
                    </a:cubicBezTo>
                    <a:cubicBezTo>
                      <a:pt x="116575" y="337319"/>
                      <a:pt x="30517" y="342984"/>
                      <a:pt x="3347" y="156185"/>
                    </a:cubicBezTo>
                    <a:cubicBezTo>
                      <a:pt x="-23823" y="-30614"/>
                      <a:pt x="123358" y="2222"/>
                      <a:pt x="123358" y="2222"/>
                    </a:cubicBezTo>
                    <a:close/>
                  </a:path>
                </a:pathLst>
              </a:custGeom>
              <a:solidFill>
                <a:srgbClr val="EEA886"/>
              </a:solidFill>
              <a:ln w="3842" cap="flat">
                <a:noFill/>
                <a:prstDash val="solid"/>
                <a:miter/>
              </a:ln>
            </p:spPr>
            <p:txBody>
              <a:bodyPr rtlCol="0" anchor="ctr"/>
              <a:lstStyle/>
              <a:p>
                <a:endParaRPr lang="en-ID"/>
              </a:p>
            </p:txBody>
          </p:sp>
          <p:sp>
            <p:nvSpPr>
              <p:cNvPr id="122" name="Freeform: Shape 121">
                <a:extLst>
                  <a:ext uri="{FF2B5EF4-FFF2-40B4-BE49-F238E27FC236}">
                    <a16:creationId xmlns:a16="http://schemas.microsoft.com/office/drawing/2014/main" id="{EEBFE6B6-6DBF-4454-8B64-16E3CDDF217B}"/>
                  </a:ext>
                </a:extLst>
              </p:cNvPr>
              <p:cNvSpPr/>
              <p:nvPr/>
            </p:nvSpPr>
            <p:spPr>
              <a:xfrm>
                <a:off x="8300748" y="2764278"/>
                <a:ext cx="127179" cy="142595"/>
              </a:xfrm>
              <a:custGeom>
                <a:avLst/>
                <a:gdLst>
                  <a:gd name="connsiteX0" fmla="*/ 125214 w 127179"/>
                  <a:gd name="connsiteY0" fmla="*/ 34978 h 142594"/>
                  <a:gd name="connsiteX1" fmla="*/ 129145 w 127179"/>
                  <a:gd name="connsiteY1" fmla="*/ 117644 h 142594"/>
                  <a:gd name="connsiteX2" fmla="*/ 0 w 127179"/>
                  <a:gd name="connsiteY2" fmla="*/ 124157 h 142594"/>
                  <a:gd name="connsiteX3" fmla="*/ 925 w 127179"/>
                  <a:gd name="connsiteY3" fmla="*/ 19061 h 142594"/>
                  <a:gd name="connsiteX4" fmla="*/ 125214 w 127179"/>
                  <a:gd name="connsiteY4" fmla="*/ 34978 h 142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79" h="142594">
                    <a:moveTo>
                      <a:pt x="125214" y="34978"/>
                    </a:moveTo>
                    <a:cubicBezTo>
                      <a:pt x="125214" y="34978"/>
                      <a:pt x="119356" y="85965"/>
                      <a:pt x="129145" y="117644"/>
                    </a:cubicBezTo>
                    <a:cubicBezTo>
                      <a:pt x="138972" y="149362"/>
                      <a:pt x="-77" y="150210"/>
                      <a:pt x="0" y="124157"/>
                    </a:cubicBezTo>
                    <a:cubicBezTo>
                      <a:pt x="77" y="94559"/>
                      <a:pt x="14221" y="69817"/>
                      <a:pt x="925" y="19061"/>
                    </a:cubicBezTo>
                    <a:cubicBezTo>
                      <a:pt x="-12410" y="-31695"/>
                      <a:pt x="125214" y="34978"/>
                      <a:pt x="125214" y="34978"/>
                    </a:cubicBezTo>
                    <a:close/>
                  </a:path>
                </a:pathLst>
              </a:custGeom>
              <a:solidFill>
                <a:srgbClr val="EEA886"/>
              </a:solidFill>
              <a:ln w="3842" cap="flat">
                <a:noFill/>
                <a:prstDash val="solid"/>
                <a:miter/>
              </a:ln>
            </p:spPr>
            <p:txBody>
              <a:bodyPr rtlCol="0" anchor="ctr"/>
              <a:lstStyle/>
              <a:p>
                <a:endParaRPr lang="en-ID"/>
              </a:p>
            </p:txBody>
          </p:sp>
          <p:sp>
            <p:nvSpPr>
              <p:cNvPr id="123" name="Freeform: Shape 122">
                <a:extLst>
                  <a:ext uri="{FF2B5EF4-FFF2-40B4-BE49-F238E27FC236}">
                    <a16:creationId xmlns:a16="http://schemas.microsoft.com/office/drawing/2014/main" id="{38F967D8-9AF0-44D5-8015-5BCDB41F204F}"/>
                  </a:ext>
                </a:extLst>
              </p:cNvPr>
              <p:cNvSpPr/>
              <p:nvPr/>
            </p:nvSpPr>
            <p:spPr>
              <a:xfrm>
                <a:off x="8241710" y="2481908"/>
                <a:ext cx="227381" cy="215819"/>
              </a:xfrm>
              <a:custGeom>
                <a:avLst/>
                <a:gdLst>
                  <a:gd name="connsiteX0" fmla="*/ 102741 w 227380"/>
                  <a:gd name="connsiteY0" fmla="*/ 80333 h 215819"/>
                  <a:gd name="connsiteX1" fmla="*/ 226490 w 227380"/>
                  <a:gd name="connsiteY1" fmla="*/ 198494 h 215819"/>
                  <a:gd name="connsiteX2" fmla="*/ 118041 w 227380"/>
                  <a:gd name="connsiteY2" fmla="*/ 3871 h 215819"/>
                  <a:gd name="connsiteX3" fmla="*/ 8050 w 227380"/>
                  <a:gd name="connsiteY3" fmla="*/ 218727 h 215819"/>
                  <a:gd name="connsiteX4" fmla="*/ 102741 w 227380"/>
                  <a:gd name="connsiteY4" fmla="*/ 80333 h 215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380" h="215819">
                    <a:moveTo>
                      <a:pt x="102741" y="80333"/>
                    </a:moveTo>
                    <a:cubicBezTo>
                      <a:pt x="102741" y="80333"/>
                      <a:pt x="163016" y="176218"/>
                      <a:pt x="226490" y="198494"/>
                    </a:cubicBezTo>
                    <a:cubicBezTo>
                      <a:pt x="226490" y="198494"/>
                      <a:pt x="261137" y="37593"/>
                      <a:pt x="118041" y="3871"/>
                    </a:cubicBezTo>
                    <a:cubicBezTo>
                      <a:pt x="-25055" y="-29851"/>
                      <a:pt x="-2625" y="166391"/>
                      <a:pt x="8050" y="218727"/>
                    </a:cubicBezTo>
                    <a:cubicBezTo>
                      <a:pt x="8012" y="218688"/>
                      <a:pt x="37802" y="141726"/>
                      <a:pt x="102741" y="80333"/>
                    </a:cubicBezTo>
                    <a:close/>
                  </a:path>
                </a:pathLst>
              </a:custGeom>
              <a:solidFill>
                <a:srgbClr val="292C47"/>
              </a:solidFill>
              <a:ln w="3842" cap="flat">
                <a:noFill/>
                <a:prstDash val="solid"/>
                <a:miter/>
              </a:ln>
            </p:spPr>
            <p:txBody>
              <a:bodyPr rtlCol="0" anchor="ctr"/>
              <a:lstStyle/>
              <a:p>
                <a:endParaRPr lang="en-ID"/>
              </a:p>
            </p:txBody>
          </p:sp>
          <p:sp>
            <p:nvSpPr>
              <p:cNvPr id="124" name="Freeform: Shape 123">
                <a:extLst>
                  <a:ext uri="{FF2B5EF4-FFF2-40B4-BE49-F238E27FC236}">
                    <a16:creationId xmlns:a16="http://schemas.microsoft.com/office/drawing/2014/main" id="{17A73452-A22E-4F4D-ACCE-B52D08B5BB7F}"/>
                  </a:ext>
                </a:extLst>
              </p:cNvPr>
              <p:cNvSpPr/>
              <p:nvPr/>
            </p:nvSpPr>
            <p:spPr>
              <a:xfrm>
                <a:off x="8318129" y="2805730"/>
                <a:ext cx="96348" cy="34685"/>
              </a:xfrm>
              <a:custGeom>
                <a:avLst/>
                <a:gdLst>
                  <a:gd name="connsiteX0" fmla="*/ 0 w 96347"/>
                  <a:gd name="connsiteY0" fmla="*/ 0 h 34685"/>
                  <a:gd name="connsiteX1" fmla="*/ 100048 w 96347"/>
                  <a:gd name="connsiteY1" fmla="*/ 4779 h 34685"/>
                  <a:gd name="connsiteX2" fmla="*/ 55034 w 96347"/>
                  <a:gd name="connsiteY2" fmla="*/ 37768 h 34685"/>
                  <a:gd name="connsiteX3" fmla="*/ 0 w 96347"/>
                  <a:gd name="connsiteY3" fmla="*/ 0 h 34685"/>
                </a:gdLst>
                <a:ahLst/>
                <a:cxnLst>
                  <a:cxn ang="0">
                    <a:pos x="connsiteX0" y="connsiteY0"/>
                  </a:cxn>
                  <a:cxn ang="0">
                    <a:pos x="connsiteX1" y="connsiteY1"/>
                  </a:cxn>
                  <a:cxn ang="0">
                    <a:pos x="connsiteX2" y="connsiteY2"/>
                  </a:cxn>
                  <a:cxn ang="0">
                    <a:pos x="connsiteX3" y="connsiteY3"/>
                  </a:cxn>
                </a:cxnLst>
                <a:rect l="l" t="t" r="r" b="b"/>
                <a:pathLst>
                  <a:path w="96347" h="34685">
                    <a:moveTo>
                      <a:pt x="0" y="0"/>
                    </a:moveTo>
                    <a:cubicBezTo>
                      <a:pt x="0" y="0"/>
                      <a:pt x="43896" y="45746"/>
                      <a:pt x="100048" y="4779"/>
                    </a:cubicBezTo>
                    <a:cubicBezTo>
                      <a:pt x="100048" y="4779"/>
                      <a:pt x="95423" y="34030"/>
                      <a:pt x="55034" y="37768"/>
                    </a:cubicBezTo>
                    <a:cubicBezTo>
                      <a:pt x="14645" y="41584"/>
                      <a:pt x="0" y="0"/>
                      <a:pt x="0" y="0"/>
                    </a:cubicBezTo>
                    <a:close/>
                  </a:path>
                </a:pathLst>
              </a:custGeom>
              <a:solidFill>
                <a:srgbClr val="A77860"/>
              </a:solidFill>
              <a:ln w="3842" cap="flat">
                <a:noFill/>
                <a:prstDash val="solid"/>
                <a:miter/>
              </a:ln>
            </p:spPr>
            <p:txBody>
              <a:bodyPr rtlCol="0" anchor="ctr"/>
              <a:lstStyle/>
              <a:p>
                <a:endParaRPr lang="en-ID"/>
              </a:p>
            </p:txBody>
          </p:sp>
          <p:sp>
            <p:nvSpPr>
              <p:cNvPr id="125" name="Freeform: Shape 124">
                <a:extLst>
                  <a:ext uri="{FF2B5EF4-FFF2-40B4-BE49-F238E27FC236}">
                    <a16:creationId xmlns:a16="http://schemas.microsoft.com/office/drawing/2014/main" id="{629642D9-5D8C-466F-A44A-FB4D7BF99E8F}"/>
                  </a:ext>
                </a:extLst>
              </p:cNvPr>
              <p:cNvSpPr/>
              <p:nvPr/>
            </p:nvSpPr>
            <p:spPr>
              <a:xfrm>
                <a:off x="8263596" y="2474988"/>
                <a:ext cx="169572" cy="69370"/>
              </a:xfrm>
              <a:custGeom>
                <a:avLst/>
                <a:gdLst>
                  <a:gd name="connsiteX0" fmla="*/ 0 w 169572"/>
                  <a:gd name="connsiteY0" fmla="*/ 72800 h 69370"/>
                  <a:gd name="connsiteX1" fmla="*/ 85326 w 169572"/>
                  <a:gd name="connsiteY1" fmla="*/ 8594 h 69370"/>
                  <a:gd name="connsiteX2" fmla="*/ 170767 w 169572"/>
                  <a:gd name="connsiteY2" fmla="*/ 52336 h 69370"/>
                  <a:gd name="connsiteX3" fmla="*/ 85364 w 169572"/>
                  <a:gd name="connsiteY3" fmla="*/ 0 h 69370"/>
                  <a:gd name="connsiteX4" fmla="*/ 0 w 169572"/>
                  <a:gd name="connsiteY4" fmla="*/ 72800 h 69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572" h="69370">
                    <a:moveTo>
                      <a:pt x="0" y="72800"/>
                    </a:moveTo>
                    <a:cubicBezTo>
                      <a:pt x="0" y="72800"/>
                      <a:pt x="31756" y="11331"/>
                      <a:pt x="85326" y="8594"/>
                    </a:cubicBezTo>
                    <a:cubicBezTo>
                      <a:pt x="138895" y="5858"/>
                      <a:pt x="170767" y="52336"/>
                      <a:pt x="170767" y="52336"/>
                    </a:cubicBezTo>
                    <a:cubicBezTo>
                      <a:pt x="170767" y="52336"/>
                      <a:pt x="149840" y="0"/>
                      <a:pt x="85364" y="0"/>
                    </a:cubicBezTo>
                    <a:cubicBezTo>
                      <a:pt x="20888" y="0"/>
                      <a:pt x="0" y="72800"/>
                      <a:pt x="0" y="72800"/>
                    </a:cubicBezTo>
                    <a:close/>
                  </a:path>
                </a:pathLst>
              </a:custGeom>
              <a:solidFill>
                <a:srgbClr val="FFFFFF">
                  <a:alpha val="72000"/>
                </a:srgbClr>
              </a:solidFill>
              <a:ln w="3842" cap="flat">
                <a:noFill/>
                <a:prstDash val="solid"/>
                <a:miter/>
              </a:ln>
            </p:spPr>
            <p:txBody>
              <a:bodyPr rtlCol="0" anchor="ctr"/>
              <a:lstStyle/>
              <a:p>
                <a:endParaRPr lang="en-ID"/>
              </a:p>
            </p:txBody>
          </p:sp>
          <p:sp>
            <p:nvSpPr>
              <p:cNvPr id="126" name="Freeform: Shape 125">
                <a:extLst>
                  <a:ext uri="{FF2B5EF4-FFF2-40B4-BE49-F238E27FC236}">
                    <a16:creationId xmlns:a16="http://schemas.microsoft.com/office/drawing/2014/main" id="{24F0AA9D-BA7A-4BD5-83D8-9DDB75D31767}"/>
                  </a:ext>
                </a:extLst>
              </p:cNvPr>
              <p:cNvSpPr/>
              <p:nvPr/>
            </p:nvSpPr>
            <p:spPr>
              <a:xfrm>
                <a:off x="8289173" y="2868370"/>
                <a:ext cx="154156" cy="115617"/>
              </a:xfrm>
              <a:custGeom>
                <a:avLst/>
                <a:gdLst>
                  <a:gd name="connsiteX0" fmla="*/ 154940 w 154156"/>
                  <a:gd name="connsiteY0" fmla="*/ 6230 h 115617"/>
                  <a:gd name="connsiteX1" fmla="*/ 68459 w 154156"/>
                  <a:gd name="connsiteY1" fmla="*/ 115951 h 115617"/>
                  <a:gd name="connsiteX2" fmla="*/ 1516 w 154156"/>
                  <a:gd name="connsiteY2" fmla="*/ 13745 h 115617"/>
                  <a:gd name="connsiteX3" fmla="*/ 154940 w 154156"/>
                  <a:gd name="connsiteY3" fmla="*/ 6230 h 115617"/>
                </a:gdLst>
                <a:ahLst/>
                <a:cxnLst>
                  <a:cxn ang="0">
                    <a:pos x="connsiteX0" y="connsiteY0"/>
                  </a:cxn>
                  <a:cxn ang="0">
                    <a:pos x="connsiteX1" y="connsiteY1"/>
                  </a:cxn>
                  <a:cxn ang="0">
                    <a:pos x="connsiteX2" y="connsiteY2"/>
                  </a:cxn>
                  <a:cxn ang="0">
                    <a:pos x="connsiteX3" y="connsiteY3"/>
                  </a:cxn>
                </a:cxnLst>
                <a:rect l="l" t="t" r="r" b="b"/>
                <a:pathLst>
                  <a:path w="154156" h="115617">
                    <a:moveTo>
                      <a:pt x="154940" y="6230"/>
                    </a:moveTo>
                    <a:cubicBezTo>
                      <a:pt x="154940" y="6230"/>
                      <a:pt x="152975" y="112791"/>
                      <a:pt x="68459" y="115951"/>
                    </a:cubicBezTo>
                    <a:cubicBezTo>
                      <a:pt x="-16058" y="119111"/>
                      <a:pt x="1516" y="13745"/>
                      <a:pt x="1516" y="13745"/>
                    </a:cubicBezTo>
                    <a:cubicBezTo>
                      <a:pt x="1516" y="13745"/>
                      <a:pt x="63333" y="-11305"/>
                      <a:pt x="154940" y="6230"/>
                    </a:cubicBezTo>
                    <a:close/>
                  </a:path>
                </a:pathLst>
              </a:custGeom>
              <a:solidFill>
                <a:srgbClr val="EEA886"/>
              </a:solidFill>
              <a:ln w="3842" cap="flat">
                <a:noFill/>
                <a:prstDash val="solid"/>
                <a:miter/>
              </a:ln>
            </p:spPr>
            <p:txBody>
              <a:bodyPr rtlCol="0" anchor="ctr"/>
              <a:lstStyle/>
              <a:p>
                <a:endParaRPr lang="en-ID"/>
              </a:p>
            </p:txBody>
          </p:sp>
          <p:sp>
            <p:nvSpPr>
              <p:cNvPr id="127" name="Freeform: Shape 126">
                <a:extLst>
                  <a:ext uri="{FF2B5EF4-FFF2-40B4-BE49-F238E27FC236}">
                    <a16:creationId xmlns:a16="http://schemas.microsoft.com/office/drawing/2014/main" id="{8A4338ED-E3D2-4555-B616-CCCBC15BCD12}"/>
                  </a:ext>
                </a:extLst>
              </p:cNvPr>
              <p:cNvSpPr/>
              <p:nvPr/>
            </p:nvSpPr>
            <p:spPr>
              <a:xfrm>
                <a:off x="9020466" y="3428600"/>
                <a:ext cx="34685" cy="1090657"/>
              </a:xfrm>
              <a:custGeom>
                <a:avLst/>
                <a:gdLst>
                  <a:gd name="connsiteX0" fmla="*/ 0 w 34685"/>
                  <a:gd name="connsiteY0" fmla="*/ 0 h 1090656"/>
                  <a:gd name="connsiteX1" fmla="*/ 35032 w 34685"/>
                  <a:gd name="connsiteY1" fmla="*/ 0 h 1090656"/>
                  <a:gd name="connsiteX2" fmla="*/ 35032 w 34685"/>
                  <a:gd name="connsiteY2" fmla="*/ 1093779 h 1090656"/>
                  <a:gd name="connsiteX3" fmla="*/ 0 w 34685"/>
                  <a:gd name="connsiteY3" fmla="*/ 1093779 h 1090656"/>
                </a:gdLst>
                <a:ahLst/>
                <a:cxnLst>
                  <a:cxn ang="0">
                    <a:pos x="connsiteX0" y="connsiteY0"/>
                  </a:cxn>
                  <a:cxn ang="0">
                    <a:pos x="connsiteX1" y="connsiteY1"/>
                  </a:cxn>
                  <a:cxn ang="0">
                    <a:pos x="connsiteX2" y="connsiteY2"/>
                  </a:cxn>
                  <a:cxn ang="0">
                    <a:pos x="connsiteX3" y="connsiteY3"/>
                  </a:cxn>
                </a:cxnLst>
                <a:rect l="l" t="t" r="r" b="b"/>
                <a:pathLst>
                  <a:path w="34685" h="1090656">
                    <a:moveTo>
                      <a:pt x="0" y="0"/>
                    </a:moveTo>
                    <a:lnTo>
                      <a:pt x="35032" y="0"/>
                    </a:lnTo>
                    <a:lnTo>
                      <a:pt x="35032" y="1093779"/>
                    </a:lnTo>
                    <a:lnTo>
                      <a:pt x="0" y="1093779"/>
                    </a:lnTo>
                    <a:close/>
                  </a:path>
                </a:pathLst>
              </a:custGeom>
              <a:solidFill>
                <a:srgbClr val="807066"/>
              </a:solidFill>
              <a:ln w="3842" cap="flat">
                <a:noFill/>
                <a:prstDash val="solid"/>
                <a:miter/>
              </a:ln>
            </p:spPr>
            <p:txBody>
              <a:bodyPr rtlCol="0" anchor="ctr"/>
              <a:lstStyle/>
              <a:p>
                <a:endParaRPr lang="en-ID"/>
              </a:p>
            </p:txBody>
          </p:sp>
          <p:sp>
            <p:nvSpPr>
              <p:cNvPr id="128" name="Freeform: Shape 127">
                <a:extLst>
                  <a:ext uri="{FF2B5EF4-FFF2-40B4-BE49-F238E27FC236}">
                    <a16:creationId xmlns:a16="http://schemas.microsoft.com/office/drawing/2014/main" id="{EEC771F1-9B04-42FF-8525-015BE2004C06}"/>
                  </a:ext>
                </a:extLst>
              </p:cNvPr>
              <p:cNvSpPr/>
              <p:nvPr/>
            </p:nvSpPr>
            <p:spPr>
              <a:xfrm>
                <a:off x="7562647" y="3428600"/>
                <a:ext cx="34685" cy="1090657"/>
              </a:xfrm>
              <a:custGeom>
                <a:avLst/>
                <a:gdLst>
                  <a:gd name="connsiteX0" fmla="*/ 0 w 34685"/>
                  <a:gd name="connsiteY0" fmla="*/ 0 h 1090656"/>
                  <a:gd name="connsiteX1" fmla="*/ 35032 w 34685"/>
                  <a:gd name="connsiteY1" fmla="*/ 0 h 1090656"/>
                  <a:gd name="connsiteX2" fmla="*/ 35032 w 34685"/>
                  <a:gd name="connsiteY2" fmla="*/ 1093779 h 1090656"/>
                  <a:gd name="connsiteX3" fmla="*/ 0 w 34685"/>
                  <a:gd name="connsiteY3" fmla="*/ 1093779 h 1090656"/>
                </a:gdLst>
                <a:ahLst/>
                <a:cxnLst>
                  <a:cxn ang="0">
                    <a:pos x="connsiteX0" y="connsiteY0"/>
                  </a:cxn>
                  <a:cxn ang="0">
                    <a:pos x="connsiteX1" y="connsiteY1"/>
                  </a:cxn>
                  <a:cxn ang="0">
                    <a:pos x="connsiteX2" y="connsiteY2"/>
                  </a:cxn>
                  <a:cxn ang="0">
                    <a:pos x="connsiteX3" y="connsiteY3"/>
                  </a:cxn>
                </a:cxnLst>
                <a:rect l="l" t="t" r="r" b="b"/>
                <a:pathLst>
                  <a:path w="34685" h="1090656">
                    <a:moveTo>
                      <a:pt x="0" y="0"/>
                    </a:moveTo>
                    <a:lnTo>
                      <a:pt x="35032" y="0"/>
                    </a:lnTo>
                    <a:lnTo>
                      <a:pt x="35032" y="1093779"/>
                    </a:lnTo>
                    <a:lnTo>
                      <a:pt x="0" y="1093779"/>
                    </a:lnTo>
                    <a:close/>
                  </a:path>
                </a:pathLst>
              </a:custGeom>
              <a:solidFill>
                <a:srgbClr val="807066"/>
              </a:solidFill>
              <a:ln w="3842" cap="flat">
                <a:noFill/>
                <a:prstDash val="solid"/>
                <a:miter/>
              </a:ln>
            </p:spPr>
            <p:txBody>
              <a:bodyPr rtlCol="0" anchor="ctr"/>
              <a:lstStyle/>
              <a:p>
                <a:endParaRPr lang="en-ID"/>
              </a:p>
            </p:txBody>
          </p:sp>
        </p:grpSp>
        <p:grpSp>
          <p:nvGrpSpPr>
            <p:cNvPr id="22" name="Graphic 6">
              <a:extLst>
                <a:ext uri="{FF2B5EF4-FFF2-40B4-BE49-F238E27FC236}">
                  <a16:creationId xmlns:a16="http://schemas.microsoft.com/office/drawing/2014/main" id="{88902180-6756-494A-B2DB-C522C66B0860}"/>
                </a:ext>
              </a:extLst>
            </p:cNvPr>
            <p:cNvGrpSpPr/>
            <p:nvPr/>
          </p:nvGrpSpPr>
          <p:grpSpPr>
            <a:xfrm>
              <a:off x="7531173" y="2406180"/>
              <a:ext cx="520278" cy="458615"/>
              <a:chOff x="7575557" y="2146943"/>
              <a:chExt cx="520278" cy="458615"/>
            </a:xfrm>
            <a:solidFill>
              <a:schemeClr val="accent1"/>
            </a:solidFill>
          </p:grpSpPr>
          <p:sp>
            <p:nvSpPr>
              <p:cNvPr id="97" name="Freeform: Shape 96">
                <a:extLst>
                  <a:ext uri="{FF2B5EF4-FFF2-40B4-BE49-F238E27FC236}">
                    <a16:creationId xmlns:a16="http://schemas.microsoft.com/office/drawing/2014/main" id="{41BF6365-9A28-4329-AAA2-FFE8E1158E29}"/>
                  </a:ext>
                </a:extLst>
              </p:cNvPr>
              <p:cNvSpPr/>
              <p:nvPr/>
            </p:nvSpPr>
            <p:spPr>
              <a:xfrm>
                <a:off x="7575557" y="2146943"/>
                <a:ext cx="520278" cy="458615"/>
              </a:xfrm>
              <a:custGeom>
                <a:avLst/>
                <a:gdLst>
                  <a:gd name="connsiteX0" fmla="*/ 1773 w 520278"/>
                  <a:gd name="connsiteY0" fmla="*/ 0 h 458615"/>
                  <a:gd name="connsiteX1" fmla="*/ 522976 w 520278"/>
                  <a:gd name="connsiteY1" fmla="*/ 2428 h 458615"/>
                  <a:gd name="connsiteX2" fmla="*/ 521242 w 520278"/>
                  <a:gd name="connsiteY2" fmla="*/ 380188 h 458615"/>
                  <a:gd name="connsiteX3" fmla="*/ 520856 w 520278"/>
                  <a:gd name="connsiteY3" fmla="*/ 459772 h 458615"/>
                  <a:gd name="connsiteX4" fmla="*/ 441658 w 520278"/>
                  <a:gd name="connsiteY4" fmla="*/ 379842 h 458615"/>
                  <a:gd name="connsiteX5" fmla="*/ 0 w 520278"/>
                  <a:gd name="connsiteY5" fmla="*/ 377799 h 45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0278" h="458615">
                    <a:moveTo>
                      <a:pt x="1773" y="0"/>
                    </a:moveTo>
                    <a:lnTo>
                      <a:pt x="522976" y="2428"/>
                    </a:lnTo>
                    <a:lnTo>
                      <a:pt x="521242" y="380188"/>
                    </a:lnTo>
                    <a:lnTo>
                      <a:pt x="520856" y="459772"/>
                    </a:lnTo>
                    <a:lnTo>
                      <a:pt x="441658" y="379842"/>
                    </a:lnTo>
                    <a:lnTo>
                      <a:pt x="0" y="377799"/>
                    </a:lnTo>
                    <a:close/>
                  </a:path>
                </a:pathLst>
              </a:custGeom>
              <a:solidFill>
                <a:srgbClr val="FFC655"/>
              </a:solidFill>
              <a:ln w="3842" cap="flat">
                <a:noFill/>
                <a:prstDash val="solid"/>
                <a:miter/>
              </a:ln>
            </p:spPr>
            <p:txBody>
              <a:bodyPr rtlCol="0" anchor="ctr"/>
              <a:lstStyle/>
              <a:p>
                <a:endParaRPr lang="en-ID"/>
              </a:p>
            </p:txBody>
          </p:sp>
          <p:sp>
            <p:nvSpPr>
              <p:cNvPr id="98" name="Freeform: Shape 97">
                <a:extLst>
                  <a:ext uri="{FF2B5EF4-FFF2-40B4-BE49-F238E27FC236}">
                    <a16:creationId xmlns:a16="http://schemas.microsoft.com/office/drawing/2014/main" id="{9E7AD3D3-2684-4D5A-ADD6-A4AE4D6E4411}"/>
                  </a:ext>
                </a:extLst>
              </p:cNvPr>
              <p:cNvSpPr/>
              <p:nvPr/>
            </p:nvSpPr>
            <p:spPr>
              <a:xfrm>
                <a:off x="7797195" y="2312314"/>
                <a:ext cx="77078" cy="77078"/>
              </a:xfrm>
              <a:custGeom>
                <a:avLst/>
                <a:gdLst>
                  <a:gd name="connsiteX0" fmla="*/ 0 w 77078"/>
                  <a:gd name="connsiteY0" fmla="*/ 39695 h 77078"/>
                  <a:gd name="connsiteX1" fmla="*/ 39696 w 77078"/>
                  <a:gd name="connsiteY1" fmla="*/ 79622 h 77078"/>
                  <a:gd name="connsiteX2" fmla="*/ 79622 w 77078"/>
                  <a:gd name="connsiteY2" fmla="*/ 39927 h 77078"/>
                  <a:gd name="connsiteX3" fmla="*/ 39927 w 77078"/>
                  <a:gd name="connsiteY3" fmla="*/ 0 h 77078"/>
                  <a:gd name="connsiteX4" fmla="*/ 0 w 77078"/>
                  <a:gd name="connsiteY4" fmla="*/ 39695 h 77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78" h="77078">
                    <a:moveTo>
                      <a:pt x="0" y="39695"/>
                    </a:moveTo>
                    <a:cubicBezTo>
                      <a:pt x="-77" y="61701"/>
                      <a:pt x="17690" y="79545"/>
                      <a:pt x="39696" y="79622"/>
                    </a:cubicBezTo>
                    <a:cubicBezTo>
                      <a:pt x="61663" y="79699"/>
                      <a:pt x="79545" y="61932"/>
                      <a:pt x="79622" y="39927"/>
                    </a:cubicBezTo>
                    <a:cubicBezTo>
                      <a:pt x="79699" y="17921"/>
                      <a:pt x="61933" y="77"/>
                      <a:pt x="39927" y="0"/>
                    </a:cubicBezTo>
                    <a:cubicBezTo>
                      <a:pt x="17959" y="-38"/>
                      <a:pt x="77" y="17728"/>
                      <a:pt x="0" y="39695"/>
                    </a:cubicBezTo>
                    <a:close/>
                  </a:path>
                </a:pathLst>
              </a:custGeom>
              <a:solidFill>
                <a:srgbClr val="FFFFFF"/>
              </a:solidFill>
              <a:ln w="3842" cap="flat">
                <a:noFill/>
                <a:prstDash val="solid"/>
                <a:miter/>
              </a:ln>
            </p:spPr>
            <p:txBody>
              <a:bodyPr rtlCol="0" anchor="ctr"/>
              <a:lstStyle/>
              <a:p>
                <a:endParaRPr lang="en-ID"/>
              </a:p>
            </p:txBody>
          </p:sp>
          <p:sp>
            <p:nvSpPr>
              <p:cNvPr id="99" name="Freeform: Shape 98">
                <a:extLst>
                  <a:ext uri="{FF2B5EF4-FFF2-40B4-BE49-F238E27FC236}">
                    <a16:creationId xmlns:a16="http://schemas.microsoft.com/office/drawing/2014/main" id="{D7F5F5E4-706C-4A6A-886D-FE5F7B147FE0}"/>
                  </a:ext>
                </a:extLst>
              </p:cNvPr>
              <p:cNvSpPr/>
              <p:nvPr/>
            </p:nvSpPr>
            <p:spPr>
              <a:xfrm>
                <a:off x="7666471" y="2311928"/>
                <a:ext cx="77078" cy="77078"/>
              </a:xfrm>
              <a:custGeom>
                <a:avLst/>
                <a:gdLst>
                  <a:gd name="connsiteX0" fmla="*/ 0 w 77078"/>
                  <a:gd name="connsiteY0" fmla="*/ 39696 h 77078"/>
                  <a:gd name="connsiteX1" fmla="*/ 39696 w 77078"/>
                  <a:gd name="connsiteY1" fmla="*/ 79622 h 77078"/>
                  <a:gd name="connsiteX2" fmla="*/ 79622 w 77078"/>
                  <a:gd name="connsiteY2" fmla="*/ 39927 h 77078"/>
                  <a:gd name="connsiteX3" fmla="*/ 39927 w 77078"/>
                  <a:gd name="connsiteY3" fmla="*/ 0 h 77078"/>
                  <a:gd name="connsiteX4" fmla="*/ 0 w 77078"/>
                  <a:gd name="connsiteY4" fmla="*/ 39696 h 77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78" h="77078">
                    <a:moveTo>
                      <a:pt x="0" y="39696"/>
                    </a:moveTo>
                    <a:cubicBezTo>
                      <a:pt x="-77" y="61701"/>
                      <a:pt x="17690" y="79545"/>
                      <a:pt x="39696" y="79622"/>
                    </a:cubicBezTo>
                    <a:cubicBezTo>
                      <a:pt x="61701" y="79699"/>
                      <a:pt x="79545" y="61933"/>
                      <a:pt x="79622" y="39927"/>
                    </a:cubicBezTo>
                    <a:cubicBezTo>
                      <a:pt x="79699" y="17921"/>
                      <a:pt x="61933" y="77"/>
                      <a:pt x="39927" y="0"/>
                    </a:cubicBezTo>
                    <a:cubicBezTo>
                      <a:pt x="17921" y="-77"/>
                      <a:pt x="39" y="17690"/>
                      <a:pt x="0" y="39696"/>
                    </a:cubicBezTo>
                    <a:close/>
                  </a:path>
                </a:pathLst>
              </a:custGeom>
              <a:solidFill>
                <a:srgbClr val="FFFFFF"/>
              </a:solidFill>
              <a:ln w="3842" cap="flat">
                <a:noFill/>
                <a:prstDash val="solid"/>
                <a:miter/>
              </a:ln>
            </p:spPr>
            <p:txBody>
              <a:bodyPr rtlCol="0" anchor="ctr"/>
              <a:lstStyle/>
              <a:p>
                <a:endParaRPr lang="en-ID"/>
              </a:p>
            </p:txBody>
          </p:sp>
          <p:sp>
            <p:nvSpPr>
              <p:cNvPr id="100" name="Freeform: Shape 99">
                <a:extLst>
                  <a:ext uri="{FF2B5EF4-FFF2-40B4-BE49-F238E27FC236}">
                    <a16:creationId xmlns:a16="http://schemas.microsoft.com/office/drawing/2014/main" id="{A9920D8B-D690-4128-ACD8-682D27C182FB}"/>
                  </a:ext>
                </a:extLst>
              </p:cNvPr>
              <p:cNvSpPr/>
              <p:nvPr/>
            </p:nvSpPr>
            <p:spPr>
              <a:xfrm>
                <a:off x="7924953" y="2312738"/>
                <a:ext cx="77078" cy="77078"/>
              </a:xfrm>
              <a:custGeom>
                <a:avLst/>
                <a:gdLst>
                  <a:gd name="connsiteX0" fmla="*/ 0 w 77078"/>
                  <a:gd name="connsiteY0" fmla="*/ 39696 h 77078"/>
                  <a:gd name="connsiteX1" fmla="*/ 39696 w 77078"/>
                  <a:gd name="connsiteY1" fmla="*/ 79622 h 77078"/>
                  <a:gd name="connsiteX2" fmla="*/ 79622 w 77078"/>
                  <a:gd name="connsiteY2" fmla="*/ 39927 h 77078"/>
                  <a:gd name="connsiteX3" fmla="*/ 39927 w 77078"/>
                  <a:gd name="connsiteY3" fmla="*/ 0 h 77078"/>
                  <a:gd name="connsiteX4" fmla="*/ 0 w 77078"/>
                  <a:gd name="connsiteY4" fmla="*/ 39696 h 77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78" h="77078">
                    <a:moveTo>
                      <a:pt x="0" y="39696"/>
                    </a:moveTo>
                    <a:cubicBezTo>
                      <a:pt x="-77" y="61663"/>
                      <a:pt x="17690" y="79545"/>
                      <a:pt x="39696" y="79622"/>
                    </a:cubicBezTo>
                    <a:cubicBezTo>
                      <a:pt x="61701" y="79699"/>
                      <a:pt x="79545" y="61933"/>
                      <a:pt x="79622" y="39927"/>
                    </a:cubicBezTo>
                    <a:cubicBezTo>
                      <a:pt x="79699" y="17959"/>
                      <a:pt x="61933" y="77"/>
                      <a:pt x="39927" y="0"/>
                    </a:cubicBezTo>
                    <a:cubicBezTo>
                      <a:pt x="17921" y="-77"/>
                      <a:pt x="39" y="17690"/>
                      <a:pt x="0" y="39696"/>
                    </a:cubicBezTo>
                    <a:close/>
                  </a:path>
                </a:pathLst>
              </a:custGeom>
              <a:solidFill>
                <a:srgbClr val="FFFFFF"/>
              </a:solidFill>
              <a:ln w="3842" cap="flat">
                <a:noFill/>
                <a:prstDash val="solid"/>
                <a:miter/>
              </a:ln>
            </p:spPr>
            <p:txBody>
              <a:bodyPr rtlCol="0" anchor="ctr"/>
              <a:lstStyle/>
              <a:p>
                <a:endParaRPr lang="en-ID"/>
              </a:p>
            </p:txBody>
          </p:sp>
        </p:grpSp>
        <p:grpSp>
          <p:nvGrpSpPr>
            <p:cNvPr id="23" name="Graphic 6">
              <a:extLst>
                <a:ext uri="{FF2B5EF4-FFF2-40B4-BE49-F238E27FC236}">
                  <a16:creationId xmlns:a16="http://schemas.microsoft.com/office/drawing/2014/main" id="{241057F1-FDCF-4AE4-98D8-304233F2ED24}"/>
                </a:ext>
              </a:extLst>
            </p:cNvPr>
            <p:cNvGrpSpPr/>
            <p:nvPr/>
          </p:nvGrpSpPr>
          <p:grpSpPr>
            <a:xfrm>
              <a:off x="7723406" y="3198775"/>
              <a:ext cx="165718" cy="439346"/>
              <a:chOff x="7767790" y="2939538"/>
              <a:chExt cx="165718" cy="439346"/>
            </a:xfrm>
            <a:solidFill>
              <a:schemeClr val="accent1"/>
            </a:solidFill>
          </p:grpSpPr>
          <p:sp>
            <p:nvSpPr>
              <p:cNvPr id="80" name="Freeform: Shape 79">
                <a:extLst>
                  <a:ext uri="{FF2B5EF4-FFF2-40B4-BE49-F238E27FC236}">
                    <a16:creationId xmlns:a16="http://schemas.microsoft.com/office/drawing/2014/main" id="{995ADCB4-5C99-475F-8D14-AFFD4B3E5A70}"/>
                  </a:ext>
                </a:extLst>
              </p:cNvPr>
              <p:cNvSpPr/>
              <p:nvPr/>
            </p:nvSpPr>
            <p:spPr>
              <a:xfrm>
                <a:off x="7804741" y="3021727"/>
                <a:ext cx="119471" cy="242796"/>
              </a:xfrm>
              <a:custGeom>
                <a:avLst/>
                <a:gdLst>
                  <a:gd name="connsiteX0" fmla="*/ 22245 w 119471"/>
                  <a:gd name="connsiteY0" fmla="*/ 235644 h 242796"/>
                  <a:gd name="connsiteX1" fmla="*/ 22245 w 119471"/>
                  <a:gd name="connsiteY1" fmla="*/ 235644 h 242796"/>
                  <a:gd name="connsiteX2" fmla="*/ 44136 w 119471"/>
                  <a:gd name="connsiteY2" fmla="*/ 243352 h 242796"/>
                  <a:gd name="connsiteX3" fmla="*/ 100750 w 119471"/>
                  <a:gd name="connsiteY3" fmla="*/ 153286 h 242796"/>
                  <a:gd name="connsiteX4" fmla="*/ 90460 w 119471"/>
                  <a:gd name="connsiteY4" fmla="*/ 29768 h 242796"/>
                  <a:gd name="connsiteX5" fmla="*/ 49724 w 119471"/>
                  <a:gd name="connsiteY5" fmla="*/ 16 h 242796"/>
                  <a:gd name="connsiteX6" fmla="*/ 11146 w 119471"/>
                  <a:gd name="connsiteY6" fmla="*/ 42640 h 242796"/>
                  <a:gd name="connsiteX7" fmla="*/ 9412 w 119471"/>
                  <a:gd name="connsiteY7" fmla="*/ 149432 h 242796"/>
                  <a:gd name="connsiteX8" fmla="*/ 22245 w 119471"/>
                  <a:gd name="connsiteY8" fmla="*/ 235644 h 242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71" h="242796">
                    <a:moveTo>
                      <a:pt x="22245" y="235644"/>
                    </a:moveTo>
                    <a:lnTo>
                      <a:pt x="22245" y="235644"/>
                    </a:lnTo>
                    <a:cubicBezTo>
                      <a:pt x="22245" y="235644"/>
                      <a:pt x="51844" y="249788"/>
                      <a:pt x="44136" y="243352"/>
                    </a:cubicBezTo>
                    <a:cubicBezTo>
                      <a:pt x="36428" y="236916"/>
                      <a:pt x="63444" y="200881"/>
                      <a:pt x="100750" y="153286"/>
                    </a:cubicBezTo>
                    <a:cubicBezTo>
                      <a:pt x="138056" y="105690"/>
                      <a:pt x="113622" y="85071"/>
                      <a:pt x="90460" y="29768"/>
                    </a:cubicBezTo>
                    <a:cubicBezTo>
                      <a:pt x="81249" y="7762"/>
                      <a:pt x="65139" y="-408"/>
                      <a:pt x="49724" y="16"/>
                    </a:cubicBezTo>
                    <a:cubicBezTo>
                      <a:pt x="26369" y="632"/>
                      <a:pt x="4672" y="20942"/>
                      <a:pt x="11146" y="42640"/>
                    </a:cubicBezTo>
                    <a:cubicBezTo>
                      <a:pt x="21899" y="78674"/>
                      <a:pt x="36428" y="113398"/>
                      <a:pt x="9412" y="149432"/>
                    </a:cubicBezTo>
                    <a:cubicBezTo>
                      <a:pt x="-17411" y="185158"/>
                      <a:pt x="21552" y="234757"/>
                      <a:pt x="22245" y="235644"/>
                    </a:cubicBezTo>
                    <a:close/>
                  </a:path>
                </a:pathLst>
              </a:custGeom>
              <a:solidFill>
                <a:srgbClr val="CFC147"/>
              </a:solidFill>
              <a:ln w="3842" cap="flat">
                <a:noFill/>
                <a:prstDash val="solid"/>
                <a:miter/>
              </a:ln>
            </p:spPr>
            <p:txBody>
              <a:bodyPr rtlCol="0" anchor="ctr"/>
              <a:lstStyle/>
              <a:p>
                <a:endParaRPr lang="en-ID"/>
              </a:p>
            </p:txBody>
          </p:sp>
          <p:sp>
            <p:nvSpPr>
              <p:cNvPr id="81" name="Freeform: Shape 80">
                <a:extLst>
                  <a:ext uri="{FF2B5EF4-FFF2-40B4-BE49-F238E27FC236}">
                    <a16:creationId xmlns:a16="http://schemas.microsoft.com/office/drawing/2014/main" id="{5D717045-51DD-4A0B-A337-1BA0B07509BD}"/>
                  </a:ext>
                </a:extLst>
              </p:cNvPr>
              <p:cNvSpPr/>
              <p:nvPr/>
            </p:nvSpPr>
            <p:spPr>
              <a:xfrm>
                <a:off x="7886319" y="2983935"/>
                <a:ext cx="46247" cy="80932"/>
              </a:xfrm>
              <a:custGeom>
                <a:avLst/>
                <a:gdLst>
                  <a:gd name="connsiteX0" fmla="*/ 21021 w 46246"/>
                  <a:gd name="connsiteY0" fmla="*/ 79776 h 80932"/>
                  <a:gd name="connsiteX1" fmla="*/ 42950 w 46246"/>
                  <a:gd name="connsiteY1" fmla="*/ 30870 h 80932"/>
                  <a:gd name="connsiteX2" fmla="*/ 21021 w 46246"/>
                  <a:gd name="connsiteY2" fmla="*/ 0 h 80932"/>
                  <a:gd name="connsiteX3" fmla="*/ 4334 w 46246"/>
                  <a:gd name="connsiteY3" fmla="*/ 43588 h 80932"/>
                  <a:gd name="connsiteX4" fmla="*/ 21021 w 46246"/>
                  <a:gd name="connsiteY4" fmla="*/ 79776 h 8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46" h="80932">
                    <a:moveTo>
                      <a:pt x="21021" y="79776"/>
                    </a:moveTo>
                    <a:cubicBezTo>
                      <a:pt x="39096" y="70758"/>
                      <a:pt x="60948" y="38616"/>
                      <a:pt x="42950" y="30870"/>
                    </a:cubicBezTo>
                    <a:cubicBezTo>
                      <a:pt x="24952" y="23162"/>
                      <a:pt x="38980" y="0"/>
                      <a:pt x="21021" y="0"/>
                    </a:cubicBezTo>
                    <a:cubicBezTo>
                      <a:pt x="3062" y="0"/>
                      <a:pt x="-5956" y="27941"/>
                      <a:pt x="4334" y="43588"/>
                    </a:cubicBezTo>
                    <a:cubicBezTo>
                      <a:pt x="4372" y="43588"/>
                      <a:pt x="2985" y="88794"/>
                      <a:pt x="21021" y="79776"/>
                    </a:cubicBezTo>
                    <a:close/>
                  </a:path>
                </a:pathLst>
              </a:custGeom>
              <a:solidFill>
                <a:srgbClr val="CFC147"/>
              </a:solidFill>
              <a:ln w="3842" cap="flat">
                <a:noFill/>
                <a:prstDash val="solid"/>
                <a:miter/>
              </a:ln>
            </p:spPr>
            <p:txBody>
              <a:bodyPr rtlCol="0" anchor="ctr"/>
              <a:lstStyle/>
              <a:p>
                <a:endParaRPr lang="en-ID"/>
              </a:p>
            </p:txBody>
          </p:sp>
          <p:sp>
            <p:nvSpPr>
              <p:cNvPr id="82" name="Freeform: Shape 81">
                <a:extLst>
                  <a:ext uri="{FF2B5EF4-FFF2-40B4-BE49-F238E27FC236}">
                    <a16:creationId xmlns:a16="http://schemas.microsoft.com/office/drawing/2014/main" id="{59E60603-90CC-4725-858C-6679AD03E23D}"/>
                  </a:ext>
                </a:extLst>
              </p:cNvPr>
              <p:cNvSpPr/>
              <p:nvPr/>
            </p:nvSpPr>
            <p:spPr>
              <a:xfrm>
                <a:off x="7890990" y="2954497"/>
                <a:ext cx="30831" cy="30831"/>
              </a:xfrm>
              <a:custGeom>
                <a:avLst/>
                <a:gdLst>
                  <a:gd name="connsiteX0" fmla="*/ 20937 w 30831"/>
                  <a:gd name="connsiteY0" fmla="*/ 30171 h 30831"/>
                  <a:gd name="connsiteX1" fmla="*/ 20937 w 30831"/>
                  <a:gd name="connsiteY1" fmla="*/ 573 h 30831"/>
                  <a:gd name="connsiteX2" fmla="*/ 2939 w 30831"/>
                  <a:gd name="connsiteY2" fmla="*/ 30171 h 30831"/>
                  <a:gd name="connsiteX3" fmla="*/ 20937 w 30831"/>
                  <a:gd name="connsiteY3" fmla="*/ 30171 h 30831"/>
                </a:gdLst>
                <a:ahLst/>
                <a:cxnLst>
                  <a:cxn ang="0">
                    <a:pos x="connsiteX0" y="connsiteY0"/>
                  </a:cxn>
                  <a:cxn ang="0">
                    <a:pos x="connsiteX1" y="connsiteY1"/>
                  </a:cxn>
                  <a:cxn ang="0">
                    <a:pos x="connsiteX2" y="connsiteY2"/>
                  </a:cxn>
                  <a:cxn ang="0">
                    <a:pos x="connsiteX3" y="connsiteY3"/>
                  </a:cxn>
                </a:cxnLst>
                <a:rect l="l" t="t" r="r" b="b"/>
                <a:pathLst>
                  <a:path w="30831" h="30831">
                    <a:moveTo>
                      <a:pt x="20937" y="30171"/>
                    </a:moveTo>
                    <a:cubicBezTo>
                      <a:pt x="20937" y="30171"/>
                      <a:pt x="49225" y="5737"/>
                      <a:pt x="20937" y="573"/>
                    </a:cubicBezTo>
                    <a:cubicBezTo>
                      <a:pt x="-7389" y="-4553"/>
                      <a:pt x="357" y="26317"/>
                      <a:pt x="2939" y="30171"/>
                    </a:cubicBezTo>
                    <a:cubicBezTo>
                      <a:pt x="5483" y="34025"/>
                      <a:pt x="20937" y="30171"/>
                      <a:pt x="20937" y="30171"/>
                    </a:cubicBezTo>
                    <a:close/>
                  </a:path>
                </a:pathLst>
              </a:custGeom>
              <a:solidFill>
                <a:srgbClr val="CFC147"/>
              </a:solidFill>
              <a:ln w="3842" cap="flat">
                <a:noFill/>
                <a:prstDash val="solid"/>
                <a:miter/>
              </a:ln>
            </p:spPr>
            <p:txBody>
              <a:bodyPr rtlCol="0" anchor="ctr"/>
              <a:lstStyle/>
              <a:p>
                <a:endParaRPr lang="en-ID"/>
              </a:p>
            </p:txBody>
          </p:sp>
          <p:sp>
            <p:nvSpPr>
              <p:cNvPr id="83" name="Freeform: Shape 82">
                <a:extLst>
                  <a:ext uri="{FF2B5EF4-FFF2-40B4-BE49-F238E27FC236}">
                    <a16:creationId xmlns:a16="http://schemas.microsoft.com/office/drawing/2014/main" id="{06E6DC6A-301E-4E53-B45A-075D5E717AA3}"/>
                  </a:ext>
                </a:extLst>
              </p:cNvPr>
              <p:cNvSpPr/>
              <p:nvPr/>
            </p:nvSpPr>
            <p:spPr>
              <a:xfrm>
                <a:off x="7780602" y="3023131"/>
                <a:ext cx="38539" cy="46247"/>
              </a:xfrm>
              <a:custGeom>
                <a:avLst/>
                <a:gdLst>
                  <a:gd name="connsiteX0" fmla="*/ 19369 w 38539"/>
                  <a:gd name="connsiteY0" fmla="*/ 47017 h 46246"/>
                  <a:gd name="connsiteX1" fmla="*/ 41259 w 38539"/>
                  <a:gd name="connsiteY1" fmla="*/ 21273 h 46246"/>
                  <a:gd name="connsiteX2" fmla="*/ 9079 w 38539"/>
                  <a:gd name="connsiteY2" fmla="*/ 3891 h 46246"/>
                  <a:gd name="connsiteX3" fmla="*/ 19369 w 38539"/>
                  <a:gd name="connsiteY3" fmla="*/ 47017 h 46246"/>
                </a:gdLst>
                <a:ahLst/>
                <a:cxnLst>
                  <a:cxn ang="0">
                    <a:pos x="connsiteX0" y="connsiteY0"/>
                  </a:cxn>
                  <a:cxn ang="0">
                    <a:pos x="connsiteX1" y="connsiteY1"/>
                  </a:cxn>
                  <a:cxn ang="0">
                    <a:pos x="connsiteX2" y="connsiteY2"/>
                  </a:cxn>
                  <a:cxn ang="0">
                    <a:pos x="connsiteX3" y="connsiteY3"/>
                  </a:cxn>
                </a:cxnLst>
                <a:rect l="l" t="t" r="r" b="b"/>
                <a:pathLst>
                  <a:path w="38539" h="46246">
                    <a:moveTo>
                      <a:pt x="19369" y="47017"/>
                    </a:moveTo>
                    <a:cubicBezTo>
                      <a:pt x="41259" y="43163"/>
                      <a:pt x="41259" y="21273"/>
                      <a:pt x="41259" y="21273"/>
                    </a:cubicBezTo>
                    <a:cubicBezTo>
                      <a:pt x="41259" y="21273"/>
                      <a:pt x="23878" y="-10908"/>
                      <a:pt x="9079" y="3891"/>
                    </a:cubicBezTo>
                    <a:cubicBezTo>
                      <a:pt x="-5720" y="18729"/>
                      <a:pt x="-2521" y="50909"/>
                      <a:pt x="19369" y="47017"/>
                    </a:cubicBezTo>
                    <a:close/>
                  </a:path>
                </a:pathLst>
              </a:custGeom>
              <a:solidFill>
                <a:srgbClr val="A09832"/>
              </a:solidFill>
              <a:ln w="3842" cap="flat">
                <a:noFill/>
                <a:prstDash val="solid"/>
                <a:miter/>
              </a:ln>
            </p:spPr>
            <p:txBody>
              <a:bodyPr rtlCol="0" anchor="ctr"/>
              <a:lstStyle/>
              <a:p>
                <a:endParaRPr lang="en-ID"/>
              </a:p>
            </p:txBody>
          </p:sp>
          <p:sp>
            <p:nvSpPr>
              <p:cNvPr id="84" name="Freeform: Shape 83">
                <a:extLst>
                  <a:ext uri="{FF2B5EF4-FFF2-40B4-BE49-F238E27FC236}">
                    <a16:creationId xmlns:a16="http://schemas.microsoft.com/office/drawing/2014/main" id="{9528F08B-927E-4D03-A93F-827AD823DCAD}"/>
                  </a:ext>
                </a:extLst>
              </p:cNvPr>
              <p:cNvSpPr/>
              <p:nvPr/>
            </p:nvSpPr>
            <p:spPr>
              <a:xfrm>
                <a:off x="7804725" y="3021742"/>
                <a:ext cx="46247" cy="235089"/>
              </a:xfrm>
              <a:custGeom>
                <a:avLst/>
                <a:gdLst>
                  <a:gd name="connsiteX0" fmla="*/ 22261 w 46246"/>
                  <a:gd name="connsiteY0" fmla="*/ 235628 h 235088"/>
                  <a:gd name="connsiteX1" fmla="*/ 22261 w 46246"/>
                  <a:gd name="connsiteY1" fmla="*/ 235628 h 235088"/>
                  <a:gd name="connsiteX2" fmla="*/ 42841 w 46246"/>
                  <a:gd name="connsiteY2" fmla="*/ 101820 h 235088"/>
                  <a:gd name="connsiteX3" fmla="*/ 49701 w 46246"/>
                  <a:gd name="connsiteY3" fmla="*/ 0 h 235088"/>
                  <a:gd name="connsiteX4" fmla="*/ 11124 w 46246"/>
                  <a:gd name="connsiteY4" fmla="*/ 42624 h 235088"/>
                  <a:gd name="connsiteX5" fmla="*/ 9389 w 46246"/>
                  <a:gd name="connsiteY5" fmla="*/ 149416 h 235088"/>
                  <a:gd name="connsiteX6" fmla="*/ 22261 w 46246"/>
                  <a:gd name="connsiteY6" fmla="*/ 235628 h 23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246" h="235088">
                    <a:moveTo>
                      <a:pt x="22261" y="235628"/>
                    </a:moveTo>
                    <a:lnTo>
                      <a:pt x="22261" y="235628"/>
                    </a:lnTo>
                    <a:cubicBezTo>
                      <a:pt x="22261" y="235628"/>
                      <a:pt x="65387" y="157124"/>
                      <a:pt x="42841" y="101820"/>
                    </a:cubicBezTo>
                    <a:cubicBezTo>
                      <a:pt x="27079" y="63050"/>
                      <a:pt x="40336" y="21428"/>
                      <a:pt x="49701" y="0"/>
                    </a:cubicBezTo>
                    <a:cubicBezTo>
                      <a:pt x="26347" y="617"/>
                      <a:pt x="4649" y="20927"/>
                      <a:pt x="11124" y="42624"/>
                    </a:cubicBezTo>
                    <a:cubicBezTo>
                      <a:pt x="21876" y="78658"/>
                      <a:pt x="36405" y="113382"/>
                      <a:pt x="9389" y="149416"/>
                    </a:cubicBezTo>
                    <a:cubicBezTo>
                      <a:pt x="-17395" y="185142"/>
                      <a:pt x="21568" y="234742"/>
                      <a:pt x="22261" y="235628"/>
                    </a:cubicBezTo>
                    <a:close/>
                  </a:path>
                </a:pathLst>
              </a:custGeom>
              <a:solidFill>
                <a:srgbClr val="A09832"/>
              </a:solidFill>
              <a:ln w="3842" cap="flat">
                <a:noFill/>
                <a:prstDash val="solid"/>
                <a:miter/>
              </a:ln>
            </p:spPr>
            <p:txBody>
              <a:bodyPr rtlCol="0" anchor="ctr"/>
              <a:lstStyle/>
              <a:p>
                <a:endParaRPr lang="en-ID"/>
              </a:p>
            </p:txBody>
          </p:sp>
          <p:sp>
            <p:nvSpPr>
              <p:cNvPr id="85" name="Freeform: Shape 84">
                <a:extLst>
                  <a:ext uri="{FF2B5EF4-FFF2-40B4-BE49-F238E27FC236}">
                    <a16:creationId xmlns:a16="http://schemas.microsoft.com/office/drawing/2014/main" id="{50400C55-9A92-4EA1-8CE3-3787D751DDBB}"/>
                  </a:ext>
                </a:extLst>
              </p:cNvPr>
              <p:cNvSpPr/>
              <p:nvPr/>
            </p:nvSpPr>
            <p:spPr>
              <a:xfrm>
                <a:off x="7774535" y="3256407"/>
                <a:ext cx="127179" cy="15416"/>
              </a:xfrm>
              <a:custGeom>
                <a:avLst/>
                <a:gdLst>
                  <a:gd name="connsiteX0" fmla="*/ 127680 w 127179"/>
                  <a:gd name="connsiteY0" fmla="*/ 0 h 15415"/>
                  <a:gd name="connsiteX1" fmla="*/ 0 w 127179"/>
                  <a:gd name="connsiteY1" fmla="*/ 0 h 15415"/>
                  <a:gd name="connsiteX2" fmla="*/ 5473 w 127179"/>
                  <a:gd name="connsiteY2" fmla="*/ 18691 h 15415"/>
                  <a:gd name="connsiteX3" fmla="*/ 123017 w 127179"/>
                  <a:gd name="connsiteY3" fmla="*/ 18691 h 15415"/>
                </a:gdLst>
                <a:ahLst/>
                <a:cxnLst>
                  <a:cxn ang="0">
                    <a:pos x="connsiteX0" y="connsiteY0"/>
                  </a:cxn>
                  <a:cxn ang="0">
                    <a:pos x="connsiteX1" y="connsiteY1"/>
                  </a:cxn>
                  <a:cxn ang="0">
                    <a:pos x="connsiteX2" y="connsiteY2"/>
                  </a:cxn>
                  <a:cxn ang="0">
                    <a:pos x="connsiteX3" y="connsiteY3"/>
                  </a:cxn>
                </a:cxnLst>
                <a:rect l="l" t="t" r="r" b="b"/>
                <a:pathLst>
                  <a:path w="127179" h="15415">
                    <a:moveTo>
                      <a:pt x="127680" y="0"/>
                    </a:moveTo>
                    <a:lnTo>
                      <a:pt x="0" y="0"/>
                    </a:lnTo>
                    <a:lnTo>
                      <a:pt x="5473" y="18691"/>
                    </a:lnTo>
                    <a:lnTo>
                      <a:pt x="123017" y="18691"/>
                    </a:lnTo>
                    <a:close/>
                  </a:path>
                </a:pathLst>
              </a:custGeom>
              <a:solidFill>
                <a:srgbClr val="727643"/>
              </a:solidFill>
              <a:ln w="3842" cap="flat">
                <a:noFill/>
                <a:prstDash val="solid"/>
                <a:miter/>
              </a:ln>
            </p:spPr>
            <p:txBody>
              <a:bodyPr rtlCol="0" anchor="ctr"/>
              <a:lstStyle/>
              <a:p>
                <a:endParaRPr lang="en-ID"/>
              </a:p>
            </p:txBody>
          </p:sp>
          <p:sp>
            <p:nvSpPr>
              <p:cNvPr id="86" name="Freeform: Shape 85">
                <a:extLst>
                  <a:ext uri="{FF2B5EF4-FFF2-40B4-BE49-F238E27FC236}">
                    <a16:creationId xmlns:a16="http://schemas.microsoft.com/office/drawing/2014/main" id="{B190039E-94CE-446C-961C-457E7BE16989}"/>
                  </a:ext>
                </a:extLst>
              </p:cNvPr>
              <p:cNvSpPr/>
              <p:nvPr/>
            </p:nvSpPr>
            <p:spPr>
              <a:xfrm>
                <a:off x="7790105" y="3275098"/>
                <a:ext cx="96348" cy="104056"/>
              </a:xfrm>
              <a:custGeom>
                <a:avLst/>
                <a:gdLst>
                  <a:gd name="connsiteX0" fmla="*/ 84863 w 96347"/>
                  <a:gd name="connsiteY0" fmla="*/ 105905 h 104055"/>
                  <a:gd name="connsiteX1" fmla="*/ 95461 w 96347"/>
                  <a:gd name="connsiteY1" fmla="*/ 21119 h 104055"/>
                  <a:gd name="connsiteX2" fmla="*/ 98121 w 96347"/>
                  <a:gd name="connsiteY2" fmla="*/ 0 h 104055"/>
                  <a:gd name="connsiteX3" fmla="*/ 0 w 96347"/>
                  <a:gd name="connsiteY3" fmla="*/ 0 h 104055"/>
                  <a:gd name="connsiteX4" fmla="*/ 12448 w 96347"/>
                  <a:gd name="connsiteY4" fmla="*/ 105905 h 104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7" h="104055">
                    <a:moveTo>
                      <a:pt x="84863" y="105905"/>
                    </a:moveTo>
                    <a:lnTo>
                      <a:pt x="95461" y="21119"/>
                    </a:lnTo>
                    <a:lnTo>
                      <a:pt x="98121" y="0"/>
                    </a:lnTo>
                    <a:lnTo>
                      <a:pt x="0" y="0"/>
                    </a:lnTo>
                    <a:lnTo>
                      <a:pt x="12448" y="105905"/>
                    </a:lnTo>
                    <a:close/>
                  </a:path>
                </a:pathLst>
              </a:custGeom>
              <a:solidFill>
                <a:srgbClr val="4B4C37"/>
              </a:solidFill>
              <a:ln w="3842" cap="flat">
                <a:noFill/>
                <a:prstDash val="solid"/>
                <a:miter/>
              </a:ln>
            </p:spPr>
            <p:txBody>
              <a:bodyPr rtlCol="0" anchor="ctr"/>
              <a:lstStyle/>
              <a:p>
                <a:endParaRPr lang="en-ID"/>
              </a:p>
            </p:txBody>
          </p:sp>
          <p:sp>
            <p:nvSpPr>
              <p:cNvPr id="87" name="Freeform: Shape 86">
                <a:extLst>
                  <a:ext uri="{FF2B5EF4-FFF2-40B4-BE49-F238E27FC236}">
                    <a16:creationId xmlns:a16="http://schemas.microsoft.com/office/drawing/2014/main" id="{BACC7C4C-BB5E-421E-815E-C3D12F550979}"/>
                  </a:ext>
                </a:extLst>
              </p:cNvPr>
              <p:cNvSpPr/>
              <p:nvPr/>
            </p:nvSpPr>
            <p:spPr>
              <a:xfrm>
                <a:off x="7907726" y="3097818"/>
                <a:ext cx="26977" cy="19270"/>
              </a:xfrm>
              <a:custGeom>
                <a:avLst/>
                <a:gdLst>
                  <a:gd name="connsiteX0" fmla="*/ 0 w 26977"/>
                  <a:gd name="connsiteY0" fmla="*/ 19308 h 19269"/>
                  <a:gd name="connsiteX1" fmla="*/ 28288 w 26977"/>
                  <a:gd name="connsiteY1" fmla="*/ 0 h 19269"/>
                  <a:gd name="connsiteX2" fmla="*/ 0 w 26977"/>
                  <a:gd name="connsiteY2" fmla="*/ 15454 h 19269"/>
                </a:gdLst>
                <a:ahLst/>
                <a:cxnLst>
                  <a:cxn ang="0">
                    <a:pos x="connsiteX0" y="connsiteY0"/>
                  </a:cxn>
                  <a:cxn ang="0">
                    <a:pos x="connsiteX1" y="connsiteY1"/>
                  </a:cxn>
                  <a:cxn ang="0">
                    <a:pos x="connsiteX2" y="connsiteY2"/>
                  </a:cxn>
                </a:cxnLst>
                <a:rect l="l" t="t" r="r" b="b"/>
                <a:pathLst>
                  <a:path w="26977" h="19269">
                    <a:moveTo>
                      <a:pt x="0" y="19308"/>
                    </a:moveTo>
                    <a:lnTo>
                      <a:pt x="28288" y="0"/>
                    </a:lnTo>
                    <a:lnTo>
                      <a:pt x="0" y="15454"/>
                    </a:lnTo>
                    <a:close/>
                  </a:path>
                </a:pathLst>
              </a:custGeom>
              <a:solidFill>
                <a:srgbClr val="727643"/>
              </a:solidFill>
              <a:ln w="3842" cap="flat">
                <a:noFill/>
                <a:prstDash val="solid"/>
                <a:miter/>
              </a:ln>
            </p:spPr>
            <p:txBody>
              <a:bodyPr rtlCol="0" anchor="ctr"/>
              <a:lstStyle/>
              <a:p>
                <a:endParaRPr lang="en-ID"/>
              </a:p>
            </p:txBody>
          </p:sp>
          <p:sp>
            <p:nvSpPr>
              <p:cNvPr id="88" name="Freeform: Shape 87">
                <a:extLst>
                  <a:ext uri="{FF2B5EF4-FFF2-40B4-BE49-F238E27FC236}">
                    <a16:creationId xmlns:a16="http://schemas.microsoft.com/office/drawing/2014/main" id="{522AA7AC-4572-4E3B-8825-7BE5B69E9A52}"/>
                  </a:ext>
                </a:extLst>
              </p:cNvPr>
              <p:cNvSpPr/>
              <p:nvPr/>
            </p:nvSpPr>
            <p:spPr>
              <a:xfrm>
                <a:off x="7875546" y="2990371"/>
                <a:ext cx="15416" cy="11562"/>
              </a:xfrm>
              <a:custGeom>
                <a:avLst/>
                <a:gdLst>
                  <a:gd name="connsiteX0" fmla="*/ 0 w 15415"/>
                  <a:gd name="connsiteY0" fmla="*/ 0 h 11561"/>
                  <a:gd name="connsiteX1" fmla="*/ 15416 w 15415"/>
                  <a:gd name="connsiteY1" fmla="*/ 13836 h 11561"/>
                  <a:gd name="connsiteX2" fmla="*/ 16765 w 15415"/>
                  <a:gd name="connsiteY2" fmla="*/ 10637 h 11561"/>
                </a:gdLst>
                <a:ahLst/>
                <a:cxnLst>
                  <a:cxn ang="0">
                    <a:pos x="connsiteX0" y="connsiteY0"/>
                  </a:cxn>
                  <a:cxn ang="0">
                    <a:pos x="connsiteX1" y="connsiteY1"/>
                  </a:cxn>
                  <a:cxn ang="0">
                    <a:pos x="connsiteX2" y="connsiteY2"/>
                  </a:cxn>
                </a:cxnLst>
                <a:rect l="l" t="t" r="r" b="b"/>
                <a:pathLst>
                  <a:path w="15415" h="11561">
                    <a:moveTo>
                      <a:pt x="0" y="0"/>
                    </a:moveTo>
                    <a:lnTo>
                      <a:pt x="15416" y="13836"/>
                    </a:lnTo>
                    <a:lnTo>
                      <a:pt x="16765" y="10637"/>
                    </a:lnTo>
                    <a:close/>
                  </a:path>
                </a:pathLst>
              </a:custGeom>
              <a:solidFill>
                <a:srgbClr val="727643"/>
              </a:solidFill>
              <a:ln w="3842" cap="flat">
                <a:noFill/>
                <a:prstDash val="solid"/>
                <a:miter/>
              </a:ln>
            </p:spPr>
            <p:txBody>
              <a:bodyPr rtlCol="0" anchor="ctr"/>
              <a:lstStyle/>
              <a:p>
                <a:endParaRPr lang="en-ID"/>
              </a:p>
            </p:txBody>
          </p:sp>
          <p:sp>
            <p:nvSpPr>
              <p:cNvPr id="89" name="Freeform: Shape 88">
                <a:extLst>
                  <a:ext uri="{FF2B5EF4-FFF2-40B4-BE49-F238E27FC236}">
                    <a16:creationId xmlns:a16="http://schemas.microsoft.com/office/drawing/2014/main" id="{A6643826-74C0-4568-8B3F-64FA6E3E8700}"/>
                  </a:ext>
                </a:extLst>
              </p:cNvPr>
              <p:cNvSpPr/>
              <p:nvPr/>
            </p:nvSpPr>
            <p:spPr>
              <a:xfrm>
                <a:off x="7913507" y="2999081"/>
                <a:ext cx="15416" cy="3854"/>
              </a:xfrm>
              <a:custGeom>
                <a:avLst/>
                <a:gdLst>
                  <a:gd name="connsiteX0" fmla="*/ 0 w 15415"/>
                  <a:gd name="connsiteY0" fmla="*/ 2544 h 0"/>
                  <a:gd name="connsiteX1" fmla="*/ 18653 w 15415"/>
                  <a:gd name="connsiteY1" fmla="*/ 0 h 0"/>
                  <a:gd name="connsiteX2" fmla="*/ 1619 w 15415"/>
                  <a:gd name="connsiteY2" fmla="*/ 0 h 0"/>
                </a:gdLst>
                <a:ahLst/>
                <a:cxnLst>
                  <a:cxn ang="0">
                    <a:pos x="connsiteX0" y="connsiteY0"/>
                  </a:cxn>
                  <a:cxn ang="0">
                    <a:pos x="connsiteX1" y="connsiteY1"/>
                  </a:cxn>
                  <a:cxn ang="0">
                    <a:pos x="connsiteX2" y="connsiteY2"/>
                  </a:cxn>
                </a:cxnLst>
                <a:rect l="l" t="t" r="r" b="b"/>
                <a:pathLst>
                  <a:path w="15415">
                    <a:moveTo>
                      <a:pt x="0" y="2544"/>
                    </a:moveTo>
                    <a:lnTo>
                      <a:pt x="18653" y="0"/>
                    </a:lnTo>
                    <a:lnTo>
                      <a:pt x="1619" y="0"/>
                    </a:lnTo>
                    <a:close/>
                  </a:path>
                </a:pathLst>
              </a:custGeom>
              <a:solidFill>
                <a:srgbClr val="727643"/>
              </a:solidFill>
              <a:ln w="3842" cap="flat">
                <a:noFill/>
                <a:prstDash val="solid"/>
                <a:miter/>
              </a:ln>
            </p:spPr>
            <p:txBody>
              <a:bodyPr rtlCol="0" anchor="ctr"/>
              <a:lstStyle/>
              <a:p>
                <a:endParaRPr lang="en-ID"/>
              </a:p>
            </p:txBody>
          </p:sp>
          <p:sp>
            <p:nvSpPr>
              <p:cNvPr id="90" name="Freeform: Shape 89">
                <a:extLst>
                  <a:ext uri="{FF2B5EF4-FFF2-40B4-BE49-F238E27FC236}">
                    <a16:creationId xmlns:a16="http://schemas.microsoft.com/office/drawing/2014/main" id="{685120A2-7138-40BB-A259-3F5287974537}"/>
                  </a:ext>
                </a:extLst>
              </p:cNvPr>
              <p:cNvSpPr/>
              <p:nvPr/>
            </p:nvSpPr>
            <p:spPr>
              <a:xfrm>
                <a:off x="7894854" y="2939538"/>
                <a:ext cx="7708" cy="15416"/>
              </a:xfrm>
              <a:custGeom>
                <a:avLst/>
                <a:gdLst>
                  <a:gd name="connsiteX0" fmla="*/ 0 w 7707"/>
                  <a:gd name="connsiteY0" fmla="*/ 0 h 15415"/>
                  <a:gd name="connsiteX1" fmla="*/ 5473 w 7707"/>
                  <a:gd name="connsiteY1" fmla="*/ 18691 h 15415"/>
                  <a:gd name="connsiteX2" fmla="*/ 7708 w 7707"/>
                  <a:gd name="connsiteY2" fmla="*/ 18691 h 15415"/>
                </a:gdLst>
                <a:ahLst/>
                <a:cxnLst>
                  <a:cxn ang="0">
                    <a:pos x="connsiteX0" y="connsiteY0"/>
                  </a:cxn>
                  <a:cxn ang="0">
                    <a:pos x="connsiteX1" y="connsiteY1"/>
                  </a:cxn>
                  <a:cxn ang="0">
                    <a:pos x="connsiteX2" y="connsiteY2"/>
                  </a:cxn>
                </a:cxnLst>
                <a:rect l="l" t="t" r="r" b="b"/>
                <a:pathLst>
                  <a:path w="7707" h="15415">
                    <a:moveTo>
                      <a:pt x="0" y="0"/>
                    </a:moveTo>
                    <a:lnTo>
                      <a:pt x="5473" y="18691"/>
                    </a:lnTo>
                    <a:lnTo>
                      <a:pt x="7708" y="18691"/>
                    </a:lnTo>
                    <a:close/>
                  </a:path>
                </a:pathLst>
              </a:custGeom>
              <a:solidFill>
                <a:srgbClr val="727643"/>
              </a:solidFill>
              <a:ln w="3842" cap="flat">
                <a:noFill/>
                <a:prstDash val="solid"/>
                <a:miter/>
              </a:ln>
            </p:spPr>
            <p:txBody>
              <a:bodyPr rtlCol="0" anchor="ctr"/>
              <a:lstStyle/>
              <a:p>
                <a:endParaRPr lang="en-ID"/>
              </a:p>
            </p:txBody>
          </p:sp>
          <p:sp>
            <p:nvSpPr>
              <p:cNvPr id="91" name="Freeform: Shape 90">
                <a:extLst>
                  <a:ext uri="{FF2B5EF4-FFF2-40B4-BE49-F238E27FC236}">
                    <a16:creationId xmlns:a16="http://schemas.microsoft.com/office/drawing/2014/main" id="{5F7EEC64-EBDB-4AB7-8A40-D498BCFE3624}"/>
                  </a:ext>
                </a:extLst>
              </p:cNvPr>
              <p:cNvSpPr/>
              <p:nvPr/>
            </p:nvSpPr>
            <p:spPr>
              <a:xfrm>
                <a:off x="7916744" y="2950483"/>
                <a:ext cx="11562" cy="7708"/>
              </a:xfrm>
              <a:custGeom>
                <a:avLst/>
                <a:gdLst>
                  <a:gd name="connsiteX0" fmla="*/ 0 w 11561"/>
                  <a:gd name="connsiteY0" fmla="*/ 7746 h 7707"/>
                  <a:gd name="connsiteX1" fmla="*/ 1619 w 11561"/>
                  <a:gd name="connsiteY1" fmla="*/ 10290 h 7707"/>
                  <a:gd name="connsiteX2" fmla="*/ 13836 w 11561"/>
                  <a:gd name="connsiteY2" fmla="*/ 0 h 7707"/>
                </a:gdLst>
                <a:ahLst/>
                <a:cxnLst>
                  <a:cxn ang="0">
                    <a:pos x="connsiteX0" y="connsiteY0"/>
                  </a:cxn>
                  <a:cxn ang="0">
                    <a:pos x="connsiteX1" y="connsiteY1"/>
                  </a:cxn>
                  <a:cxn ang="0">
                    <a:pos x="connsiteX2" y="connsiteY2"/>
                  </a:cxn>
                </a:cxnLst>
                <a:rect l="l" t="t" r="r" b="b"/>
                <a:pathLst>
                  <a:path w="11561" h="7707">
                    <a:moveTo>
                      <a:pt x="0" y="7746"/>
                    </a:moveTo>
                    <a:lnTo>
                      <a:pt x="1619" y="10290"/>
                    </a:lnTo>
                    <a:lnTo>
                      <a:pt x="13836" y="0"/>
                    </a:lnTo>
                    <a:close/>
                  </a:path>
                </a:pathLst>
              </a:custGeom>
              <a:solidFill>
                <a:srgbClr val="727643"/>
              </a:solidFill>
              <a:ln w="3842" cap="flat">
                <a:noFill/>
                <a:prstDash val="solid"/>
                <a:miter/>
              </a:ln>
            </p:spPr>
            <p:txBody>
              <a:bodyPr rtlCol="0" anchor="ctr"/>
              <a:lstStyle/>
              <a:p>
                <a:endParaRPr lang="en-ID"/>
              </a:p>
            </p:txBody>
          </p:sp>
          <p:sp>
            <p:nvSpPr>
              <p:cNvPr id="92" name="Freeform: Shape 91">
                <a:extLst>
                  <a:ext uri="{FF2B5EF4-FFF2-40B4-BE49-F238E27FC236}">
                    <a16:creationId xmlns:a16="http://schemas.microsoft.com/office/drawing/2014/main" id="{9A5BC4F4-BFE0-4BAD-9C59-EE95234F4929}"/>
                  </a:ext>
                </a:extLst>
              </p:cNvPr>
              <p:cNvSpPr/>
              <p:nvPr/>
            </p:nvSpPr>
            <p:spPr>
              <a:xfrm>
                <a:off x="7907726" y="2944702"/>
                <a:ext cx="3854" cy="11562"/>
              </a:xfrm>
              <a:custGeom>
                <a:avLst/>
                <a:gdLst>
                  <a:gd name="connsiteX0" fmla="*/ 0 w 0"/>
                  <a:gd name="connsiteY0" fmla="*/ 10945 h 11561"/>
                  <a:gd name="connsiteX1" fmla="*/ 3469 w 0"/>
                  <a:gd name="connsiteY1" fmla="*/ 12217 h 11561"/>
                  <a:gd name="connsiteX2" fmla="*/ 0 w 0"/>
                  <a:gd name="connsiteY2" fmla="*/ 0 h 11561"/>
                </a:gdLst>
                <a:ahLst/>
                <a:cxnLst>
                  <a:cxn ang="0">
                    <a:pos x="connsiteX0" y="connsiteY0"/>
                  </a:cxn>
                  <a:cxn ang="0">
                    <a:pos x="connsiteX1" y="connsiteY1"/>
                  </a:cxn>
                  <a:cxn ang="0">
                    <a:pos x="connsiteX2" y="connsiteY2"/>
                  </a:cxn>
                </a:cxnLst>
                <a:rect l="l" t="t" r="r" b="b"/>
                <a:pathLst>
                  <a:path h="11561">
                    <a:moveTo>
                      <a:pt x="0" y="10945"/>
                    </a:moveTo>
                    <a:lnTo>
                      <a:pt x="3469" y="12217"/>
                    </a:lnTo>
                    <a:lnTo>
                      <a:pt x="0" y="0"/>
                    </a:lnTo>
                    <a:close/>
                  </a:path>
                </a:pathLst>
              </a:custGeom>
              <a:solidFill>
                <a:srgbClr val="727643"/>
              </a:solidFill>
              <a:ln w="3842" cap="flat">
                <a:noFill/>
                <a:prstDash val="solid"/>
                <a:miter/>
              </a:ln>
            </p:spPr>
            <p:txBody>
              <a:bodyPr rtlCol="0" anchor="ctr"/>
              <a:lstStyle/>
              <a:p>
                <a:endParaRPr lang="en-ID"/>
              </a:p>
            </p:txBody>
          </p:sp>
          <p:sp>
            <p:nvSpPr>
              <p:cNvPr id="93" name="Freeform: Shape 92">
                <a:extLst>
                  <a:ext uri="{FF2B5EF4-FFF2-40B4-BE49-F238E27FC236}">
                    <a16:creationId xmlns:a16="http://schemas.microsoft.com/office/drawing/2014/main" id="{89E95FFB-D736-4E03-8E1A-8C42D089B95B}"/>
                  </a:ext>
                </a:extLst>
              </p:cNvPr>
              <p:cNvSpPr/>
              <p:nvPr/>
            </p:nvSpPr>
            <p:spPr>
              <a:xfrm>
                <a:off x="7899363" y="3157323"/>
                <a:ext cx="11562" cy="26977"/>
              </a:xfrm>
              <a:custGeom>
                <a:avLst/>
                <a:gdLst>
                  <a:gd name="connsiteX0" fmla="*/ 0 w 11561"/>
                  <a:gd name="connsiteY0" fmla="*/ 0 h 26977"/>
                  <a:gd name="connsiteX1" fmla="*/ 11832 w 11561"/>
                  <a:gd name="connsiteY1" fmla="*/ 29598 h 26977"/>
                  <a:gd name="connsiteX2" fmla="*/ 6128 w 11561"/>
                  <a:gd name="connsiteY2" fmla="*/ 0 h 26977"/>
                </a:gdLst>
                <a:ahLst/>
                <a:cxnLst>
                  <a:cxn ang="0">
                    <a:pos x="connsiteX0" y="connsiteY0"/>
                  </a:cxn>
                  <a:cxn ang="0">
                    <a:pos x="connsiteX1" y="connsiteY1"/>
                  </a:cxn>
                  <a:cxn ang="0">
                    <a:pos x="connsiteX2" y="connsiteY2"/>
                  </a:cxn>
                </a:cxnLst>
                <a:rect l="l" t="t" r="r" b="b"/>
                <a:pathLst>
                  <a:path w="11561" h="26977">
                    <a:moveTo>
                      <a:pt x="0" y="0"/>
                    </a:moveTo>
                    <a:lnTo>
                      <a:pt x="11832" y="29598"/>
                    </a:lnTo>
                    <a:lnTo>
                      <a:pt x="6128" y="0"/>
                    </a:lnTo>
                    <a:close/>
                  </a:path>
                </a:pathLst>
              </a:custGeom>
              <a:solidFill>
                <a:srgbClr val="727643"/>
              </a:solidFill>
              <a:ln w="3842" cap="flat">
                <a:noFill/>
                <a:prstDash val="solid"/>
                <a:miter/>
              </a:ln>
            </p:spPr>
            <p:txBody>
              <a:bodyPr rtlCol="0" anchor="ctr"/>
              <a:lstStyle/>
              <a:p>
                <a:endParaRPr lang="en-ID"/>
              </a:p>
            </p:txBody>
          </p:sp>
          <p:sp>
            <p:nvSpPr>
              <p:cNvPr id="94" name="Freeform: Shape 93">
                <a:extLst>
                  <a:ext uri="{FF2B5EF4-FFF2-40B4-BE49-F238E27FC236}">
                    <a16:creationId xmlns:a16="http://schemas.microsoft.com/office/drawing/2014/main" id="{9FEA97E7-23A9-49D5-9372-D5FF99563E75}"/>
                  </a:ext>
                </a:extLst>
              </p:cNvPr>
              <p:cNvSpPr/>
              <p:nvPr/>
            </p:nvSpPr>
            <p:spPr>
              <a:xfrm>
                <a:off x="7767790" y="3027485"/>
                <a:ext cx="23123" cy="19270"/>
              </a:xfrm>
              <a:custGeom>
                <a:avLst/>
                <a:gdLst>
                  <a:gd name="connsiteX0" fmla="*/ 24472 w 23123"/>
                  <a:gd name="connsiteY0" fmla="*/ 16726 h 19269"/>
                  <a:gd name="connsiteX1" fmla="*/ 0 w 23123"/>
                  <a:gd name="connsiteY1" fmla="*/ 0 h 19269"/>
                  <a:gd name="connsiteX2" fmla="*/ 22314 w 23123"/>
                  <a:gd name="connsiteY2" fmla="*/ 19347 h 19269"/>
                </a:gdLst>
                <a:ahLst/>
                <a:cxnLst>
                  <a:cxn ang="0">
                    <a:pos x="connsiteX0" y="connsiteY0"/>
                  </a:cxn>
                  <a:cxn ang="0">
                    <a:pos x="connsiteX1" y="connsiteY1"/>
                  </a:cxn>
                  <a:cxn ang="0">
                    <a:pos x="connsiteX2" y="connsiteY2"/>
                  </a:cxn>
                </a:cxnLst>
                <a:rect l="l" t="t" r="r" b="b"/>
                <a:pathLst>
                  <a:path w="23123" h="19269">
                    <a:moveTo>
                      <a:pt x="24472" y="16726"/>
                    </a:moveTo>
                    <a:lnTo>
                      <a:pt x="0" y="0"/>
                    </a:lnTo>
                    <a:lnTo>
                      <a:pt x="22314" y="19347"/>
                    </a:lnTo>
                    <a:close/>
                  </a:path>
                </a:pathLst>
              </a:custGeom>
              <a:solidFill>
                <a:srgbClr val="727643"/>
              </a:solidFill>
              <a:ln w="3842" cap="flat">
                <a:noFill/>
                <a:prstDash val="solid"/>
                <a:miter/>
              </a:ln>
            </p:spPr>
            <p:txBody>
              <a:bodyPr rtlCol="0" anchor="ctr"/>
              <a:lstStyle/>
              <a:p>
                <a:endParaRPr lang="en-ID"/>
              </a:p>
            </p:txBody>
          </p:sp>
          <p:sp>
            <p:nvSpPr>
              <p:cNvPr id="95" name="Freeform: Shape 94">
                <a:extLst>
                  <a:ext uri="{FF2B5EF4-FFF2-40B4-BE49-F238E27FC236}">
                    <a16:creationId xmlns:a16="http://schemas.microsoft.com/office/drawing/2014/main" id="{1C597AFD-F502-4C73-8657-A0D60F6DE957}"/>
                  </a:ext>
                </a:extLst>
              </p:cNvPr>
              <p:cNvSpPr/>
              <p:nvPr/>
            </p:nvSpPr>
            <p:spPr>
              <a:xfrm>
                <a:off x="7775961" y="3186921"/>
                <a:ext cx="34685" cy="3854"/>
              </a:xfrm>
              <a:custGeom>
                <a:avLst/>
                <a:gdLst>
                  <a:gd name="connsiteX0" fmla="*/ 35148 w 34685"/>
                  <a:gd name="connsiteY0" fmla="*/ 0 h 3853"/>
                  <a:gd name="connsiteX1" fmla="*/ 0 w 34685"/>
                  <a:gd name="connsiteY1" fmla="*/ 5704 h 3853"/>
                  <a:gd name="connsiteX2" fmla="*/ 35148 w 34685"/>
                  <a:gd name="connsiteY2" fmla="*/ 5704 h 3853"/>
                </a:gdLst>
                <a:ahLst/>
                <a:cxnLst>
                  <a:cxn ang="0">
                    <a:pos x="connsiteX0" y="connsiteY0"/>
                  </a:cxn>
                  <a:cxn ang="0">
                    <a:pos x="connsiteX1" y="connsiteY1"/>
                  </a:cxn>
                  <a:cxn ang="0">
                    <a:pos x="connsiteX2" y="connsiteY2"/>
                  </a:cxn>
                </a:cxnLst>
                <a:rect l="l" t="t" r="r" b="b"/>
                <a:pathLst>
                  <a:path w="34685" h="3853">
                    <a:moveTo>
                      <a:pt x="35148" y="0"/>
                    </a:moveTo>
                    <a:lnTo>
                      <a:pt x="0" y="5704"/>
                    </a:lnTo>
                    <a:lnTo>
                      <a:pt x="35148" y="5704"/>
                    </a:lnTo>
                    <a:close/>
                  </a:path>
                </a:pathLst>
              </a:custGeom>
              <a:solidFill>
                <a:srgbClr val="727643"/>
              </a:solidFill>
              <a:ln w="3842" cap="flat">
                <a:noFill/>
                <a:prstDash val="solid"/>
                <a:miter/>
              </a:ln>
            </p:spPr>
            <p:txBody>
              <a:bodyPr rtlCol="0" anchor="ctr"/>
              <a:lstStyle/>
              <a:p>
                <a:endParaRPr lang="en-ID"/>
              </a:p>
            </p:txBody>
          </p:sp>
          <p:sp>
            <p:nvSpPr>
              <p:cNvPr id="96" name="Freeform: Shape 95">
                <a:extLst>
                  <a:ext uri="{FF2B5EF4-FFF2-40B4-BE49-F238E27FC236}">
                    <a16:creationId xmlns:a16="http://schemas.microsoft.com/office/drawing/2014/main" id="{0D008DAD-D68E-4286-B9B4-F4CA5353C8D1}"/>
                  </a:ext>
                </a:extLst>
              </p:cNvPr>
              <p:cNvSpPr/>
              <p:nvPr/>
            </p:nvSpPr>
            <p:spPr>
              <a:xfrm>
                <a:off x="7790105" y="3275098"/>
                <a:ext cx="96348" cy="104056"/>
              </a:xfrm>
              <a:custGeom>
                <a:avLst/>
                <a:gdLst>
                  <a:gd name="connsiteX0" fmla="*/ 95461 w 96347"/>
                  <a:gd name="connsiteY0" fmla="*/ 21119 h 104055"/>
                  <a:gd name="connsiteX1" fmla="*/ 98082 w 96347"/>
                  <a:gd name="connsiteY1" fmla="*/ 0 h 104055"/>
                  <a:gd name="connsiteX2" fmla="*/ 0 w 96347"/>
                  <a:gd name="connsiteY2" fmla="*/ 0 h 104055"/>
                  <a:gd name="connsiteX3" fmla="*/ 12448 w 96347"/>
                  <a:gd name="connsiteY3" fmla="*/ 105867 h 104055"/>
                  <a:gd name="connsiteX4" fmla="*/ 36342 w 96347"/>
                  <a:gd name="connsiteY4" fmla="*/ 105867 h 104055"/>
                  <a:gd name="connsiteX5" fmla="*/ 95461 w 96347"/>
                  <a:gd name="connsiteY5" fmla="*/ 21119 h 10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347" h="104055">
                    <a:moveTo>
                      <a:pt x="95461" y="21119"/>
                    </a:moveTo>
                    <a:lnTo>
                      <a:pt x="98082" y="0"/>
                    </a:lnTo>
                    <a:lnTo>
                      <a:pt x="0" y="0"/>
                    </a:lnTo>
                    <a:lnTo>
                      <a:pt x="12448" y="105867"/>
                    </a:lnTo>
                    <a:lnTo>
                      <a:pt x="36342" y="105867"/>
                    </a:lnTo>
                    <a:cubicBezTo>
                      <a:pt x="34377" y="47711"/>
                      <a:pt x="76346" y="27363"/>
                      <a:pt x="95461" y="21119"/>
                    </a:cubicBezTo>
                    <a:close/>
                  </a:path>
                </a:pathLst>
              </a:custGeom>
              <a:solidFill>
                <a:srgbClr val="444532"/>
              </a:solidFill>
              <a:ln w="3842" cap="flat">
                <a:noFill/>
                <a:prstDash val="solid"/>
                <a:miter/>
              </a:ln>
            </p:spPr>
            <p:txBody>
              <a:bodyPr rtlCol="0" anchor="ctr"/>
              <a:lstStyle/>
              <a:p>
                <a:endParaRPr lang="en-ID"/>
              </a:p>
            </p:txBody>
          </p:sp>
        </p:grpSp>
        <p:grpSp>
          <p:nvGrpSpPr>
            <p:cNvPr id="24" name="Graphic 6">
              <a:extLst>
                <a:ext uri="{FF2B5EF4-FFF2-40B4-BE49-F238E27FC236}">
                  <a16:creationId xmlns:a16="http://schemas.microsoft.com/office/drawing/2014/main" id="{006083BF-8240-4401-ABD7-6BBEC75F65A5}"/>
                </a:ext>
              </a:extLst>
            </p:cNvPr>
            <p:cNvGrpSpPr/>
            <p:nvPr/>
          </p:nvGrpSpPr>
          <p:grpSpPr>
            <a:xfrm>
              <a:off x="7573990" y="3075604"/>
              <a:ext cx="238943" cy="562671"/>
              <a:chOff x="7618374" y="2816367"/>
              <a:chExt cx="238943" cy="562671"/>
            </a:xfrm>
            <a:solidFill>
              <a:schemeClr val="accent1"/>
            </a:solidFill>
          </p:grpSpPr>
          <p:sp>
            <p:nvSpPr>
              <p:cNvPr id="68" name="Freeform: Shape 67">
                <a:extLst>
                  <a:ext uri="{FF2B5EF4-FFF2-40B4-BE49-F238E27FC236}">
                    <a16:creationId xmlns:a16="http://schemas.microsoft.com/office/drawing/2014/main" id="{B21307EF-866D-4050-8CDB-BF4BA2AE2FB8}"/>
                  </a:ext>
                </a:extLst>
              </p:cNvPr>
              <p:cNvSpPr/>
              <p:nvPr/>
            </p:nvSpPr>
            <p:spPr>
              <a:xfrm>
                <a:off x="7634137" y="3202760"/>
                <a:ext cx="208111" cy="177280"/>
              </a:xfrm>
              <a:custGeom>
                <a:avLst/>
                <a:gdLst>
                  <a:gd name="connsiteX0" fmla="*/ 210385 w 208111"/>
                  <a:gd name="connsiteY0" fmla="*/ 13990 h 177279"/>
                  <a:gd name="connsiteX1" fmla="*/ 209576 w 208111"/>
                  <a:gd name="connsiteY1" fmla="*/ 22545 h 177279"/>
                  <a:gd name="connsiteX2" fmla="*/ 206917 w 208111"/>
                  <a:gd name="connsiteY2" fmla="*/ 50448 h 177279"/>
                  <a:gd name="connsiteX3" fmla="*/ 206261 w 208111"/>
                  <a:gd name="connsiteY3" fmla="*/ 57462 h 177279"/>
                  <a:gd name="connsiteX4" fmla="*/ 205182 w 208111"/>
                  <a:gd name="connsiteY4" fmla="*/ 69139 h 177279"/>
                  <a:gd name="connsiteX5" fmla="*/ 204489 w 208111"/>
                  <a:gd name="connsiteY5" fmla="*/ 76153 h 177279"/>
                  <a:gd name="connsiteX6" fmla="*/ 198823 w 208111"/>
                  <a:gd name="connsiteY6" fmla="*/ 136159 h 177279"/>
                  <a:gd name="connsiteX7" fmla="*/ 195124 w 208111"/>
                  <a:gd name="connsiteY7" fmla="*/ 175006 h 177279"/>
                  <a:gd name="connsiteX8" fmla="*/ 194854 w 208111"/>
                  <a:gd name="connsiteY8" fmla="*/ 178243 h 177279"/>
                  <a:gd name="connsiteX9" fmla="*/ 11331 w 208111"/>
                  <a:gd name="connsiteY9" fmla="*/ 178243 h 177279"/>
                  <a:gd name="connsiteX10" fmla="*/ 10752 w 208111"/>
                  <a:gd name="connsiteY10" fmla="*/ 168994 h 177279"/>
                  <a:gd name="connsiteX11" fmla="*/ 3700 w 208111"/>
                  <a:gd name="connsiteY11" fmla="*/ 58040 h 177279"/>
                  <a:gd name="connsiteX12" fmla="*/ 1464 w 208111"/>
                  <a:gd name="connsiteY12" fmla="*/ 22545 h 177279"/>
                  <a:gd name="connsiteX13" fmla="*/ 1156 w 208111"/>
                  <a:gd name="connsiteY13" fmla="*/ 17805 h 177279"/>
                  <a:gd name="connsiteX14" fmla="*/ 1041 w 208111"/>
                  <a:gd name="connsiteY14" fmla="*/ 16109 h 177279"/>
                  <a:gd name="connsiteX15" fmla="*/ 0 w 208111"/>
                  <a:gd name="connsiteY15" fmla="*/ 0 h 177279"/>
                  <a:gd name="connsiteX16" fmla="*/ 97427 w 208111"/>
                  <a:gd name="connsiteY16" fmla="*/ 6513 h 177279"/>
                  <a:gd name="connsiteX17" fmla="*/ 102745 w 208111"/>
                  <a:gd name="connsiteY17" fmla="*/ 6860 h 177279"/>
                  <a:gd name="connsiteX18" fmla="*/ 118700 w 208111"/>
                  <a:gd name="connsiteY18" fmla="*/ 7901 h 177279"/>
                  <a:gd name="connsiteX19" fmla="*/ 171306 w 208111"/>
                  <a:gd name="connsiteY19" fmla="*/ 11408 h 177279"/>
                  <a:gd name="connsiteX20" fmla="*/ 172964 w 208111"/>
                  <a:gd name="connsiteY20" fmla="*/ 11523 h 177279"/>
                  <a:gd name="connsiteX21" fmla="*/ 208805 w 208111"/>
                  <a:gd name="connsiteY21" fmla="*/ 13913 h 17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8111" h="177279">
                    <a:moveTo>
                      <a:pt x="210385" y="13990"/>
                    </a:moveTo>
                    <a:lnTo>
                      <a:pt x="209576" y="22545"/>
                    </a:lnTo>
                    <a:lnTo>
                      <a:pt x="206917" y="50448"/>
                    </a:lnTo>
                    <a:lnTo>
                      <a:pt x="206261" y="57462"/>
                    </a:lnTo>
                    <a:lnTo>
                      <a:pt x="205182" y="69139"/>
                    </a:lnTo>
                    <a:lnTo>
                      <a:pt x="204489" y="76153"/>
                    </a:lnTo>
                    <a:lnTo>
                      <a:pt x="198823" y="136159"/>
                    </a:lnTo>
                    <a:lnTo>
                      <a:pt x="195124" y="175006"/>
                    </a:lnTo>
                    <a:lnTo>
                      <a:pt x="194854" y="178243"/>
                    </a:lnTo>
                    <a:lnTo>
                      <a:pt x="11331" y="178243"/>
                    </a:lnTo>
                    <a:lnTo>
                      <a:pt x="10752" y="168994"/>
                    </a:lnTo>
                    <a:lnTo>
                      <a:pt x="3700" y="58040"/>
                    </a:lnTo>
                    <a:lnTo>
                      <a:pt x="1464" y="22545"/>
                    </a:lnTo>
                    <a:lnTo>
                      <a:pt x="1156" y="17805"/>
                    </a:lnTo>
                    <a:lnTo>
                      <a:pt x="1041" y="16109"/>
                    </a:lnTo>
                    <a:lnTo>
                      <a:pt x="0" y="0"/>
                    </a:lnTo>
                    <a:lnTo>
                      <a:pt x="97427" y="6513"/>
                    </a:lnTo>
                    <a:lnTo>
                      <a:pt x="102745" y="6860"/>
                    </a:lnTo>
                    <a:lnTo>
                      <a:pt x="118700" y="7901"/>
                    </a:lnTo>
                    <a:lnTo>
                      <a:pt x="171306" y="11408"/>
                    </a:lnTo>
                    <a:lnTo>
                      <a:pt x="172964" y="11523"/>
                    </a:lnTo>
                    <a:lnTo>
                      <a:pt x="208805" y="13913"/>
                    </a:lnTo>
                    <a:close/>
                  </a:path>
                </a:pathLst>
              </a:custGeom>
              <a:solidFill>
                <a:srgbClr val="7D776B"/>
              </a:solidFill>
              <a:ln w="3842" cap="flat">
                <a:noFill/>
                <a:prstDash val="solid"/>
                <a:miter/>
              </a:ln>
            </p:spPr>
            <p:txBody>
              <a:bodyPr rtlCol="0" anchor="ctr"/>
              <a:lstStyle/>
              <a:p>
                <a:endParaRPr lang="en-ID"/>
              </a:p>
            </p:txBody>
          </p:sp>
          <p:sp>
            <p:nvSpPr>
              <p:cNvPr id="69" name="Freeform: Shape 68">
                <a:extLst>
                  <a:ext uri="{FF2B5EF4-FFF2-40B4-BE49-F238E27FC236}">
                    <a16:creationId xmlns:a16="http://schemas.microsoft.com/office/drawing/2014/main" id="{B8A944B5-E2CB-4749-B4A9-D72763E2CBC7}"/>
                  </a:ext>
                </a:extLst>
              </p:cNvPr>
              <p:cNvSpPr/>
              <p:nvPr/>
            </p:nvSpPr>
            <p:spPr>
              <a:xfrm>
                <a:off x="7795654" y="3023708"/>
                <a:ext cx="53955" cy="169572"/>
              </a:xfrm>
              <a:custGeom>
                <a:avLst/>
                <a:gdLst>
                  <a:gd name="connsiteX0" fmla="*/ 25166 w 53954"/>
                  <a:gd name="connsiteY0" fmla="*/ 144329 h 169572"/>
                  <a:gd name="connsiteX1" fmla="*/ 56267 w 53954"/>
                  <a:gd name="connsiteY1" fmla="*/ 0 h 169572"/>
                  <a:gd name="connsiteX2" fmla="*/ 0 w 53954"/>
                  <a:gd name="connsiteY2" fmla="*/ 155505 h 169572"/>
                  <a:gd name="connsiteX3" fmla="*/ 25166 w 53954"/>
                  <a:gd name="connsiteY3" fmla="*/ 144329 h 169572"/>
                </a:gdLst>
                <a:ahLst/>
                <a:cxnLst>
                  <a:cxn ang="0">
                    <a:pos x="connsiteX0" y="connsiteY0"/>
                  </a:cxn>
                  <a:cxn ang="0">
                    <a:pos x="connsiteX1" y="connsiteY1"/>
                  </a:cxn>
                  <a:cxn ang="0">
                    <a:pos x="connsiteX2" y="connsiteY2"/>
                  </a:cxn>
                  <a:cxn ang="0">
                    <a:pos x="connsiteX3" y="connsiteY3"/>
                  </a:cxn>
                </a:cxnLst>
                <a:rect l="l" t="t" r="r" b="b"/>
                <a:pathLst>
                  <a:path w="53954" h="169572">
                    <a:moveTo>
                      <a:pt x="25166" y="144329"/>
                    </a:moveTo>
                    <a:lnTo>
                      <a:pt x="56267" y="0"/>
                    </a:lnTo>
                    <a:cubicBezTo>
                      <a:pt x="56267" y="0"/>
                      <a:pt x="0" y="109605"/>
                      <a:pt x="0" y="155505"/>
                    </a:cubicBezTo>
                    <a:cubicBezTo>
                      <a:pt x="-39" y="201444"/>
                      <a:pt x="25166" y="144329"/>
                      <a:pt x="25166" y="144329"/>
                    </a:cubicBezTo>
                    <a:close/>
                  </a:path>
                </a:pathLst>
              </a:custGeom>
              <a:solidFill>
                <a:srgbClr val="736D38"/>
              </a:solidFill>
              <a:ln w="3842" cap="flat">
                <a:noFill/>
                <a:prstDash val="solid"/>
                <a:miter/>
              </a:ln>
            </p:spPr>
            <p:txBody>
              <a:bodyPr rtlCol="0" anchor="ctr"/>
              <a:lstStyle/>
              <a:p>
                <a:endParaRPr lang="en-ID"/>
              </a:p>
            </p:txBody>
          </p:sp>
          <p:sp>
            <p:nvSpPr>
              <p:cNvPr id="70" name="Freeform: Shape 69">
                <a:extLst>
                  <a:ext uri="{FF2B5EF4-FFF2-40B4-BE49-F238E27FC236}">
                    <a16:creationId xmlns:a16="http://schemas.microsoft.com/office/drawing/2014/main" id="{1B2F8968-5127-4ABD-8CA2-6EAB8D3B1B96}"/>
                  </a:ext>
                </a:extLst>
              </p:cNvPr>
              <p:cNvSpPr/>
              <p:nvPr/>
            </p:nvSpPr>
            <p:spPr>
              <a:xfrm>
                <a:off x="7774571" y="2896336"/>
                <a:ext cx="46247" cy="300605"/>
              </a:xfrm>
              <a:custGeom>
                <a:avLst/>
                <a:gdLst>
                  <a:gd name="connsiteX0" fmla="*/ 31412 w 46246"/>
                  <a:gd name="connsiteY0" fmla="*/ 263646 h 300605"/>
                  <a:gd name="connsiteX1" fmla="*/ 40314 w 46246"/>
                  <a:gd name="connsiteY1" fmla="*/ 0 h 300605"/>
                  <a:gd name="connsiteX2" fmla="*/ 311 w 46246"/>
                  <a:gd name="connsiteY2" fmla="*/ 271701 h 300605"/>
                  <a:gd name="connsiteX3" fmla="*/ 31412 w 46246"/>
                  <a:gd name="connsiteY3" fmla="*/ 263646 h 300605"/>
                </a:gdLst>
                <a:ahLst/>
                <a:cxnLst>
                  <a:cxn ang="0">
                    <a:pos x="connsiteX0" y="connsiteY0"/>
                  </a:cxn>
                  <a:cxn ang="0">
                    <a:pos x="connsiteX1" y="connsiteY1"/>
                  </a:cxn>
                  <a:cxn ang="0">
                    <a:pos x="connsiteX2" y="connsiteY2"/>
                  </a:cxn>
                  <a:cxn ang="0">
                    <a:pos x="connsiteX3" y="connsiteY3"/>
                  </a:cxn>
                </a:cxnLst>
                <a:rect l="l" t="t" r="r" b="b"/>
                <a:pathLst>
                  <a:path w="46246" h="300605">
                    <a:moveTo>
                      <a:pt x="31412" y="263646"/>
                    </a:moveTo>
                    <a:cubicBezTo>
                      <a:pt x="31412" y="263646"/>
                      <a:pt x="62513" y="60738"/>
                      <a:pt x="40314" y="0"/>
                    </a:cubicBezTo>
                    <a:cubicBezTo>
                      <a:pt x="40314" y="0"/>
                      <a:pt x="-4121" y="202215"/>
                      <a:pt x="311" y="271701"/>
                    </a:cubicBezTo>
                    <a:cubicBezTo>
                      <a:pt x="4743" y="341187"/>
                      <a:pt x="31412" y="263646"/>
                      <a:pt x="31412" y="263646"/>
                    </a:cubicBezTo>
                    <a:close/>
                  </a:path>
                </a:pathLst>
              </a:custGeom>
              <a:solidFill>
                <a:srgbClr val="477830"/>
              </a:solidFill>
              <a:ln w="3842" cap="flat">
                <a:noFill/>
                <a:prstDash val="solid"/>
                <a:miter/>
              </a:ln>
            </p:spPr>
            <p:txBody>
              <a:bodyPr rtlCol="0" anchor="ctr"/>
              <a:lstStyle/>
              <a:p>
                <a:endParaRPr lang="en-ID"/>
              </a:p>
            </p:txBody>
          </p:sp>
          <p:sp>
            <p:nvSpPr>
              <p:cNvPr id="71" name="Freeform: Shape 70">
                <a:extLst>
                  <a:ext uri="{FF2B5EF4-FFF2-40B4-BE49-F238E27FC236}">
                    <a16:creationId xmlns:a16="http://schemas.microsoft.com/office/drawing/2014/main" id="{90EF84A7-0447-4205-BEC8-3FC81498C1AC}"/>
                  </a:ext>
                </a:extLst>
              </p:cNvPr>
              <p:cNvSpPr/>
              <p:nvPr/>
            </p:nvSpPr>
            <p:spPr>
              <a:xfrm>
                <a:off x="7633888" y="3046638"/>
                <a:ext cx="50101" cy="146449"/>
              </a:xfrm>
              <a:custGeom>
                <a:avLst/>
                <a:gdLst>
                  <a:gd name="connsiteX0" fmla="*/ 52122 w 50100"/>
                  <a:gd name="connsiteY0" fmla="*/ 132575 h 146448"/>
                  <a:gd name="connsiteX1" fmla="*/ 249 w 50100"/>
                  <a:gd name="connsiteY1" fmla="*/ 0 h 146448"/>
                  <a:gd name="connsiteX2" fmla="*/ 22486 w 50100"/>
                  <a:gd name="connsiteY2" fmla="*/ 132575 h 146448"/>
                  <a:gd name="connsiteX3" fmla="*/ 52122 w 50100"/>
                  <a:gd name="connsiteY3" fmla="*/ 132575 h 146448"/>
                </a:gdLst>
                <a:ahLst/>
                <a:cxnLst>
                  <a:cxn ang="0">
                    <a:pos x="connsiteX0" y="connsiteY0"/>
                  </a:cxn>
                  <a:cxn ang="0">
                    <a:pos x="connsiteX1" y="connsiteY1"/>
                  </a:cxn>
                  <a:cxn ang="0">
                    <a:pos x="connsiteX2" y="connsiteY2"/>
                  </a:cxn>
                  <a:cxn ang="0">
                    <a:pos x="connsiteX3" y="connsiteY3"/>
                  </a:cxn>
                </a:cxnLst>
                <a:rect l="l" t="t" r="r" b="b"/>
                <a:pathLst>
                  <a:path w="50100" h="146448">
                    <a:moveTo>
                      <a:pt x="52122" y="132575"/>
                    </a:moveTo>
                    <a:cubicBezTo>
                      <a:pt x="46187" y="97041"/>
                      <a:pt x="249" y="0"/>
                      <a:pt x="249" y="0"/>
                    </a:cubicBezTo>
                    <a:cubicBezTo>
                      <a:pt x="-2757" y="49600"/>
                      <a:pt x="22486" y="132575"/>
                      <a:pt x="22486" y="132575"/>
                    </a:cubicBezTo>
                    <a:cubicBezTo>
                      <a:pt x="22486" y="132575"/>
                      <a:pt x="58057" y="168108"/>
                      <a:pt x="52122" y="132575"/>
                    </a:cubicBezTo>
                    <a:close/>
                  </a:path>
                </a:pathLst>
              </a:custGeom>
              <a:solidFill>
                <a:srgbClr val="92B856"/>
              </a:solidFill>
              <a:ln w="3842" cap="flat">
                <a:noFill/>
                <a:prstDash val="solid"/>
                <a:miter/>
              </a:ln>
            </p:spPr>
            <p:txBody>
              <a:bodyPr rtlCol="0" anchor="ctr"/>
              <a:lstStyle/>
              <a:p>
                <a:endParaRPr lang="en-ID"/>
              </a:p>
            </p:txBody>
          </p:sp>
          <p:sp>
            <p:nvSpPr>
              <p:cNvPr id="72" name="Freeform: Shape 71">
                <a:extLst>
                  <a:ext uri="{FF2B5EF4-FFF2-40B4-BE49-F238E27FC236}">
                    <a16:creationId xmlns:a16="http://schemas.microsoft.com/office/drawing/2014/main" id="{8A480369-8C7E-412D-A53E-6ADC5BEB0ECE}"/>
                  </a:ext>
                </a:extLst>
              </p:cNvPr>
              <p:cNvSpPr/>
              <p:nvPr/>
            </p:nvSpPr>
            <p:spPr>
              <a:xfrm>
                <a:off x="7649656" y="2979272"/>
                <a:ext cx="50101" cy="211965"/>
              </a:xfrm>
              <a:custGeom>
                <a:avLst/>
                <a:gdLst>
                  <a:gd name="connsiteX0" fmla="*/ 52657 w 50100"/>
                  <a:gd name="connsiteY0" fmla="*/ 196973 h 211965"/>
                  <a:gd name="connsiteX1" fmla="*/ 821 w 50100"/>
                  <a:gd name="connsiteY1" fmla="*/ 0 h 211965"/>
                  <a:gd name="connsiteX2" fmla="*/ 23059 w 50100"/>
                  <a:gd name="connsiteY2" fmla="*/ 196973 h 211965"/>
                  <a:gd name="connsiteX3" fmla="*/ 52657 w 50100"/>
                  <a:gd name="connsiteY3" fmla="*/ 196973 h 211965"/>
                </a:gdLst>
                <a:ahLst/>
                <a:cxnLst>
                  <a:cxn ang="0">
                    <a:pos x="connsiteX0" y="connsiteY0"/>
                  </a:cxn>
                  <a:cxn ang="0">
                    <a:pos x="connsiteX1" y="connsiteY1"/>
                  </a:cxn>
                  <a:cxn ang="0">
                    <a:pos x="connsiteX2" y="connsiteY2"/>
                  </a:cxn>
                  <a:cxn ang="0">
                    <a:pos x="connsiteX3" y="connsiteY3"/>
                  </a:cxn>
                </a:cxnLst>
                <a:rect l="l" t="t" r="r" b="b"/>
                <a:pathLst>
                  <a:path w="50100" h="211965">
                    <a:moveTo>
                      <a:pt x="52657" y="196973"/>
                    </a:moveTo>
                    <a:cubicBezTo>
                      <a:pt x="48225" y="155505"/>
                      <a:pt x="821" y="0"/>
                      <a:pt x="821" y="0"/>
                    </a:cubicBezTo>
                    <a:cubicBezTo>
                      <a:pt x="-5114" y="40004"/>
                      <a:pt x="23059" y="196973"/>
                      <a:pt x="23059" y="196973"/>
                    </a:cubicBezTo>
                    <a:cubicBezTo>
                      <a:pt x="23059" y="196973"/>
                      <a:pt x="57089" y="238442"/>
                      <a:pt x="52657" y="196973"/>
                    </a:cubicBezTo>
                    <a:close/>
                  </a:path>
                </a:pathLst>
              </a:custGeom>
              <a:solidFill>
                <a:srgbClr val="367031"/>
              </a:solidFill>
              <a:ln w="3842" cap="flat">
                <a:noFill/>
                <a:prstDash val="solid"/>
                <a:miter/>
              </a:ln>
            </p:spPr>
            <p:txBody>
              <a:bodyPr rtlCol="0" anchor="ctr"/>
              <a:lstStyle/>
              <a:p>
                <a:endParaRPr lang="en-ID"/>
              </a:p>
            </p:txBody>
          </p:sp>
          <p:sp>
            <p:nvSpPr>
              <p:cNvPr id="73" name="Freeform: Shape 72">
                <a:extLst>
                  <a:ext uri="{FF2B5EF4-FFF2-40B4-BE49-F238E27FC236}">
                    <a16:creationId xmlns:a16="http://schemas.microsoft.com/office/drawing/2014/main" id="{0AB08A93-26E7-4573-BAA3-CCBCAC514C37}"/>
                  </a:ext>
                </a:extLst>
              </p:cNvPr>
              <p:cNvSpPr/>
              <p:nvPr/>
            </p:nvSpPr>
            <p:spPr>
              <a:xfrm>
                <a:off x="7671143" y="2883001"/>
                <a:ext cx="42393" cy="300605"/>
              </a:xfrm>
              <a:custGeom>
                <a:avLst/>
                <a:gdLst>
                  <a:gd name="connsiteX0" fmla="*/ 45969 w 42393"/>
                  <a:gd name="connsiteY0" fmla="*/ 294747 h 300605"/>
                  <a:gd name="connsiteX1" fmla="*/ 5040 w 42393"/>
                  <a:gd name="connsiteY1" fmla="*/ 0 h 300605"/>
                  <a:gd name="connsiteX2" fmla="*/ 15523 w 42393"/>
                  <a:gd name="connsiteY2" fmla="*/ 285035 h 300605"/>
                  <a:gd name="connsiteX3" fmla="*/ 45969 w 42393"/>
                  <a:gd name="connsiteY3" fmla="*/ 294747 h 300605"/>
                </a:gdLst>
                <a:ahLst/>
                <a:cxnLst>
                  <a:cxn ang="0">
                    <a:pos x="connsiteX0" y="connsiteY0"/>
                  </a:cxn>
                  <a:cxn ang="0">
                    <a:pos x="connsiteX1" y="connsiteY1"/>
                  </a:cxn>
                  <a:cxn ang="0">
                    <a:pos x="connsiteX2" y="connsiteY2"/>
                  </a:cxn>
                  <a:cxn ang="0">
                    <a:pos x="connsiteX3" y="connsiteY3"/>
                  </a:cxn>
                </a:cxnLst>
                <a:rect l="l" t="t" r="r" b="b"/>
                <a:pathLst>
                  <a:path w="42393" h="300605">
                    <a:moveTo>
                      <a:pt x="45969" y="294747"/>
                    </a:moveTo>
                    <a:cubicBezTo>
                      <a:pt x="43001" y="276981"/>
                      <a:pt x="5040" y="0"/>
                      <a:pt x="5040" y="0"/>
                    </a:cubicBezTo>
                    <a:cubicBezTo>
                      <a:pt x="-10722" y="41468"/>
                      <a:pt x="15523" y="285035"/>
                      <a:pt x="15523" y="285035"/>
                    </a:cubicBezTo>
                    <a:cubicBezTo>
                      <a:pt x="17103" y="300143"/>
                      <a:pt x="48936" y="312514"/>
                      <a:pt x="45969" y="294747"/>
                    </a:cubicBezTo>
                    <a:close/>
                  </a:path>
                </a:pathLst>
              </a:custGeom>
              <a:solidFill>
                <a:srgbClr val="5B802A"/>
              </a:solidFill>
              <a:ln w="3842" cap="flat">
                <a:noFill/>
                <a:prstDash val="solid"/>
                <a:miter/>
              </a:ln>
            </p:spPr>
            <p:txBody>
              <a:bodyPr rtlCol="0" anchor="ctr"/>
              <a:lstStyle/>
              <a:p>
                <a:endParaRPr lang="en-ID"/>
              </a:p>
            </p:txBody>
          </p:sp>
          <p:sp>
            <p:nvSpPr>
              <p:cNvPr id="74" name="Freeform: Shape 73">
                <a:extLst>
                  <a:ext uri="{FF2B5EF4-FFF2-40B4-BE49-F238E27FC236}">
                    <a16:creationId xmlns:a16="http://schemas.microsoft.com/office/drawing/2014/main" id="{0E97E740-7597-4DBB-B433-8541790C61F1}"/>
                  </a:ext>
                </a:extLst>
              </p:cNvPr>
              <p:cNvSpPr/>
              <p:nvPr/>
            </p:nvSpPr>
            <p:spPr>
              <a:xfrm>
                <a:off x="7686704" y="2816367"/>
                <a:ext cx="42393" cy="362268"/>
              </a:xfrm>
              <a:custGeom>
                <a:avLst/>
                <a:gdLst>
                  <a:gd name="connsiteX0" fmla="*/ 45245 w 42393"/>
                  <a:gd name="connsiteY0" fmla="*/ 351670 h 362267"/>
                  <a:gd name="connsiteX1" fmla="*/ 16032 w 42393"/>
                  <a:gd name="connsiteY1" fmla="*/ 0 h 362267"/>
                  <a:gd name="connsiteX2" fmla="*/ 0 w 42393"/>
                  <a:gd name="connsiteY2" fmla="*/ 218401 h 362267"/>
                  <a:gd name="connsiteX3" fmla="*/ 15608 w 42393"/>
                  <a:gd name="connsiteY3" fmla="*/ 359917 h 362267"/>
                  <a:gd name="connsiteX4" fmla="*/ 45245 w 42393"/>
                  <a:gd name="connsiteY4" fmla="*/ 351670 h 362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93" h="362267">
                    <a:moveTo>
                      <a:pt x="45245" y="351670"/>
                    </a:moveTo>
                    <a:cubicBezTo>
                      <a:pt x="45245" y="328623"/>
                      <a:pt x="16032" y="0"/>
                      <a:pt x="16032" y="0"/>
                    </a:cubicBezTo>
                    <a:cubicBezTo>
                      <a:pt x="11986" y="20734"/>
                      <a:pt x="0" y="218401"/>
                      <a:pt x="0" y="218401"/>
                    </a:cubicBezTo>
                    <a:lnTo>
                      <a:pt x="15608" y="359917"/>
                    </a:lnTo>
                    <a:cubicBezTo>
                      <a:pt x="15608" y="359878"/>
                      <a:pt x="45245" y="374716"/>
                      <a:pt x="45245" y="351670"/>
                    </a:cubicBezTo>
                    <a:close/>
                  </a:path>
                </a:pathLst>
              </a:custGeom>
              <a:solidFill>
                <a:srgbClr val="4B5E26"/>
              </a:solidFill>
              <a:ln w="3842" cap="flat">
                <a:noFill/>
                <a:prstDash val="solid"/>
                <a:miter/>
              </a:ln>
            </p:spPr>
            <p:txBody>
              <a:bodyPr rtlCol="0" anchor="ctr"/>
              <a:lstStyle/>
              <a:p>
                <a:endParaRPr lang="en-ID"/>
              </a:p>
            </p:txBody>
          </p:sp>
          <p:sp>
            <p:nvSpPr>
              <p:cNvPr id="75" name="Freeform: Shape 74">
                <a:extLst>
                  <a:ext uri="{FF2B5EF4-FFF2-40B4-BE49-F238E27FC236}">
                    <a16:creationId xmlns:a16="http://schemas.microsoft.com/office/drawing/2014/main" id="{956A97F8-F70A-4798-9F04-E927F6DC88F1}"/>
                  </a:ext>
                </a:extLst>
              </p:cNvPr>
              <p:cNvSpPr/>
              <p:nvPr/>
            </p:nvSpPr>
            <p:spPr>
              <a:xfrm>
                <a:off x="7739181" y="2877066"/>
                <a:ext cx="46247" cy="327582"/>
              </a:xfrm>
              <a:custGeom>
                <a:avLst/>
                <a:gdLst>
                  <a:gd name="connsiteX0" fmla="*/ 46222 w 46246"/>
                  <a:gd name="connsiteY0" fmla="*/ 0 h 327582"/>
                  <a:gd name="connsiteX1" fmla="*/ 129 w 46246"/>
                  <a:gd name="connsiteY1" fmla="*/ 303881 h 327582"/>
                  <a:gd name="connsiteX2" fmla="*/ 46222 w 46246"/>
                  <a:gd name="connsiteY2" fmla="*/ 175584 h 327582"/>
                  <a:gd name="connsiteX3" fmla="*/ 46222 w 46246"/>
                  <a:gd name="connsiteY3" fmla="*/ 0 h 327582"/>
                </a:gdLst>
                <a:ahLst/>
                <a:cxnLst>
                  <a:cxn ang="0">
                    <a:pos x="connsiteX0" y="connsiteY0"/>
                  </a:cxn>
                  <a:cxn ang="0">
                    <a:pos x="connsiteX1" y="connsiteY1"/>
                  </a:cxn>
                  <a:cxn ang="0">
                    <a:pos x="connsiteX2" y="connsiteY2"/>
                  </a:cxn>
                  <a:cxn ang="0">
                    <a:pos x="connsiteX3" y="connsiteY3"/>
                  </a:cxn>
                </a:cxnLst>
                <a:rect l="l" t="t" r="r" b="b"/>
                <a:pathLst>
                  <a:path w="46246" h="327582">
                    <a:moveTo>
                      <a:pt x="46222" y="0"/>
                    </a:moveTo>
                    <a:cubicBezTo>
                      <a:pt x="46222" y="0"/>
                      <a:pt x="-2838" y="262644"/>
                      <a:pt x="129" y="303881"/>
                    </a:cubicBezTo>
                    <a:cubicBezTo>
                      <a:pt x="3097" y="345118"/>
                      <a:pt x="50808" y="361536"/>
                      <a:pt x="46222" y="175584"/>
                    </a:cubicBezTo>
                    <a:cubicBezTo>
                      <a:pt x="46222" y="175584"/>
                      <a:pt x="49344" y="34069"/>
                      <a:pt x="46222" y="0"/>
                    </a:cubicBezTo>
                    <a:close/>
                  </a:path>
                </a:pathLst>
              </a:custGeom>
              <a:solidFill>
                <a:srgbClr val="3A472D"/>
              </a:solidFill>
              <a:ln w="3842" cap="flat">
                <a:noFill/>
                <a:prstDash val="solid"/>
                <a:miter/>
              </a:ln>
            </p:spPr>
            <p:txBody>
              <a:bodyPr rtlCol="0" anchor="ctr"/>
              <a:lstStyle/>
              <a:p>
                <a:endParaRPr lang="en-ID"/>
              </a:p>
            </p:txBody>
          </p:sp>
          <p:sp>
            <p:nvSpPr>
              <p:cNvPr id="76" name="Freeform: Shape 75">
                <a:extLst>
                  <a:ext uri="{FF2B5EF4-FFF2-40B4-BE49-F238E27FC236}">
                    <a16:creationId xmlns:a16="http://schemas.microsoft.com/office/drawing/2014/main" id="{B9A53DF0-5A50-49AC-A204-0B191E731C4E}"/>
                  </a:ext>
                </a:extLst>
              </p:cNvPr>
              <p:cNvSpPr/>
              <p:nvPr/>
            </p:nvSpPr>
            <p:spPr>
              <a:xfrm>
                <a:off x="7731566" y="2912638"/>
                <a:ext cx="42393" cy="277482"/>
              </a:xfrm>
              <a:custGeom>
                <a:avLst/>
                <a:gdLst>
                  <a:gd name="connsiteX0" fmla="*/ 43007 w 42393"/>
                  <a:gd name="connsiteY0" fmla="*/ 111070 h 277481"/>
                  <a:gd name="connsiteX1" fmla="*/ 31446 w 42393"/>
                  <a:gd name="connsiteY1" fmla="*/ 0 h 277481"/>
                  <a:gd name="connsiteX2" fmla="*/ 383 w 42393"/>
                  <a:gd name="connsiteY2" fmla="*/ 273859 h 277481"/>
                  <a:gd name="connsiteX3" fmla="*/ 43007 w 42393"/>
                  <a:gd name="connsiteY3" fmla="*/ 111070 h 277481"/>
                </a:gdLst>
                <a:ahLst/>
                <a:cxnLst>
                  <a:cxn ang="0">
                    <a:pos x="connsiteX0" y="connsiteY0"/>
                  </a:cxn>
                  <a:cxn ang="0">
                    <a:pos x="connsiteX1" y="connsiteY1"/>
                  </a:cxn>
                  <a:cxn ang="0">
                    <a:pos x="connsiteX2" y="connsiteY2"/>
                  </a:cxn>
                  <a:cxn ang="0">
                    <a:pos x="connsiteX3" y="connsiteY3"/>
                  </a:cxn>
                </a:cxnLst>
                <a:rect l="l" t="t" r="r" b="b"/>
                <a:pathLst>
                  <a:path w="42393" h="277481">
                    <a:moveTo>
                      <a:pt x="43007" y="111070"/>
                    </a:moveTo>
                    <a:cubicBezTo>
                      <a:pt x="43007" y="111070"/>
                      <a:pt x="38807" y="28134"/>
                      <a:pt x="31446" y="0"/>
                    </a:cubicBezTo>
                    <a:cubicBezTo>
                      <a:pt x="31446" y="0"/>
                      <a:pt x="-4049" y="253009"/>
                      <a:pt x="383" y="273859"/>
                    </a:cubicBezTo>
                    <a:cubicBezTo>
                      <a:pt x="4815" y="294709"/>
                      <a:pt x="36571" y="233701"/>
                      <a:pt x="43007" y="111070"/>
                    </a:cubicBezTo>
                    <a:close/>
                  </a:path>
                </a:pathLst>
              </a:custGeom>
              <a:solidFill>
                <a:srgbClr val="6A8F39"/>
              </a:solidFill>
              <a:ln w="3842" cap="flat">
                <a:noFill/>
                <a:prstDash val="solid"/>
                <a:miter/>
              </a:ln>
            </p:spPr>
            <p:txBody>
              <a:bodyPr rtlCol="0" anchor="ctr"/>
              <a:lstStyle/>
              <a:p>
                <a:endParaRPr lang="en-ID"/>
              </a:p>
            </p:txBody>
          </p:sp>
          <p:sp>
            <p:nvSpPr>
              <p:cNvPr id="77" name="Freeform: Shape 76">
                <a:extLst>
                  <a:ext uri="{FF2B5EF4-FFF2-40B4-BE49-F238E27FC236}">
                    <a16:creationId xmlns:a16="http://schemas.microsoft.com/office/drawing/2014/main" id="{1E16A85D-1786-4A1F-90FB-91DEA535C691}"/>
                  </a:ext>
                </a:extLst>
              </p:cNvPr>
              <p:cNvSpPr/>
              <p:nvPr/>
            </p:nvSpPr>
            <p:spPr>
              <a:xfrm>
                <a:off x="7709327" y="2857835"/>
                <a:ext cx="42393" cy="350706"/>
              </a:xfrm>
              <a:custGeom>
                <a:avLst/>
                <a:gdLst>
                  <a:gd name="connsiteX0" fmla="*/ 43742 w 42393"/>
                  <a:gd name="connsiteY0" fmla="*/ 229154 h 350705"/>
                  <a:gd name="connsiteX1" fmla="*/ 15223 w 42393"/>
                  <a:gd name="connsiteY1" fmla="*/ 0 h 350705"/>
                  <a:gd name="connsiteX2" fmla="*/ 0 w 42393"/>
                  <a:gd name="connsiteY2" fmla="*/ 140822 h 350705"/>
                  <a:gd name="connsiteX3" fmla="*/ 22237 w 42393"/>
                  <a:gd name="connsiteY3" fmla="*/ 351438 h 350705"/>
                  <a:gd name="connsiteX4" fmla="*/ 43742 w 42393"/>
                  <a:gd name="connsiteY4" fmla="*/ 229154 h 350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93" h="350705">
                    <a:moveTo>
                      <a:pt x="43742" y="229154"/>
                    </a:moveTo>
                    <a:cubicBezTo>
                      <a:pt x="51527" y="138741"/>
                      <a:pt x="15223" y="0"/>
                      <a:pt x="15223" y="0"/>
                    </a:cubicBezTo>
                    <a:cubicBezTo>
                      <a:pt x="4856" y="20734"/>
                      <a:pt x="0" y="140822"/>
                      <a:pt x="0" y="140822"/>
                    </a:cubicBezTo>
                    <a:cubicBezTo>
                      <a:pt x="0" y="140822"/>
                      <a:pt x="13720" y="337680"/>
                      <a:pt x="22237" y="351438"/>
                    </a:cubicBezTo>
                    <a:cubicBezTo>
                      <a:pt x="30716" y="365158"/>
                      <a:pt x="35957" y="319566"/>
                      <a:pt x="43742" y="229154"/>
                    </a:cubicBezTo>
                    <a:close/>
                  </a:path>
                </a:pathLst>
              </a:custGeom>
              <a:solidFill>
                <a:srgbClr val="46402B"/>
              </a:solidFill>
              <a:ln w="3842" cap="flat">
                <a:noFill/>
                <a:prstDash val="solid"/>
                <a:miter/>
              </a:ln>
            </p:spPr>
            <p:txBody>
              <a:bodyPr rtlCol="0" anchor="ctr"/>
              <a:lstStyle/>
              <a:p>
                <a:endParaRPr lang="en-ID"/>
              </a:p>
            </p:txBody>
          </p:sp>
          <p:sp>
            <p:nvSpPr>
              <p:cNvPr id="78" name="Freeform: Shape 77">
                <a:extLst>
                  <a:ext uri="{FF2B5EF4-FFF2-40B4-BE49-F238E27FC236}">
                    <a16:creationId xmlns:a16="http://schemas.microsoft.com/office/drawing/2014/main" id="{0C260BD6-2CC5-49CB-880D-6C280ABC9017}"/>
                  </a:ext>
                </a:extLst>
              </p:cNvPr>
              <p:cNvSpPr/>
              <p:nvPr/>
            </p:nvSpPr>
            <p:spPr>
              <a:xfrm>
                <a:off x="7635177" y="3214168"/>
                <a:ext cx="208111" cy="165718"/>
              </a:xfrm>
              <a:custGeom>
                <a:avLst/>
                <a:gdLst>
                  <a:gd name="connsiteX0" fmla="*/ 209345 w 208111"/>
                  <a:gd name="connsiteY0" fmla="*/ 2582 h 165718"/>
                  <a:gd name="connsiteX1" fmla="*/ 208535 w 208111"/>
                  <a:gd name="connsiteY1" fmla="*/ 11138 h 165718"/>
                  <a:gd name="connsiteX2" fmla="*/ 205915 w 208111"/>
                  <a:gd name="connsiteY2" fmla="*/ 39040 h 165718"/>
                  <a:gd name="connsiteX3" fmla="*/ 205259 w 208111"/>
                  <a:gd name="connsiteY3" fmla="*/ 46054 h 165718"/>
                  <a:gd name="connsiteX4" fmla="*/ 204142 w 208111"/>
                  <a:gd name="connsiteY4" fmla="*/ 57693 h 165718"/>
                  <a:gd name="connsiteX5" fmla="*/ 203487 w 208111"/>
                  <a:gd name="connsiteY5" fmla="*/ 64746 h 165718"/>
                  <a:gd name="connsiteX6" fmla="*/ 158473 w 208111"/>
                  <a:gd name="connsiteY6" fmla="*/ 87407 h 165718"/>
                  <a:gd name="connsiteX7" fmla="*/ 97851 w 208111"/>
                  <a:gd name="connsiteY7" fmla="*/ 166797 h 165718"/>
                  <a:gd name="connsiteX8" fmla="*/ 10290 w 208111"/>
                  <a:gd name="connsiteY8" fmla="*/ 166797 h 165718"/>
                  <a:gd name="connsiteX9" fmla="*/ 9712 w 208111"/>
                  <a:gd name="connsiteY9" fmla="*/ 157587 h 165718"/>
                  <a:gd name="connsiteX10" fmla="*/ 2659 w 208111"/>
                  <a:gd name="connsiteY10" fmla="*/ 46632 h 165718"/>
                  <a:gd name="connsiteX11" fmla="*/ 424 w 208111"/>
                  <a:gd name="connsiteY11" fmla="*/ 11138 h 165718"/>
                  <a:gd name="connsiteX12" fmla="*/ 116 w 208111"/>
                  <a:gd name="connsiteY12" fmla="*/ 6398 h 165718"/>
                  <a:gd name="connsiteX13" fmla="*/ 0 w 208111"/>
                  <a:gd name="connsiteY13" fmla="*/ 4740 h 165718"/>
                  <a:gd name="connsiteX14" fmla="*/ 117660 w 208111"/>
                  <a:gd name="connsiteY14" fmla="*/ 1465 h 165718"/>
                  <a:gd name="connsiteX15" fmla="*/ 170304 w 208111"/>
                  <a:gd name="connsiteY15" fmla="*/ 0 h 165718"/>
                  <a:gd name="connsiteX16" fmla="*/ 171923 w 208111"/>
                  <a:gd name="connsiteY16" fmla="*/ 116 h 165718"/>
                  <a:gd name="connsiteX17" fmla="*/ 207803 w 208111"/>
                  <a:gd name="connsiteY17" fmla="*/ 2505 h 165718"/>
                  <a:gd name="connsiteX18" fmla="*/ 209345 w 208111"/>
                  <a:gd name="connsiteY18" fmla="*/ 2582 h 165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8111" h="165718">
                    <a:moveTo>
                      <a:pt x="209345" y="2582"/>
                    </a:moveTo>
                    <a:lnTo>
                      <a:pt x="208535" y="11138"/>
                    </a:lnTo>
                    <a:lnTo>
                      <a:pt x="205915" y="39040"/>
                    </a:lnTo>
                    <a:lnTo>
                      <a:pt x="205259" y="46054"/>
                    </a:lnTo>
                    <a:lnTo>
                      <a:pt x="204142" y="57693"/>
                    </a:lnTo>
                    <a:lnTo>
                      <a:pt x="203487" y="64746"/>
                    </a:lnTo>
                    <a:cubicBezTo>
                      <a:pt x="192927" y="66943"/>
                      <a:pt x="176856" y="72685"/>
                      <a:pt x="158473" y="87407"/>
                    </a:cubicBezTo>
                    <a:cubicBezTo>
                      <a:pt x="139589" y="102476"/>
                      <a:pt x="118277" y="126986"/>
                      <a:pt x="97851" y="166797"/>
                    </a:cubicBezTo>
                    <a:lnTo>
                      <a:pt x="10290" y="166797"/>
                    </a:lnTo>
                    <a:lnTo>
                      <a:pt x="9712" y="157587"/>
                    </a:lnTo>
                    <a:lnTo>
                      <a:pt x="2659" y="46632"/>
                    </a:lnTo>
                    <a:lnTo>
                      <a:pt x="424" y="11138"/>
                    </a:lnTo>
                    <a:lnTo>
                      <a:pt x="116" y="6398"/>
                    </a:lnTo>
                    <a:lnTo>
                      <a:pt x="0" y="4740"/>
                    </a:lnTo>
                    <a:lnTo>
                      <a:pt x="117660" y="1465"/>
                    </a:lnTo>
                    <a:lnTo>
                      <a:pt x="170304" y="0"/>
                    </a:lnTo>
                    <a:lnTo>
                      <a:pt x="171923" y="116"/>
                    </a:lnTo>
                    <a:lnTo>
                      <a:pt x="207803" y="2505"/>
                    </a:lnTo>
                    <a:lnTo>
                      <a:pt x="209345" y="2582"/>
                    </a:lnTo>
                    <a:close/>
                  </a:path>
                </a:pathLst>
              </a:custGeom>
              <a:solidFill>
                <a:srgbClr val="706C3A"/>
              </a:solidFill>
              <a:ln w="3842" cap="flat">
                <a:noFill/>
                <a:prstDash val="solid"/>
                <a:miter/>
              </a:ln>
            </p:spPr>
            <p:txBody>
              <a:bodyPr rtlCol="0" anchor="ctr"/>
              <a:lstStyle/>
              <a:p>
                <a:endParaRPr lang="en-ID"/>
              </a:p>
            </p:txBody>
          </p:sp>
          <p:sp>
            <p:nvSpPr>
              <p:cNvPr id="79" name="Freeform: Shape 78">
                <a:extLst>
                  <a:ext uri="{FF2B5EF4-FFF2-40B4-BE49-F238E27FC236}">
                    <a16:creationId xmlns:a16="http://schemas.microsoft.com/office/drawing/2014/main" id="{3831297B-0760-4726-9A58-8F2D490A9EF7}"/>
                  </a:ext>
                </a:extLst>
              </p:cNvPr>
              <p:cNvSpPr/>
              <p:nvPr/>
            </p:nvSpPr>
            <p:spPr>
              <a:xfrm>
                <a:off x="7618374" y="3168037"/>
                <a:ext cx="238943" cy="53955"/>
              </a:xfrm>
              <a:custGeom>
                <a:avLst/>
                <a:gdLst>
                  <a:gd name="connsiteX0" fmla="*/ 13566 w 238942"/>
                  <a:gd name="connsiteY0" fmla="*/ 0 h 53954"/>
                  <a:gd name="connsiteX1" fmla="*/ 0 w 238942"/>
                  <a:gd name="connsiteY1" fmla="*/ 57269 h 53954"/>
                  <a:gd name="connsiteX2" fmla="*/ 241910 w 238942"/>
                  <a:gd name="connsiteY2" fmla="*/ 57269 h 53954"/>
                  <a:gd name="connsiteX3" fmla="*/ 226649 w 238942"/>
                  <a:gd name="connsiteY3" fmla="*/ 0 h 53954"/>
                </a:gdLst>
                <a:ahLst/>
                <a:cxnLst>
                  <a:cxn ang="0">
                    <a:pos x="connsiteX0" y="connsiteY0"/>
                  </a:cxn>
                  <a:cxn ang="0">
                    <a:pos x="connsiteX1" y="connsiteY1"/>
                  </a:cxn>
                  <a:cxn ang="0">
                    <a:pos x="connsiteX2" y="connsiteY2"/>
                  </a:cxn>
                  <a:cxn ang="0">
                    <a:pos x="connsiteX3" y="connsiteY3"/>
                  </a:cxn>
                </a:cxnLst>
                <a:rect l="l" t="t" r="r" b="b"/>
                <a:pathLst>
                  <a:path w="238942" h="53954">
                    <a:moveTo>
                      <a:pt x="13566" y="0"/>
                    </a:moveTo>
                    <a:lnTo>
                      <a:pt x="0" y="57269"/>
                    </a:lnTo>
                    <a:lnTo>
                      <a:pt x="241910" y="57269"/>
                    </a:lnTo>
                    <a:lnTo>
                      <a:pt x="226649" y="0"/>
                    </a:lnTo>
                    <a:close/>
                  </a:path>
                </a:pathLst>
              </a:custGeom>
              <a:solidFill>
                <a:srgbClr val="858045"/>
              </a:solidFill>
              <a:ln w="3842" cap="flat">
                <a:noFill/>
                <a:prstDash val="solid"/>
                <a:miter/>
              </a:ln>
            </p:spPr>
            <p:txBody>
              <a:bodyPr rtlCol="0" anchor="ctr"/>
              <a:lstStyle/>
              <a:p>
                <a:endParaRPr lang="en-ID"/>
              </a:p>
            </p:txBody>
          </p:sp>
        </p:grpSp>
        <p:grpSp>
          <p:nvGrpSpPr>
            <p:cNvPr id="25" name="Graphic 6">
              <a:extLst>
                <a:ext uri="{FF2B5EF4-FFF2-40B4-BE49-F238E27FC236}">
                  <a16:creationId xmlns:a16="http://schemas.microsoft.com/office/drawing/2014/main" id="{AD86E768-648F-42F3-BE9F-065E1A66F3AB}"/>
                </a:ext>
              </a:extLst>
            </p:cNvPr>
            <p:cNvGrpSpPr/>
            <p:nvPr/>
          </p:nvGrpSpPr>
          <p:grpSpPr>
            <a:xfrm>
              <a:off x="8709661" y="3362759"/>
              <a:ext cx="184988" cy="277482"/>
              <a:chOff x="8754045" y="3103522"/>
              <a:chExt cx="184988" cy="277482"/>
            </a:xfrm>
            <a:solidFill>
              <a:schemeClr val="accent1"/>
            </a:solidFill>
          </p:grpSpPr>
          <p:sp>
            <p:nvSpPr>
              <p:cNvPr id="63" name="Freeform: Shape 62">
                <a:extLst>
                  <a:ext uri="{FF2B5EF4-FFF2-40B4-BE49-F238E27FC236}">
                    <a16:creationId xmlns:a16="http://schemas.microsoft.com/office/drawing/2014/main" id="{45AA82D8-EAA8-4708-83AF-430BCE67F95B}"/>
                  </a:ext>
                </a:extLst>
              </p:cNvPr>
              <p:cNvSpPr/>
              <p:nvPr/>
            </p:nvSpPr>
            <p:spPr>
              <a:xfrm>
                <a:off x="8754045" y="3216673"/>
                <a:ext cx="184988" cy="161864"/>
              </a:xfrm>
              <a:custGeom>
                <a:avLst/>
                <a:gdLst>
                  <a:gd name="connsiteX0" fmla="*/ 175083 w 184987"/>
                  <a:gd name="connsiteY0" fmla="*/ 29752 h 161864"/>
                  <a:gd name="connsiteX1" fmla="*/ 139319 w 184987"/>
                  <a:gd name="connsiteY1" fmla="*/ 26900 h 161864"/>
                  <a:gd name="connsiteX2" fmla="*/ 143057 w 184987"/>
                  <a:gd name="connsiteY2" fmla="*/ 0 h 161864"/>
                  <a:gd name="connsiteX3" fmla="*/ 0 w 184987"/>
                  <a:gd name="connsiteY3" fmla="*/ 0 h 161864"/>
                  <a:gd name="connsiteX4" fmla="*/ 22892 w 184987"/>
                  <a:gd name="connsiteY4" fmla="*/ 164331 h 161864"/>
                  <a:gd name="connsiteX5" fmla="*/ 120165 w 184987"/>
                  <a:gd name="connsiteY5" fmla="*/ 164331 h 161864"/>
                  <a:gd name="connsiteX6" fmla="*/ 122323 w 184987"/>
                  <a:gd name="connsiteY6" fmla="*/ 148992 h 161864"/>
                  <a:gd name="connsiteX7" fmla="*/ 124366 w 184987"/>
                  <a:gd name="connsiteY7" fmla="*/ 134232 h 161864"/>
                  <a:gd name="connsiteX8" fmla="*/ 162943 w 184987"/>
                  <a:gd name="connsiteY8" fmla="*/ 119009 h 161864"/>
                  <a:gd name="connsiteX9" fmla="*/ 187262 w 184987"/>
                  <a:gd name="connsiteY9" fmla="*/ 56383 h 161864"/>
                  <a:gd name="connsiteX10" fmla="*/ 175083 w 184987"/>
                  <a:gd name="connsiteY10" fmla="*/ 29752 h 161864"/>
                  <a:gd name="connsiteX11" fmla="*/ 152422 w 184987"/>
                  <a:gd name="connsiteY11" fmla="*/ 107486 h 161864"/>
                  <a:gd name="connsiteX12" fmla="*/ 126562 w 184987"/>
                  <a:gd name="connsiteY12" fmla="*/ 118508 h 161864"/>
                  <a:gd name="connsiteX13" fmla="*/ 136968 w 184987"/>
                  <a:gd name="connsiteY13" fmla="*/ 43858 h 161864"/>
                  <a:gd name="connsiteX14" fmla="*/ 166450 w 184987"/>
                  <a:gd name="connsiteY14" fmla="*/ 42740 h 161864"/>
                  <a:gd name="connsiteX15" fmla="*/ 171692 w 184987"/>
                  <a:gd name="connsiteY15" fmla="*/ 56383 h 161864"/>
                  <a:gd name="connsiteX16" fmla="*/ 152422 w 184987"/>
                  <a:gd name="connsiteY16" fmla="*/ 107486 h 16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4987" h="161864">
                    <a:moveTo>
                      <a:pt x="175083" y="29752"/>
                    </a:moveTo>
                    <a:cubicBezTo>
                      <a:pt x="164369" y="22622"/>
                      <a:pt x="149570" y="24318"/>
                      <a:pt x="139319" y="26900"/>
                    </a:cubicBezTo>
                    <a:lnTo>
                      <a:pt x="143057" y="0"/>
                    </a:lnTo>
                    <a:lnTo>
                      <a:pt x="0" y="0"/>
                    </a:lnTo>
                    <a:lnTo>
                      <a:pt x="22892" y="164331"/>
                    </a:lnTo>
                    <a:lnTo>
                      <a:pt x="120165" y="164331"/>
                    </a:lnTo>
                    <a:lnTo>
                      <a:pt x="122323" y="148992"/>
                    </a:lnTo>
                    <a:lnTo>
                      <a:pt x="124366" y="134232"/>
                    </a:lnTo>
                    <a:cubicBezTo>
                      <a:pt x="139088" y="133923"/>
                      <a:pt x="152307" y="128759"/>
                      <a:pt x="162943" y="119009"/>
                    </a:cubicBezTo>
                    <a:cubicBezTo>
                      <a:pt x="178398" y="104865"/>
                      <a:pt x="187262" y="82011"/>
                      <a:pt x="187262" y="56383"/>
                    </a:cubicBezTo>
                    <a:cubicBezTo>
                      <a:pt x="187262" y="41083"/>
                      <a:pt x="180633" y="33452"/>
                      <a:pt x="175083" y="29752"/>
                    </a:cubicBezTo>
                    <a:close/>
                    <a:moveTo>
                      <a:pt x="152422" y="107486"/>
                    </a:moveTo>
                    <a:cubicBezTo>
                      <a:pt x="145177" y="114114"/>
                      <a:pt x="136506" y="117814"/>
                      <a:pt x="126562" y="118508"/>
                    </a:cubicBezTo>
                    <a:lnTo>
                      <a:pt x="136968" y="43858"/>
                    </a:lnTo>
                    <a:cubicBezTo>
                      <a:pt x="144599" y="41275"/>
                      <a:pt x="159089" y="37845"/>
                      <a:pt x="166450" y="42740"/>
                    </a:cubicBezTo>
                    <a:cubicBezTo>
                      <a:pt x="167761" y="43588"/>
                      <a:pt x="171692" y="46208"/>
                      <a:pt x="171692" y="56383"/>
                    </a:cubicBezTo>
                    <a:cubicBezTo>
                      <a:pt x="171692" y="77656"/>
                      <a:pt x="164639" y="96271"/>
                      <a:pt x="152422" y="107486"/>
                    </a:cubicBezTo>
                    <a:close/>
                  </a:path>
                </a:pathLst>
              </a:custGeom>
              <a:solidFill>
                <a:srgbClr val="FF9F55"/>
              </a:solidFill>
              <a:ln w="3842" cap="flat">
                <a:noFill/>
                <a:prstDash val="solid"/>
                <a:miter/>
              </a:ln>
            </p:spPr>
            <p:txBody>
              <a:bodyPr rtlCol="0" anchor="ctr"/>
              <a:lstStyle/>
              <a:p>
                <a:endParaRPr lang="en-ID"/>
              </a:p>
            </p:txBody>
          </p:sp>
          <p:sp>
            <p:nvSpPr>
              <p:cNvPr id="64" name="Freeform: Shape 63">
                <a:extLst>
                  <a:ext uri="{FF2B5EF4-FFF2-40B4-BE49-F238E27FC236}">
                    <a16:creationId xmlns:a16="http://schemas.microsoft.com/office/drawing/2014/main" id="{E964ECF9-009A-4965-9AA8-BA335A724A2A}"/>
                  </a:ext>
                </a:extLst>
              </p:cNvPr>
              <p:cNvSpPr/>
              <p:nvPr/>
            </p:nvSpPr>
            <p:spPr>
              <a:xfrm>
                <a:off x="8754045" y="3216673"/>
                <a:ext cx="119471" cy="161864"/>
              </a:xfrm>
              <a:custGeom>
                <a:avLst/>
                <a:gdLst>
                  <a:gd name="connsiteX0" fmla="*/ 120165 w 119471"/>
                  <a:gd name="connsiteY0" fmla="*/ 164331 h 161864"/>
                  <a:gd name="connsiteX1" fmla="*/ 120165 w 119471"/>
                  <a:gd name="connsiteY1" fmla="*/ 164331 h 161864"/>
                  <a:gd name="connsiteX2" fmla="*/ 22892 w 119471"/>
                  <a:gd name="connsiteY2" fmla="*/ 164331 h 161864"/>
                  <a:gd name="connsiteX3" fmla="*/ 0 w 119471"/>
                  <a:gd name="connsiteY3" fmla="*/ 0 h 161864"/>
                  <a:gd name="connsiteX4" fmla="*/ 52683 w 119471"/>
                  <a:gd name="connsiteY4" fmla="*/ 0 h 161864"/>
                  <a:gd name="connsiteX5" fmla="*/ 120165 w 119471"/>
                  <a:gd name="connsiteY5" fmla="*/ 164331 h 161864"/>
                  <a:gd name="connsiteX6" fmla="*/ 120165 w 119471"/>
                  <a:gd name="connsiteY6" fmla="*/ 164331 h 16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471" h="161864">
                    <a:moveTo>
                      <a:pt x="120165" y="164331"/>
                    </a:moveTo>
                    <a:lnTo>
                      <a:pt x="120165" y="164331"/>
                    </a:lnTo>
                    <a:lnTo>
                      <a:pt x="22892" y="164331"/>
                    </a:lnTo>
                    <a:lnTo>
                      <a:pt x="0" y="0"/>
                    </a:lnTo>
                    <a:lnTo>
                      <a:pt x="52683" y="0"/>
                    </a:lnTo>
                    <a:cubicBezTo>
                      <a:pt x="52683" y="0"/>
                      <a:pt x="33760" y="148298"/>
                      <a:pt x="120165" y="164331"/>
                    </a:cubicBezTo>
                    <a:cubicBezTo>
                      <a:pt x="120165" y="164331"/>
                      <a:pt x="120165" y="164292"/>
                      <a:pt x="120165" y="164331"/>
                    </a:cubicBezTo>
                    <a:close/>
                  </a:path>
                </a:pathLst>
              </a:custGeom>
              <a:solidFill>
                <a:srgbClr val="FFA155"/>
              </a:solidFill>
              <a:ln w="3842" cap="flat">
                <a:noFill/>
                <a:prstDash val="solid"/>
                <a:miter/>
              </a:ln>
            </p:spPr>
            <p:txBody>
              <a:bodyPr rtlCol="0" anchor="ctr"/>
              <a:lstStyle/>
              <a:p>
                <a:endParaRPr lang="en-ID"/>
              </a:p>
            </p:txBody>
          </p:sp>
          <p:sp>
            <p:nvSpPr>
              <p:cNvPr id="65" name="Freeform: Shape 64">
                <a:extLst>
                  <a:ext uri="{FF2B5EF4-FFF2-40B4-BE49-F238E27FC236}">
                    <a16:creationId xmlns:a16="http://schemas.microsoft.com/office/drawing/2014/main" id="{F547AA44-51CA-4934-980F-A49959E617F9}"/>
                  </a:ext>
                </a:extLst>
              </p:cNvPr>
              <p:cNvSpPr/>
              <p:nvPr/>
            </p:nvSpPr>
            <p:spPr>
              <a:xfrm>
                <a:off x="8798459" y="3103522"/>
                <a:ext cx="34685" cy="111763"/>
              </a:xfrm>
              <a:custGeom>
                <a:avLst/>
                <a:gdLst>
                  <a:gd name="connsiteX0" fmla="*/ 21411 w 34685"/>
                  <a:gd name="connsiteY0" fmla="*/ 0 h 111763"/>
                  <a:gd name="connsiteX1" fmla="*/ 2488 w 34685"/>
                  <a:gd name="connsiteY1" fmla="*/ 36766 h 111763"/>
                  <a:gd name="connsiteX2" fmla="*/ 14743 w 34685"/>
                  <a:gd name="connsiteY2" fmla="*/ 113151 h 111763"/>
                  <a:gd name="connsiteX3" fmla="*/ 32587 w 34685"/>
                  <a:gd name="connsiteY3" fmla="*/ 59620 h 111763"/>
                  <a:gd name="connsiteX4" fmla="*/ 21411 w 34685"/>
                  <a:gd name="connsiteY4" fmla="*/ 0 h 11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85" h="111763">
                    <a:moveTo>
                      <a:pt x="21411" y="0"/>
                    </a:moveTo>
                    <a:cubicBezTo>
                      <a:pt x="21411" y="0"/>
                      <a:pt x="-8688" y="10020"/>
                      <a:pt x="2488" y="36766"/>
                    </a:cubicBezTo>
                    <a:cubicBezTo>
                      <a:pt x="13626" y="63513"/>
                      <a:pt x="32818" y="80354"/>
                      <a:pt x="14743" y="113151"/>
                    </a:cubicBezTo>
                    <a:cubicBezTo>
                      <a:pt x="14743" y="113151"/>
                      <a:pt x="48157" y="93033"/>
                      <a:pt x="32587" y="59620"/>
                    </a:cubicBezTo>
                    <a:cubicBezTo>
                      <a:pt x="16979" y="26207"/>
                      <a:pt x="7498" y="16726"/>
                      <a:pt x="21411" y="0"/>
                    </a:cubicBezTo>
                    <a:close/>
                  </a:path>
                </a:pathLst>
              </a:custGeom>
              <a:solidFill>
                <a:srgbClr val="E6E6E6"/>
              </a:solidFill>
              <a:ln w="3842" cap="flat">
                <a:noFill/>
                <a:prstDash val="solid"/>
                <a:miter/>
              </a:ln>
            </p:spPr>
            <p:txBody>
              <a:bodyPr rtlCol="0" anchor="ctr"/>
              <a:lstStyle/>
              <a:p>
                <a:endParaRPr lang="en-ID"/>
              </a:p>
            </p:txBody>
          </p:sp>
          <p:sp>
            <p:nvSpPr>
              <p:cNvPr id="66" name="Freeform: Shape 65">
                <a:extLst>
                  <a:ext uri="{FF2B5EF4-FFF2-40B4-BE49-F238E27FC236}">
                    <a16:creationId xmlns:a16="http://schemas.microsoft.com/office/drawing/2014/main" id="{D2D3BB21-4490-4FC4-B95B-E838C5D2E58E}"/>
                  </a:ext>
                </a:extLst>
              </p:cNvPr>
              <p:cNvSpPr/>
              <p:nvPr/>
            </p:nvSpPr>
            <p:spPr>
              <a:xfrm>
                <a:off x="8847305" y="3133660"/>
                <a:ext cx="23123" cy="80932"/>
              </a:xfrm>
              <a:custGeom>
                <a:avLst/>
                <a:gdLst>
                  <a:gd name="connsiteX0" fmla="*/ 15690 w 23123"/>
                  <a:gd name="connsiteY0" fmla="*/ 0 h 80932"/>
                  <a:gd name="connsiteX1" fmla="*/ 1816 w 23123"/>
                  <a:gd name="connsiteY1" fmla="*/ 26977 h 80932"/>
                  <a:gd name="connsiteX2" fmla="*/ 10796 w 23123"/>
                  <a:gd name="connsiteY2" fmla="*/ 83013 h 80932"/>
                  <a:gd name="connsiteX3" fmla="*/ 23861 w 23123"/>
                  <a:gd name="connsiteY3" fmla="*/ 43742 h 80932"/>
                  <a:gd name="connsiteX4" fmla="*/ 15690 w 23123"/>
                  <a:gd name="connsiteY4" fmla="*/ 0 h 8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23" h="80932">
                    <a:moveTo>
                      <a:pt x="15690" y="0"/>
                    </a:moveTo>
                    <a:cubicBezTo>
                      <a:pt x="15690" y="0"/>
                      <a:pt x="-6354" y="7361"/>
                      <a:pt x="1816" y="26977"/>
                    </a:cubicBezTo>
                    <a:cubicBezTo>
                      <a:pt x="9986" y="46594"/>
                      <a:pt x="24053" y="58926"/>
                      <a:pt x="10796" y="83013"/>
                    </a:cubicBezTo>
                    <a:cubicBezTo>
                      <a:pt x="10796" y="83013"/>
                      <a:pt x="35307" y="68253"/>
                      <a:pt x="23861" y="43742"/>
                    </a:cubicBezTo>
                    <a:cubicBezTo>
                      <a:pt x="12453" y="19231"/>
                      <a:pt x="5477" y="12294"/>
                      <a:pt x="15690" y="0"/>
                    </a:cubicBezTo>
                    <a:close/>
                  </a:path>
                </a:pathLst>
              </a:custGeom>
              <a:solidFill>
                <a:srgbClr val="E6E6E6"/>
              </a:solidFill>
              <a:ln w="3842" cap="flat">
                <a:noFill/>
                <a:prstDash val="solid"/>
                <a:miter/>
              </a:ln>
            </p:spPr>
            <p:txBody>
              <a:bodyPr rtlCol="0" anchor="ctr"/>
              <a:lstStyle/>
              <a:p>
                <a:endParaRPr lang="en-ID"/>
              </a:p>
            </p:txBody>
          </p:sp>
          <p:sp>
            <p:nvSpPr>
              <p:cNvPr id="67" name="Freeform: Shape 66">
                <a:extLst>
                  <a:ext uri="{FF2B5EF4-FFF2-40B4-BE49-F238E27FC236}">
                    <a16:creationId xmlns:a16="http://schemas.microsoft.com/office/drawing/2014/main" id="{DA54982C-CE8A-4E9F-AB53-4CDCD59B1343}"/>
                  </a:ext>
                </a:extLst>
              </p:cNvPr>
              <p:cNvSpPr/>
              <p:nvPr/>
            </p:nvSpPr>
            <p:spPr>
              <a:xfrm>
                <a:off x="8767105" y="3133660"/>
                <a:ext cx="23123" cy="80932"/>
              </a:xfrm>
              <a:custGeom>
                <a:avLst/>
                <a:gdLst>
                  <a:gd name="connsiteX0" fmla="*/ 15690 w 23123"/>
                  <a:gd name="connsiteY0" fmla="*/ 0 h 80932"/>
                  <a:gd name="connsiteX1" fmla="*/ 1816 w 23123"/>
                  <a:gd name="connsiteY1" fmla="*/ 26977 h 80932"/>
                  <a:gd name="connsiteX2" fmla="*/ 10796 w 23123"/>
                  <a:gd name="connsiteY2" fmla="*/ 83013 h 80932"/>
                  <a:gd name="connsiteX3" fmla="*/ 23861 w 23123"/>
                  <a:gd name="connsiteY3" fmla="*/ 43742 h 80932"/>
                  <a:gd name="connsiteX4" fmla="*/ 15690 w 23123"/>
                  <a:gd name="connsiteY4" fmla="*/ 0 h 8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23" h="80932">
                    <a:moveTo>
                      <a:pt x="15690" y="0"/>
                    </a:moveTo>
                    <a:cubicBezTo>
                      <a:pt x="15690" y="0"/>
                      <a:pt x="-6354" y="7361"/>
                      <a:pt x="1816" y="26977"/>
                    </a:cubicBezTo>
                    <a:cubicBezTo>
                      <a:pt x="9986" y="46594"/>
                      <a:pt x="24053" y="58926"/>
                      <a:pt x="10796" y="83013"/>
                    </a:cubicBezTo>
                    <a:cubicBezTo>
                      <a:pt x="10796" y="83013"/>
                      <a:pt x="35307" y="68253"/>
                      <a:pt x="23861" y="43742"/>
                    </a:cubicBezTo>
                    <a:cubicBezTo>
                      <a:pt x="12414" y="19231"/>
                      <a:pt x="5477" y="12294"/>
                      <a:pt x="15690" y="0"/>
                    </a:cubicBezTo>
                    <a:close/>
                  </a:path>
                </a:pathLst>
              </a:custGeom>
              <a:solidFill>
                <a:srgbClr val="E6E6E6"/>
              </a:solidFill>
              <a:ln w="3842" cap="flat">
                <a:noFill/>
                <a:prstDash val="solid"/>
                <a:miter/>
              </a:ln>
            </p:spPr>
            <p:txBody>
              <a:bodyPr rtlCol="0" anchor="ctr"/>
              <a:lstStyle/>
              <a:p>
                <a:endParaRPr lang="en-ID"/>
              </a:p>
            </p:txBody>
          </p:sp>
        </p:grpSp>
        <p:grpSp>
          <p:nvGrpSpPr>
            <p:cNvPr id="26" name="Group 25">
              <a:extLst>
                <a:ext uri="{FF2B5EF4-FFF2-40B4-BE49-F238E27FC236}">
                  <a16:creationId xmlns:a16="http://schemas.microsoft.com/office/drawing/2014/main" id="{4E72E73E-2336-4184-9268-6E8D87C8406C}"/>
                </a:ext>
              </a:extLst>
            </p:cNvPr>
            <p:cNvGrpSpPr/>
            <p:nvPr/>
          </p:nvGrpSpPr>
          <p:grpSpPr>
            <a:xfrm>
              <a:off x="8294472" y="1896933"/>
              <a:ext cx="1266010" cy="1167234"/>
              <a:chOff x="9122619" y="2754738"/>
              <a:chExt cx="1266010" cy="1167234"/>
            </a:xfrm>
          </p:grpSpPr>
          <p:sp>
            <p:nvSpPr>
              <p:cNvPr id="36" name="Freeform: Shape 35">
                <a:extLst>
                  <a:ext uri="{FF2B5EF4-FFF2-40B4-BE49-F238E27FC236}">
                    <a16:creationId xmlns:a16="http://schemas.microsoft.com/office/drawing/2014/main" id="{3D39EFD6-157E-4B17-8266-FF57B32D3880}"/>
                  </a:ext>
                </a:extLst>
              </p:cNvPr>
              <p:cNvSpPr/>
              <p:nvPr/>
            </p:nvSpPr>
            <p:spPr>
              <a:xfrm>
                <a:off x="9421220" y="3185336"/>
                <a:ext cx="312167" cy="312167"/>
              </a:xfrm>
              <a:custGeom>
                <a:avLst/>
                <a:gdLst>
                  <a:gd name="connsiteX0" fmla="*/ 49600 w 312166"/>
                  <a:gd name="connsiteY0" fmla="*/ 313477 h 312166"/>
                  <a:gd name="connsiteX1" fmla="*/ 263877 w 312166"/>
                  <a:gd name="connsiteY1" fmla="*/ 313477 h 312166"/>
                  <a:gd name="connsiteX2" fmla="*/ 313477 w 312166"/>
                  <a:gd name="connsiteY2" fmla="*/ 263877 h 312166"/>
                  <a:gd name="connsiteX3" fmla="*/ 313477 w 312166"/>
                  <a:gd name="connsiteY3" fmla="*/ 49600 h 312166"/>
                  <a:gd name="connsiteX4" fmla="*/ 263877 w 312166"/>
                  <a:gd name="connsiteY4" fmla="*/ 0 h 312166"/>
                  <a:gd name="connsiteX5" fmla="*/ 49600 w 312166"/>
                  <a:gd name="connsiteY5" fmla="*/ 0 h 312166"/>
                  <a:gd name="connsiteX6" fmla="*/ 0 w 312166"/>
                  <a:gd name="connsiteY6" fmla="*/ 49600 h 312166"/>
                  <a:gd name="connsiteX7" fmla="*/ 0 w 312166"/>
                  <a:gd name="connsiteY7" fmla="*/ 263877 h 312166"/>
                  <a:gd name="connsiteX8" fmla="*/ 49600 w 312166"/>
                  <a:gd name="connsiteY8" fmla="*/ 313477 h 312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66" h="312166">
                    <a:moveTo>
                      <a:pt x="49600" y="313477"/>
                    </a:moveTo>
                    <a:lnTo>
                      <a:pt x="263877" y="313477"/>
                    </a:lnTo>
                    <a:cubicBezTo>
                      <a:pt x="291279" y="313477"/>
                      <a:pt x="313477" y="291279"/>
                      <a:pt x="313477" y="263877"/>
                    </a:cubicBezTo>
                    <a:lnTo>
                      <a:pt x="313477" y="49600"/>
                    </a:lnTo>
                    <a:cubicBezTo>
                      <a:pt x="313477" y="22199"/>
                      <a:pt x="291279" y="0"/>
                      <a:pt x="263877" y="0"/>
                    </a:cubicBezTo>
                    <a:lnTo>
                      <a:pt x="49600" y="0"/>
                    </a:lnTo>
                    <a:cubicBezTo>
                      <a:pt x="22199" y="0"/>
                      <a:pt x="0" y="22199"/>
                      <a:pt x="0" y="49600"/>
                    </a:cubicBezTo>
                    <a:lnTo>
                      <a:pt x="0" y="263877"/>
                    </a:lnTo>
                    <a:cubicBezTo>
                      <a:pt x="0" y="291279"/>
                      <a:pt x="22199" y="313477"/>
                      <a:pt x="49600" y="313477"/>
                    </a:cubicBezTo>
                    <a:close/>
                  </a:path>
                </a:pathLst>
              </a:custGeom>
              <a:solidFill>
                <a:schemeClr val="bg1">
                  <a:alpha val="72000"/>
                </a:schemeClr>
              </a:solidFill>
              <a:ln w="3842" cap="flat">
                <a:noFill/>
                <a:prstDash val="solid"/>
                <a:miter/>
              </a:ln>
            </p:spPr>
            <p:txBody>
              <a:bodyPr rtlCol="0" anchor="ctr"/>
              <a:lstStyle/>
              <a:p>
                <a:endParaRPr lang="en-ID"/>
              </a:p>
            </p:txBody>
          </p:sp>
          <p:sp>
            <p:nvSpPr>
              <p:cNvPr id="37" name="Freeform: Shape 36">
                <a:extLst>
                  <a:ext uri="{FF2B5EF4-FFF2-40B4-BE49-F238E27FC236}">
                    <a16:creationId xmlns:a16="http://schemas.microsoft.com/office/drawing/2014/main" id="{0D47250E-568E-48C5-A5E1-6018BED5DCCD}"/>
                  </a:ext>
                </a:extLst>
              </p:cNvPr>
              <p:cNvSpPr/>
              <p:nvPr/>
            </p:nvSpPr>
            <p:spPr>
              <a:xfrm>
                <a:off x="9825958" y="3243067"/>
                <a:ext cx="296751" cy="26977"/>
              </a:xfrm>
              <a:custGeom>
                <a:avLst/>
                <a:gdLst>
                  <a:gd name="connsiteX0" fmla="*/ 0 w 296751"/>
                  <a:gd name="connsiteY0" fmla="*/ 0 h 26977"/>
                  <a:gd name="connsiteX1" fmla="*/ 300027 w 296751"/>
                  <a:gd name="connsiteY1" fmla="*/ 0 h 26977"/>
                  <a:gd name="connsiteX2" fmla="*/ 300027 w 296751"/>
                  <a:gd name="connsiteY2" fmla="*/ 27555 h 26977"/>
                  <a:gd name="connsiteX3" fmla="*/ 0 w 296751"/>
                  <a:gd name="connsiteY3" fmla="*/ 27555 h 26977"/>
                </a:gdLst>
                <a:ahLst/>
                <a:cxnLst>
                  <a:cxn ang="0">
                    <a:pos x="connsiteX0" y="connsiteY0"/>
                  </a:cxn>
                  <a:cxn ang="0">
                    <a:pos x="connsiteX1" y="connsiteY1"/>
                  </a:cxn>
                  <a:cxn ang="0">
                    <a:pos x="connsiteX2" y="connsiteY2"/>
                  </a:cxn>
                  <a:cxn ang="0">
                    <a:pos x="connsiteX3" y="connsiteY3"/>
                  </a:cxn>
                </a:cxnLst>
                <a:rect l="l" t="t" r="r" b="b"/>
                <a:pathLst>
                  <a:path w="296751" h="26977">
                    <a:moveTo>
                      <a:pt x="0" y="0"/>
                    </a:moveTo>
                    <a:lnTo>
                      <a:pt x="300027" y="0"/>
                    </a:lnTo>
                    <a:lnTo>
                      <a:pt x="300027" y="27555"/>
                    </a:lnTo>
                    <a:lnTo>
                      <a:pt x="0" y="27555"/>
                    </a:lnTo>
                    <a:close/>
                  </a:path>
                </a:pathLst>
              </a:custGeom>
              <a:solidFill>
                <a:schemeClr val="bg1"/>
              </a:solidFill>
              <a:ln w="384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38" name="Freeform: Shape 37">
                <a:extLst>
                  <a:ext uri="{FF2B5EF4-FFF2-40B4-BE49-F238E27FC236}">
                    <a16:creationId xmlns:a16="http://schemas.microsoft.com/office/drawing/2014/main" id="{5CF1AB2C-29F5-441E-A72A-BC1605263B07}"/>
                  </a:ext>
                </a:extLst>
              </p:cNvPr>
              <p:cNvSpPr/>
              <p:nvPr/>
            </p:nvSpPr>
            <p:spPr>
              <a:xfrm>
                <a:off x="9825958" y="3367394"/>
                <a:ext cx="516424" cy="26977"/>
              </a:xfrm>
              <a:custGeom>
                <a:avLst/>
                <a:gdLst>
                  <a:gd name="connsiteX0" fmla="*/ 0 w 516424"/>
                  <a:gd name="connsiteY0" fmla="*/ 0 h 26977"/>
                  <a:gd name="connsiteX1" fmla="*/ 518698 w 516424"/>
                  <a:gd name="connsiteY1" fmla="*/ 0 h 26977"/>
                  <a:gd name="connsiteX2" fmla="*/ 518698 w 516424"/>
                  <a:gd name="connsiteY2" fmla="*/ 27555 h 26977"/>
                  <a:gd name="connsiteX3" fmla="*/ 0 w 516424"/>
                  <a:gd name="connsiteY3" fmla="*/ 27555 h 26977"/>
                </a:gdLst>
                <a:ahLst/>
                <a:cxnLst>
                  <a:cxn ang="0">
                    <a:pos x="connsiteX0" y="connsiteY0"/>
                  </a:cxn>
                  <a:cxn ang="0">
                    <a:pos x="connsiteX1" y="connsiteY1"/>
                  </a:cxn>
                  <a:cxn ang="0">
                    <a:pos x="connsiteX2" y="connsiteY2"/>
                  </a:cxn>
                  <a:cxn ang="0">
                    <a:pos x="connsiteX3" y="connsiteY3"/>
                  </a:cxn>
                </a:cxnLst>
                <a:rect l="l" t="t" r="r" b="b"/>
                <a:pathLst>
                  <a:path w="516424" h="26977">
                    <a:moveTo>
                      <a:pt x="0" y="0"/>
                    </a:moveTo>
                    <a:lnTo>
                      <a:pt x="518698" y="0"/>
                    </a:lnTo>
                    <a:lnTo>
                      <a:pt x="518698" y="27555"/>
                    </a:lnTo>
                    <a:lnTo>
                      <a:pt x="0" y="27555"/>
                    </a:lnTo>
                    <a:close/>
                  </a:path>
                </a:pathLst>
              </a:custGeom>
              <a:solidFill>
                <a:schemeClr val="bg1"/>
              </a:solidFill>
              <a:ln w="384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39" name="Freeform: Shape 38">
                <a:extLst>
                  <a:ext uri="{FF2B5EF4-FFF2-40B4-BE49-F238E27FC236}">
                    <a16:creationId xmlns:a16="http://schemas.microsoft.com/office/drawing/2014/main" id="{BEB1AB67-209D-40B2-AE41-43BB063F8F2C}"/>
                  </a:ext>
                </a:extLst>
              </p:cNvPr>
              <p:cNvSpPr/>
              <p:nvPr/>
            </p:nvSpPr>
            <p:spPr>
              <a:xfrm>
                <a:off x="9825958" y="3305231"/>
                <a:ext cx="404661" cy="26977"/>
              </a:xfrm>
              <a:custGeom>
                <a:avLst/>
                <a:gdLst>
                  <a:gd name="connsiteX0" fmla="*/ 0 w 404660"/>
                  <a:gd name="connsiteY0" fmla="*/ 0 h 26977"/>
                  <a:gd name="connsiteX1" fmla="*/ 407821 w 404660"/>
                  <a:gd name="connsiteY1" fmla="*/ 0 h 26977"/>
                  <a:gd name="connsiteX2" fmla="*/ 407821 w 404660"/>
                  <a:gd name="connsiteY2" fmla="*/ 27555 h 26977"/>
                  <a:gd name="connsiteX3" fmla="*/ 0 w 404660"/>
                  <a:gd name="connsiteY3" fmla="*/ 27555 h 26977"/>
                </a:gdLst>
                <a:ahLst/>
                <a:cxnLst>
                  <a:cxn ang="0">
                    <a:pos x="connsiteX0" y="connsiteY0"/>
                  </a:cxn>
                  <a:cxn ang="0">
                    <a:pos x="connsiteX1" y="connsiteY1"/>
                  </a:cxn>
                  <a:cxn ang="0">
                    <a:pos x="connsiteX2" y="connsiteY2"/>
                  </a:cxn>
                  <a:cxn ang="0">
                    <a:pos x="connsiteX3" y="connsiteY3"/>
                  </a:cxn>
                </a:cxnLst>
                <a:rect l="l" t="t" r="r" b="b"/>
                <a:pathLst>
                  <a:path w="404660" h="26977">
                    <a:moveTo>
                      <a:pt x="0" y="0"/>
                    </a:moveTo>
                    <a:lnTo>
                      <a:pt x="407821" y="0"/>
                    </a:lnTo>
                    <a:lnTo>
                      <a:pt x="407821" y="27555"/>
                    </a:lnTo>
                    <a:lnTo>
                      <a:pt x="0" y="27555"/>
                    </a:lnTo>
                    <a:close/>
                  </a:path>
                </a:pathLst>
              </a:custGeom>
              <a:solidFill>
                <a:schemeClr val="bg1"/>
              </a:solidFill>
              <a:ln w="384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40" name="Freeform: Shape 39">
                <a:extLst>
                  <a:ext uri="{FF2B5EF4-FFF2-40B4-BE49-F238E27FC236}">
                    <a16:creationId xmlns:a16="http://schemas.microsoft.com/office/drawing/2014/main" id="{A863079A-CF9E-40CB-80F8-E5F9C0595353}"/>
                  </a:ext>
                </a:extLst>
              </p:cNvPr>
              <p:cNvSpPr/>
              <p:nvPr/>
            </p:nvSpPr>
            <p:spPr>
              <a:xfrm>
                <a:off x="9825958" y="3429558"/>
                <a:ext cx="223527" cy="26977"/>
              </a:xfrm>
              <a:custGeom>
                <a:avLst/>
                <a:gdLst>
                  <a:gd name="connsiteX0" fmla="*/ 0 w 223526"/>
                  <a:gd name="connsiteY0" fmla="*/ 0 h 26977"/>
                  <a:gd name="connsiteX1" fmla="*/ 226109 w 223526"/>
                  <a:gd name="connsiteY1" fmla="*/ 0 h 26977"/>
                  <a:gd name="connsiteX2" fmla="*/ 226109 w 223526"/>
                  <a:gd name="connsiteY2" fmla="*/ 27555 h 26977"/>
                  <a:gd name="connsiteX3" fmla="*/ 0 w 223526"/>
                  <a:gd name="connsiteY3" fmla="*/ 27555 h 26977"/>
                </a:gdLst>
                <a:ahLst/>
                <a:cxnLst>
                  <a:cxn ang="0">
                    <a:pos x="connsiteX0" y="connsiteY0"/>
                  </a:cxn>
                  <a:cxn ang="0">
                    <a:pos x="connsiteX1" y="connsiteY1"/>
                  </a:cxn>
                  <a:cxn ang="0">
                    <a:pos x="connsiteX2" y="connsiteY2"/>
                  </a:cxn>
                  <a:cxn ang="0">
                    <a:pos x="connsiteX3" y="connsiteY3"/>
                  </a:cxn>
                </a:cxnLst>
                <a:rect l="l" t="t" r="r" b="b"/>
                <a:pathLst>
                  <a:path w="223526" h="26977">
                    <a:moveTo>
                      <a:pt x="0" y="0"/>
                    </a:moveTo>
                    <a:lnTo>
                      <a:pt x="226109" y="0"/>
                    </a:lnTo>
                    <a:lnTo>
                      <a:pt x="226109" y="27555"/>
                    </a:lnTo>
                    <a:lnTo>
                      <a:pt x="0" y="27555"/>
                    </a:lnTo>
                    <a:close/>
                  </a:path>
                </a:pathLst>
              </a:custGeom>
              <a:solidFill>
                <a:schemeClr val="bg1"/>
              </a:solidFill>
              <a:ln w="384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grpSp>
            <p:nvGrpSpPr>
              <p:cNvPr id="41" name="Graphic 6">
                <a:extLst>
                  <a:ext uri="{FF2B5EF4-FFF2-40B4-BE49-F238E27FC236}">
                    <a16:creationId xmlns:a16="http://schemas.microsoft.com/office/drawing/2014/main" id="{08567737-DD03-47B1-8494-8FB48412E745}"/>
                  </a:ext>
                </a:extLst>
              </p:cNvPr>
              <p:cNvGrpSpPr/>
              <p:nvPr/>
            </p:nvGrpSpPr>
            <p:grpSpPr>
              <a:xfrm>
                <a:off x="9469086" y="3267578"/>
                <a:ext cx="215819" cy="146449"/>
                <a:chOff x="8865770" y="2551141"/>
                <a:chExt cx="215819" cy="146449"/>
              </a:xfrm>
              <a:solidFill>
                <a:schemeClr val="accent1"/>
              </a:solidFill>
            </p:grpSpPr>
            <p:sp>
              <p:nvSpPr>
                <p:cNvPr id="60" name="Freeform: Shape 59">
                  <a:extLst>
                    <a:ext uri="{FF2B5EF4-FFF2-40B4-BE49-F238E27FC236}">
                      <a16:creationId xmlns:a16="http://schemas.microsoft.com/office/drawing/2014/main" id="{A3EB540E-D6F4-49B5-96EC-69EB54AF2342}"/>
                    </a:ext>
                  </a:extLst>
                </p:cNvPr>
                <p:cNvSpPr/>
                <p:nvPr/>
              </p:nvSpPr>
              <p:spPr>
                <a:xfrm>
                  <a:off x="8865808" y="2551141"/>
                  <a:ext cx="215819" cy="146449"/>
                </a:xfrm>
                <a:custGeom>
                  <a:avLst/>
                  <a:gdLst>
                    <a:gd name="connsiteX0" fmla="*/ 0 w 215819"/>
                    <a:gd name="connsiteY0" fmla="*/ 0 h 146448"/>
                    <a:gd name="connsiteX1" fmla="*/ 217669 w 215819"/>
                    <a:gd name="connsiteY1" fmla="*/ 0 h 146448"/>
                    <a:gd name="connsiteX2" fmla="*/ 217669 w 215819"/>
                    <a:gd name="connsiteY2" fmla="*/ 149031 h 146448"/>
                    <a:gd name="connsiteX3" fmla="*/ 0 w 215819"/>
                    <a:gd name="connsiteY3" fmla="*/ 149031 h 146448"/>
                  </a:gdLst>
                  <a:ahLst/>
                  <a:cxnLst>
                    <a:cxn ang="0">
                      <a:pos x="connsiteX0" y="connsiteY0"/>
                    </a:cxn>
                    <a:cxn ang="0">
                      <a:pos x="connsiteX1" y="connsiteY1"/>
                    </a:cxn>
                    <a:cxn ang="0">
                      <a:pos x="connsiteX2" y="connsiteY2"/>
                    </a:cxn>
                    <a:cxn ang="0">
                      <a:pos x="connsiteX3" y="connsiteY3"/>
                    </a:cxn>
                  </a:cxnLst>
                  <a:rect l="l" t="t" r="r" b="b"/>
                  <a:pathLst>
                    <a:path w="215819" h="146448">
                      <a:moveTo>
                        <a:pt x="0" y="0"/>
                      </a:moveTo>
                      <a:lnTo>
                        <a:pt x="217669" y="0"/>
                      </a:lnTo>
                      <a:lnTo>
                        <a:pt x="217669" y="149031"/>
                      </a:lnTo>
                      <a:lnTo>
                        <a:pt x="0" y="149031"/>
                      </a:lnTo>
                      <a:close/>
                    </a:path>
                  </a:pathLst>
                </a:custGeom>
                <a:solidFill>
                  <a:srgbClr val="7ABFFA"/>
                </a:solidFill>
                <a:ln w="3842" cap="flat">
                  <a:noFill/>
                  <a:prstDash val="solid"/>
                  <a:miter/>
                </a:ln>
              </p:spPr>
              <p:txBody>
                <a:bodyPr rtlCol="0" anchor="ctr"/>
                <a:lstStyle/>
                <a:p>
                  <a:endParaRPr lang="en-ID"/>
                </a:p>
              </p:txBody>
            </p:sp>
            <p:sp>
              <p:nvSpPr>
                <p:cNvPr id="61" name="Freeform: Shape 60">
                  <a:extLst>
                    <a:ext uri="{FF2B5EF4-FFF2-40B4-BE49-F238E27FC236}">
                      <a16:creationId xmlns:a16="http://schemas.microsoft.com/office/drawing/2014/main" id="{F74C092F-3166-4A4C-8E0F-03306199095F}"/>
                    </a:ext>
                  </a:extLst>
                </p:cNvPr>
                <p:cNvSpPr/>
                <p:nvPr/>
              </p:nvSpPr>
              <p:spPr>
                <a:xfrm>
                  <a:off x="8865808" y="2616850"/>
                  <a:ext cx="215819" cy="80932"/>
                </a:xfrm>
                <a:custGeom>
                  <a:avLst/>
                  <a:gdLst>
                    <a:gd name="connsiteX0" fmla="*/ 0 w 215819"/>
                    <a:gd name="connsiteY0" fmla="*/ 83360 h 80932"/>
                    <a:gd name="connsiteX1" fmla="*/ 108834 w 215819"/>
                    <a:gd name="connsiteY1" fmla="*/ 0 h 80932"/>
                    <a:gd name="connsiteX2" fmla="*/ 217669 w 215819"/>
                    <a:gd name="connsiteY2" fmla="*/ 83322 h 80932"/>
                  </a:gdLst>
                  <a:ahLst/>
                  <a:cxnLst>
                    <a:cxn ang="0">
                      <a:pos x="connsiteX0" y="connsiteY0"/>
                    </a:cxn>
                    <a:cxn ang="0">
                      <a:pos x="connsiteX1" y="connsiteY1"/>
                    </a:cxn>
                    <a:cxn ang="0">
                      <a:pos x="connsiteX2" y="connsiteY2"/>
                    </a:cxn>
                  </a:cxnLst>
                  <a:rect l="l" t="t" r="r" b="b"/>
                  <a:pathLst>
                    <a:path w="215819" h="80932">
                      <a:moveTo>
                        <a:pt x="0" y="83360"/>
                      </a:moveTo>
                      <a:lnTo>
                        <a:pt x="108834" y="0"/>
                      </a:lnTo>
                      <a:lnTo>
                        <a:pt x="217669" y="83322"/>
                      </a:lnTo>
                      <a:close/>
                    </a:path>
                  </a:pathLst>
                </a:custGeom>
                <a:solidFill>
                  <a:srgbClr val="68B4F2"/>
                </a:solidFill>
                <a:ln w="3842" cap="flat">
                  <a:noFill/>
                  <a:prstDash val="solid"/>
                  <a:miter/>
                </a:ln>
              </p:spPr>
              <p:txBody>
                <a:bodyPr rtlCol="0" anchor="ctr"/>
                <a:lstStyle/>
                <a:p>
                  <a:endParaRPr lang="en-ID"/>
                </a:p>
              </p:txBody>
            </p:sp>
            <p:sp>
              <p:nvSpPr>
                <p:cNvPr id="62" name="Freeform: Shape 61">
                  <a:extLst>
                    <a:ext uri="{FF2B5EF4-FFF2-40B4-BE49-F238E27FC236}">
                      <a16:creationId xmlns:a16="http://schemas.microsoft.com/office/drawing/2014/main" id="{2135D3A6-3233-4122-9ECD-2B0616291D30}"/>
                    </a:ext>
                  </a:extLst>
                </p:cNvPr>
                <p:cNvSpPr/>
                <p:nvPr/>
              </p:nvSpPr>
              <p:spPr>
                <a:xfrm>
                  <a:off x="8865770" y="2551141"/>
                  <a:ext cx="215819" cy="92494"/>
                </a:xfrm>
                <a:custGeom>
                  <a:avLst/>
                  <a:gdLst>
                    <a:gd name="connsiteX0" fmla="*/ 217669 w 215819"/>
                    <a:gd name="connsiteY0" fmla="*/ 0 h 92493"/>
                    <a:gd name="connsiteX1" fmla="*/ 108873 w 215819"/>
                    <a:gd name="connsiteY1" fmla="*/ 92841 h 92493"/>
                    <a:gd name="connsiteX2" fmla="*/ 0 w 215819"/>
                    <a:gd name="connsiteY2" fmla="*/ 39 h 92493"/>
                  </a:gdLst>
                  <a:ahLst/>
                  <a:cxnLst>
                    <a:cxn ang="0">
                      <a:pos x="connsiteX0" y="connsiteY0"/>
                    </a:cxn>
                    <a:cxn ang="0">
                      <a:pos x="connsiteX1" y="connsiteY1"/>
                    </a:cxn>
                    <a:cxn ang="0">
                      <a:pos x="connsiteX2" y="connsiteY2"/>
                    </a:cxn>
                  </a:cxnLst>
                  <a:rect l="l" t="t" r="r" b="b"/>
                  <a:pathLst>
                    <a:path w="215819" h="92493">
                      <a:moveTo>
                        <a:pt x="217669" y="0"/>
                      </a:moveTo>
                      <a:lnTo>
                        <a:pt x="108873" y="92841"/>
                      </a:lnTo>
                      <a:lnTo>
                        <a:pt x="0" y="39"/>
                      </a:lnTo>
                      <a:close/>
                    </a:path>
                  </a:pathLst>
                </a:custGeom>
                <a:solidFill>
                  <a:srgbClr val="A3D5FF"/>
                </a:solidFill>
                <a:ln w="3842" cap="flat">
                  <a:noFill/>
                  <a:prstDash val="solid"/>
                  <a:miter/>
                </a:ln>
              </p:spPr>
              <p:txBody>
                <a:bodyPr rtlCol="0" anchor="ctr"/>
                <a:lstStyle/>
                <a:p>
                  <a:endParaRPr lang="en-ID"/>
                </a:p>
              </p:txBody>
            </p:sp>
          </p:grpSp>
          <p:sp>
            <p:nvSpPr>
              <p:cNvPr id="42" name="Freeform: Shape 41">
                <a:extLst>
                  <a:ext uri="{FF2B5EF4-FFF2-40B4-BE49-F238E27FC236}">
                    <a16:creationId xmlns:a16="http://schemas.microsoft.com/office/drawing/2014/main" id="{973D431E-BFC6-4B55-8A2A-1720CF26D7B2}"/>
                  </a:ext>
                </a:extLst>
              </p:cNvPr>
              <p:cNvSpPr/>
              <p:nvPr/>
            </p:nvSpPr>
            <p:spPr>
              <a:xfrm>
                <a:off x="9122619" y="2754738"/>
                <a:ext cx="312167" cy="312167"/>
              </a:xfrm>
              <a:custGeom>
                <a:avLst/>
                <a:gdLst>
                  <a:gd name="connsiteX0" fmla="*/ 49600 w 312166"/>
                  <a:gd name="connsiteY0" fmla="*/ 313439 h 312166"/>
                  <a:gd name="connsiteX1" fmla="*/ 263877 w 312166"/>
                  <a:gd name="connsiteY1" fmla="*/ 313439 h 312166"/>
                  <a:gd name="connsiteX2" fmla="*/ 313477 w 312166"/>
                  <a:gd name="connsiteY2" fmla="*/ 263839 h 312166"/>
                  <a:gd name="connsiteX3" fmla="*/ 313477 w 312166"/>
                  <a:gd name="connsiteY3" fmla="*/ 49561 h 312166"/>
                  <a:gd name="connsiteX4" fmla="*/ 263877 w 312166"/>
                  <a:gd name="connsiteY4" fmla="*/ 0 h 312166"/>
                  <a:gd name="connsiteX5" fmla="*/ 49600 w 312166"/>
                  <a:gd name="connsiteY5" fmla="*/ 0 h 312166"/>
                  <a:gd name="connsiteX6" fmla="*/ 0 w 312166"/>
                  <a:gd name="connsiteY6" fmla="*/ 49600 h 312166"/>
                  <a:gd name="connsiteX7" fmla="*/ 0 w 312166"/>
                  <a:gd name="connsiteY7" fmla="*/ 263877 h 312166"/>
                  <a:gd name="connsiteX8" fmla="*/ 49600 w 312166"/>
                  <a:gd name="connsiteY8" fmla="*/ 313439 h 312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66" h="312166">
                    <a:moveTo>
                      <a:pt x="49600" y="313439"/>
                    </a:moveTo>
                    <a:lnTo>
                      <a:pt x="263877" y="313439"/>
                    </a:lnTo>
                    <a:cubicBezTo>
                      <a:pt x="291279" y="313439"/>
                      <a:pt x="313477" y="291240"/>
                      <a:pt x="313477" y="263839"/>
                    </a:cubicBezTo>
                    <a:lnTo>
                      <a:pt x="313477" y="49561"/>
                    </a:lnTo>
                    <a:cubicBezTo>
                      <a:pt x="313477" y="22199"/>
                      <a:pt x="291279" y="0"/>
                      <a:pt x="263877" y="0"/>
                    </a:cubicBezTo>
                    <a:lnTo>
                      <a:pt x="49600" y="0"/>
                    </a:lnTo>
                    <a:cubicBezTo>
                      <a:pt x="22198" y="0"/>
                      <a:pt x="0" y="22199"/>
                      <a:pt x="0" y="49600"/>
                    </a:cubicBezTo>
                    <a:lnTo>
                      <a:pt x="0" y="263877"/>
                    </a:lnTo>
                    <a:cubicBezTo>
                      <a:pt x="38" y="291240"/>
                      <a:pt x="22237" y="313439"/>
                      <a:pt x="49600" y="313439"/>
                    </a:cubicBezTo>
                    <a:close/>
                  </a:path>
                </a:pathLst>
              </a:custGeom>
              <a:solidFill>
                <a:schemeClr val="bg1">
                  <a:alpha val="72000"/>
                </a:schemeClr>
              </a:solidFill>
              <a:ln w="3842" cap="flat">
                <a:noFill/>
                <a:prstDash val="solid"/>
                <a:miter/>
              </a:ln>
            </p:spPr>
            <p:txBody>
              <a:bodyPr rtlCol="0" anchor="ctr"/>
              <a:lstStyle/>
              <a:p>
                <a:endParaRPr lang="en-ID" dirty="0"/>
              </a:p>
            </p:txBody>
          </p:sp>
          <p:sp>
            <p:nvSpPr>
              <p:cNvPr id="43" name="Freeform: Shape 42">
                <a:extLst>
                  <a:ext uri="{FF2B5EF4-FFF2-40B4-BE49-F238E27FC236}">
                    <a16:creationId xmlns:a16="http://schemas.microsoft.com/office/drawing/2014/main" id="{123D6A73-72EF-4346-9FCF-3E9B3175A2F9}"/>
                  </a:ext>
                </a:extLst>
              </p:cNvPr>
              <p:cNvSpPr/>
              <p:nvPr/>
            </p:nvSpPr>
            <p:spPr>
              <a:xfrm>
                <a:off x="9527357" y="2812431"/>
                <a:ext cx="562671" cy="26977"/>
              </a:xfrm>
              <a:custGeom>
                <a:avLst/>
                <a:gdLst>
                  <a:gd name="connsiteX0" fmla="*/ 0 w 562671"/>
                  <a:gd name="connsiteY0" fmla="*/ 0 h 26977"/>
                  <a:gd name="connsiteX1" fmla="*/ 565176 w 562671"/>
                  <a:gd name="connsiteY1" fmla="*/ 0 h 26977"/>
                  <a:gd name="connsiteX2" fmla="*/ 565176 w 562671"/>
                  <a:gd name="connsiteY2" fmla="*/ 27555 h 26977"/>
                  <a:gd name="connsiteX3" fmla="*/ 0 w 562671"/>
                  <a:gd name="connsiteY3" fmla="*/ 27555 h 26977"/>
                </a:gdLst>
                <a:ahLst/>
                <a:cxnLst>
                  <a:cxn ang="0">
                    <a:pos x="connsiteX0" y="connsiteY0"/>
                  </a:cxn>
                  <a:cxn ang="0">
                    <a:pos x="connsiteX1" y="connsiteY1"/>
                  </a:cxn>
                  <a:cxn ang="0">
                    <a:pos x="connsiteX2" y="connsiteY2"/>
                  </a:cxn>
                  <a:cxn ang="0">
                    <a:pos x="connsiteX3" y="connsiteY3"/>
                  </a:cxn>
                </a:cxnLst>
                <a:rect l="l" t="t" r="r" b="b"/>
                <a:pathLst>
                  <a:path w="562671" h="26977">
                    <a:moveTo>
                      <a:pt x="0" y="0"/>
                    </a:moveTo>
                    <a:lnTo>
                      <a:pt x="565176" y="0"/>
                    </a:lnTo>
                    <a:lnTo>
                      <a:pt x="565176" y="27555"/>
                    </a:lnTo>
                    <a:lnTo>
                      <a:pt x="0" y="27555"/>
                    </a:lnTo>
                    <a:close/>
                  </a:path>
                </a:pathLst>
              </a:custGeom>
              <a:solidFill>
                <a:schemeClr val="bg1"/>
              </a:solidFill>
              <a:ln w="384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44" name="Freeform: Shape 43">
                <a:extLst>
                  <a:ext uri="{FF2B5EF4-FFF2-40B4-BE49-F238E27FC236}">
                    <a16:creationId xmlns:a16="http://schemas.microsoft.com/office/drawing/2014/main" id="{97B03C2C-F2F2-4443-9149-9E0C35EFFD54}"/>
                  </a:ext>
                </a:extLst>
              </p:cNvPr>
              <p:cNvSpPr/>
              <p:nvPr/>
            </p:nvSpPr>
            <p:spPr>
              <a:xfrm>
                <a:off x="9527357" y="2936758"/>
                <a:ext cx="732243" cy="26977"/>
              </a:xfrm>
              <a:custGeom>
                <a:avLst/>
                <a:gdLst>
                  <a:gd name="connsiteX0" fmla="*/ 0 w 732243"/>
                  <a:gd name="connsiteY0" fmla="*/ 0 h 26977"/>
                  <a:gd name="connsiteX1" fmla="*/ 733515 w 732243"/>
                  <a:gd name="connsiteY1" fmla="*/ 0 h 26977"/>
                  <a:gd name="connsiteX2" fmla="*/ 733515 w 732243"/>
                  <a:gd name="connsiteY2" fmla="*/ 27555 h 26977"/>
                  <a:gd name="connsiteX3" fmla="*/ 0 w 732243"/>
                  <a:gd name="connsiteY3" fmla="*/ 27555 h 26977"/>
                </a:gdLst>
                <a:ahLst/>
                <a:cxnLst>
                  <a:cxn ang="0">
                    <a:pos x="connsiteX0" y="connsiteY0"/>
                  </a:cxn>
                  <a:cxn ang="0">
                    <a:pos x="connsiteX1" y="connsiteY1"/>
                  </a:cxn>
                  <a:cxn ang="0">
                    <a:pos x="connsiteX2" y="connsiteY2"/>
                  </a:cxn>
                  <a:cxn ang="0">
                    <a:pos x="connsiteX3" y="connsiteY3"/>
                  </a:cxn>
                </a:cxnLst>
                <a:rect l="l" t="t" r="r" b="b"/>
                <a:pathLst>
                  <a:path w="732243" h="26977">
                    <a:moveTo>
                      <a:pt x="0" y="0"/>
                    </a:moveTo>
                    <a:lnTo>
                      <a:pt x="733515" y="0"/>
                    </a:lnTo>
                    <a:lnTo>
                      <a:pt x="733515" y="27555"/>
                    </a:lnTo>
                    <a:lnTo>
                      <a:pt x="0" y="27555"/>
                    </a:lnTo>
                    <a:close/>
                  </a:path>
                </a:pathLst>
              </a:custGeom>
              <a:solidFill>
                <a:schemeClr val="bg1"/>
              </a:solidFill>
              <a:ln w="384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45" name="Freeform: Shape 44">
                <a:extLst>
                  <a:ext uri="{FF2B5EF4-FFF2-40B4-BE49-F238E27FC236}">
                    <a16:creationId xmlns:a16="http://schemas.microsoft.com/office/drawing/2014/main" id="{E4908D56-9007-41BD-B0F4-6E66C9112B37}"/>
                  </a:ext>
                </a:extLst>
              </p:cNvPr>
              <p:cNvSpPr/>
              <p:nvPr/>
            </p:nvSpPr>
            <p:spPr>
              <a:xfrm>
                <a:off x="9527357" y="2874595"/>
                <a:ext cx="289043" cy="26977"/>
              </a:xfrm>
              <a:custGeom>
                <a:avLst/>
                <a:gdLst>
                  <a:gd name="connsiteX0" fmla="*/ 0 w 289043"/>
                  <a:gd name="connsiteY0" fmla="*/ 0 h 26977"/>
                  <a:gd name="connsiteX1" fmla="*/ 289699 w 289043"/>
                  <a:gd name="connsiteY1" fmla="*/ 0 h 26977"/>
                  <a:gd name="connsiteX2" fmla="*/ 289699 w 289043"/>
                  <a:gd name="connsiteY2" fmla="*/ 27555 h 26977"/>
                  <a:gd name="connsiteX3" fmla="*/ 0 w 289043"/>
                  <a:gd name="connsiteY3" fmla="*/ 27555 h 26977"/>
                </a:gdLst>
                <a:ahLst/>
                <a:cxnLst>
                  <a:cxn ang="0">
                    <a:pos x="connsiteX0" y="connsiteY0"/>
                  </a:cxn>
                  <a:cxn ang="0">
                    <a:pos x="connsiteX1" y="connsiteY1"/>
                  </a:cxn>
                  <a:cxn ang="0">
                    <a:pos x="connsiteX2" y="connsiteY2"/>
                  </a:cxn>
                  <a:cxn ang="0">
                    <a:pos x="connsiteX3" y="connsiteY3"/>
                  </a:cxn>
                </a:cxnLst>
                <a:rect l="l" t="t" r="r" b="b"/>
                <a:pathLst>
                  <a:path w="289043" h="26977">
                    <a:moveTo>
                      <a:pt x="0" y="0"/>
                    </a:moveTo>
                    <a:lnTo>
                      <a:pt x="289699" y="0"/>
                    </a:lnTo>
                    <a:lnTo>
                      <a:pt x="289699" y="27555"/>
                    </a:lnTo>
                    <a:lnTo>
                      <a:pt x="0" y="27555"/>
                    </a:lnTo>
                    <a:close/>
                  </a:path>
                </a:pathLst>
              </a:custGeom>
              <a:solidFill>
                <a:schemeClr val="bg1"/>
              </a:solidFill>
              <a:ln w="384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sp>
            <p:nvSpPr>
              <p:cNvPr id="46" name="Freeform: Shape 45">
                <a:extLst>
                  <a:ext uri="{FF2B5EF4-FFF2-40B4-BE49-F238E27FC236}">
                    <a16:creationId xmlns:a16="http://schemas.microsoft.com/office/drawing/2014/main" id="{56BF56C8-B123-4954-83E2-D6B2678A5CE6}"/>
                  </a:ext>
                </a:extLst>
              </p:cNvPr>
              <p:cNvSpPr/>
              <p:nvPr/>
            </p:nvSpPr>
            <p:spPr>
              <a:xfrm>
                <a:off x="9527357" y="2998883"/>
                <a:ext cx="416222" cy="26977"/>
              </a:xfrm>
              <a:custGeom>
                <a:avLst/>
                <a:gdLst>
                  <a:gd name="connsiteX0" fmla="*/ 0 w 416222"/>
                  <a:gd name="connsiteY0" fmla="*/ 0 h 26977"/>
                  <a:gd name="connsiteX1" fmla="*/ 418265 w 416222"/>
                  <a:gd name="connsiteY1" fmla="*/ 0 h 26977"/>
                  <a:gd name="connsiteX2" fmla="*/ 418265 w 416222"/>
                  <a:gd name="connsiteY2" fmla="*/ 27555 h 26977"/>
                  <a:gd name="connsiteX3" fmla="*/ 0 w 416222"/>
                  <a:gd name="connsiteY3" fmla="*/ 27555 h 26977"/>
                </a:gdLst>
                <a:ahLst/>
                <a:cxnLst>
                  <a:cxn ang="0">
                    <a:pos x="connsiteX0" y="connsiteY0"/>
                  </a:cxn>
                  <a:cxn ang="0">
                    <a:pos x="connsiteX1" y="connsiteY1"/>
                  </a:cxn>
                  <a:cxn ang="0">
                    <a:pos x="connsiteX2" y="connsiteY2"/>
                  </a:cxn>
                  <a:cxn ang="0">
                    <a:pos x="connsiteX3" y="connsiteY3"/>
                  </a:cxn>
                </a:cxnLst>
                <a:rect l="l" t="t" r="r" b="b"/>
                <a:pathLst>
                  <a:path w="416222" h="26977">
                    <a:moveTo>
                      <a:pt x="0" y="0"/>
                    </a:moveTo>
                    <a:lnTo>
                      <a:pt x="418265" y="0"/>
                    </a:lnTo>
                    <a:lnTo>
                      <a:pt x="418265" y="27555"/>
                    </a:lnTo>
                    <a:lnTo>
                      <a:pt x="0" y="27555"/>
                    </a:lnTo>
                    <a:close/>
                  </a:path>
                </a:pathLst>
              </a:custGeom>
              <a:solidFill>
                <a:schemeClr val="bg1"/>
              </a:solidFill>
              <a:ln w="384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D"/>
              </a:p>
            </p:txBody>
          </p:sp>
          <p:grpSp>
            <p:nvGrpSpPr>
              <p:cNvPr id="47" name="Graphic 6">
                <a:extLst>
                  <a:ext uri="{FF2B5EF4-FFF2-40B4-BE49-F238E27FC236}">
                    <a16:creationId xmlns:a16="http://schemas.microsoft.com/office/drawing/2014/main" id="{2032670D-3118-463F-81C6-EFAC3CDA027F}"/>
                  </a:ext>
                </a:extLst>
              </p:cNvPr>
              <p:cNvGrpSpPr/>
              <p:nvPr/>
            </p:nvGrpSpPr>
            <p:grpSpPr>
              <a:xfrm>
                <a:off x="9170523" y="2836903"/>
                <a:ext cx="215819" cy="146449"/>
                <a:chOff x="8567207" y="2120466"/>
                <a:chExt cx="215819" cy="146449"/>
              </a:xfrm>
              <a:solidFill>
                <a:schemeClr val="accent1"/>
              </a:solidFill>
            </p:grpSpPr>
            <p:sp>
              <p:nvSpPr>
                <p:cNvPr id="57" name="Freeform: Shape 56">
                  <a:extLst>
                    <a:ext uri="{FF2B5EF4-FFF2-40B4-BE49-F238E27FC236}">
                      <a16:creationId xmlns:a16="http://schemas.microsoft.com/office/drawing/2014/main" id="{ECDB2C03-0B36-47DC-B7FE-F42A9D612FD2}"/>
                    </a:ext>
                  </a:extLst>
                </p:cNvPr>
                <p:cNvSpPr/>
                <p:nvPr/>
              </p:nvSpPr>
              <p:spPr>
                <a:xfrm>
                  <a:off x="8567207" y="2120505"/>
                  <a:ext cx="215819" cy="146449"/>
                </a:xfrm>
                <a:custGeom>
                  <a:avLst/>
                  <a:gdLst>
                    <a:gd name="connsiteX0" fmla="*/ 0 w 215819"/>
                    <a:gd name="connsiteY0" fmla="*/ 0 h 146448"/>
                    <a:gd name="connsiteX1" fmla="*/ 217669 w 215819"/>
                    <a:gd name="connsiteY1" fmla="*/ 0 h 146448"/>
                    <a:gd name="connsiteX2" fmla="*/ 217669 w 215819"/>
                    <a:gd name="connsiteY2" fmla="*/ 149031 h 146448"/>
                    <a:gd name="connsiteX3" fmla="*/ 0 w 215819"/>
                    <a:gd name="connsiteY3" fmla="*/ 149031 h 146448"/>
                  </a:gdLst>
                  <a:ahLst/>
                  <a:cxnLst>
                    <a:cxn ang="0">
                      <a:pos x="connsiteX0" y="connsiteY0"/>
                    </a:cxn>
                    <a:cxn ang="0">
                      <a:pos x="connsiteX1" y="connsiteY1"/>
                    </a:cxn>
                    <a:cxn ang="0">
                      <a:pos x="connsiteX2" y="connsiteY2"/>
                    </a:cxn>
                    <a:cxn ang="0">
                      <a:pos x="connsiteX3" y="connsiteY3"/>
                    </a:cxn>
                  </a:cxnLst>
                  <a:rect l="l" t="t" r="r" b="b"/>
                  <a:pathLst>
                    <a:path w="215819" h="146448">
                      <a:moveTo>
                        <a:pt x="0" y="0"/>
                      </a:moveTo>
                      <a:lnTo>
                        <a:pt x="217669" y="0"/>
                      </a:lnTo>
                      <a:lnTo>
                        <a:pt x="217669" y="149031"/>
                      </a:lnTo>
                      <a:lnTo>
                        <a:pt x="0" y="149031"/>
                      </a:lnTo>
                      <a:close/>
                    </a:path>
                  </a:pathLst>
                </a:custGeom>
                <a:solidFill>
                  <a:srgbClr val="7ABFFA"/>
                </a:solidFill>
                <a:ln w="3842" cap="flat">
                  <a:noFill/>
                  <a:prstDash val="solid"/>
                  <a:miter/>
                </a:ln>
              </p:spPr>
              <p:txBody>
                <a:bodyPr rtlCol="0" anchor="ctr"/>
                <a:lstStyle/>
                <a:p>
                  <a:endParaRPr lang="en-ID"/>
                </a:p>
              </p:txBody>
            </p:sp>
            <p:sp>
              <p:nvSpPr>
                <p:cNvPr id="58" name="Freeform: Shape 57">
                  <a:extLst>
                    <a:ext uri="{FF2B5EF4-FFF2-40B4-BE49-F238E27FC236}">
                      <a16:creationId xmlns:a16="http://schemas.microsoft.com/office/drawing/2014/main" id="{7BA0FB48-49E9-4C8F-A17F-BA6A167B3901}"/>
                    </a:ext>
                  </a:extLst>
                </p:cNvPr>
                <p:cNvSpPr/>
                <p:nvPr/>
              </p:nvSpPr>
              <p:spPr>
                <a:xfrm>
                  <a:off x="8567246" y="2186214"/>
                  <a:ext cx="215819" cy="80932"/>
                </a:xfrm>
                <a:custGeom>
                  <a:avLst/>
                  <a:gdLst>
                    <a:gd name="connsiteX0" fmla="*/ 0 w 215819"/>
                    <a:gd name="connsiteY0" fmla="*/ 83360 h 80932"/>
                    <a:gd name="connsiteX1" fmla="*/ 108796 w 215819"/>
                    <a:gd name="connsiteY1" fmla="*/ 0 h 80932"/>
                    <a:gd name="connsiteX2" fmla="*/ 217669 w 215819"/>
                    <a:gd name="connsiteY2" fmla="*/ 83283 h 80932"/>
                  </a:gdLst>
                  <a:ahLst/>
                  <a:cxnLst>
                    <a:cxn ang="0">
                      <a:pos x="connsiteX0" y="connsiteY0"/>
                    </a:cxn>
                    <a:cxn ang="0">
                      <a:pos x="connsiteX1" y="connsiteY1"/>
                    </a:cxn>
                    <a:cxn ang="0">
                      <a:pos x="connsiteX2" y="connsiteY2"/>
                    </a:cxn>
                  </a:cxnLst>
                  <a:rect l="l" t="t" r="r" b="b"/>
                  <a:pathLst>
                    <a:path w="215819" h="80932">
                      <a:moveTo>
                        <a:pt x="0" y="83360"/>
                      </a:moveTo>
                      <a:lnTo>
                        <a:pt x="108796" y="0"/>
                      </a:lnTo>
                      <a:lnTo>
                        <a:pt x="217669" y="83283"/>
                      </a:lnTo>
                      <a:close/>
                    </a:path>
                  </a:pathLst>
                </a:custGeom>
                <a:solidFill>
                  <a:srgbClr val="68B4F2"/>
                </a:solidFill>
                <a:ln w="3842" cap="flat">
                  <a:noFill/>
                  <a:prstDash val="solid"/>
                  <a:miter/>
                </a:ln>
              </p:spPr>
              <p:txBody>
                <a:bodyPr rtlCol="0" anchor="ctr"/>
                <a:lstStyle/>
                <a:p>
                  <a:endParaRPr lang="en-ID"/>
                </a:p>
              </p:txBody>
            </p:sp>
            <p:sp>
              <p:nvSpPr>
                <p:cNvPr id="59" name="Freeform: Shape 58">
                  <a:extLst>
                    <a:ext uri="{FF2B5EF4-FFF2-40B4-BE49-F238E27FC236}">
                      <a16:creationId xmlns:a16="http://schemas.microsoft.com/office/drawing/2014/main" id="{734D8779-8BC8-4A87-B3C5-97BB5DE33BD1}"/>
                    </a:ext>
                  </a:extLst>
                </p:cNvPr>
                <p:cNvSpPr/>
                <p:nvPr/>
              </p:nvSpPr>
              <p:spPr>
                <a:xfrm>
                  <a:off x="8567207" y="2120466"/>
                  <a:ext cx="215819" cy="92494"/>
                </a:xfrm>
                <a:custGeom>
                  <a:avLst/>
                  <a:gdLst>
                    <a:gd name="connsiteX0" fmla="*/ 217669 w 215819"/>
                    <a:gd name="connsiteY0" fmla="*/ 0 h 92493"/>
                    <a:gd name="connsiteX1" fmla="*/ 108834 w 215819"/>
                    <a:gd name="connsiteY1" fmla="*/ 92879 h 92493"/>
                    <a:gd name="connsiteX2" fmla="*/ 0 w 215819"/>
                    <a:gd name="connsiteY2" fmla="*/ 77 h 92493"/>
                  </a:gdLst>
                  <a:ahLst/>
                  <a:cxnLst>
                    <a:cxn ang="0">
                      <a:pos x="connsiteX0" y="connsiteY0"/>
                    </a:cxn>
                    <a:cxn ang="0">
                      <a:pos x="connsiteX1" y="connsiteY1"/>
                    </a:cxn>
                    <a:cxn ang="0">
                      <a:pos x="connsiteX2" y="connsiteY2"/>
                    </a:cxn>
                  </a:cxnLst>
                  <a:rect l="l" t="t" r="r" b="b"/>
                  <a:pathLst>
                    <a:path w="215819" h="92493">
                      <a:moveTo>
                        <a:pt x="217669" y="0"/>
                      </a:moveTo>
                      <a:lnTo>
                        <a:pt x="108834" y="92879"/>
                      </a:lnTo>
                      <a:lnTo>
                        <a:pt x="0" y="77"/>
                      </a:lnTo>
                      <a:close/>
                    </a:path>
                  </a:pathLst>
                </a:custGeom>
                <a:solidFill>
                  <a:srgbClr val="A3D5FF"/>
                </a:solidFill>
                <a:ln w="3842" cap="flat">
                  <a:noFill/>
                  <a:prstDash val="solid"/>
                  <a:miter/>
                </a:ln>
              </p:spPr>
              <p:txBody>
                <a:bodyPr rtlCol="0" anchor="ctr"/>
                <a:lstStyle/>
                <a:p>
                  <a:endParaRPr lang="en-ID"/>
                </a:p>
              </p:txBody>
            </p:sp>
          </p:grpSp>
          <p:sp>
            <p:nvSpPr>
              <p:cNvPr id="48" name="Freeform: Shape 47">
                <a:extLst>
                  <a:ext uri="{FF2B5EF4-FFF2-40B4-BE49-F238E27FC236}">
                    <a16:creationId xmlns:a16="http://schemas.microsoft.com/office/drawing/2014/main" id="{3CE605C9-084B-406B-9791-DA355CA4B76E}"/>
                  </a:ext>
                </a:extLst>
              </p:cNvPr>
              <p:cNvSpPr/>
              <p:nvPr/>
            </p:nvSpPr>
            <p:spPr>
              <a:xfrm>
                <a:off x="9825958" y="3667537"/>
                <a:ext cx="400807" cy="26977"/>
              </a:xfrm>
              <a:custGeom>
                <a:avLst/>
                <a:gdLst>
                  <a:gd name="connsiteX0" fmla="*/ 0 w 400806"/>
                  <a:gd name="connsiteY0" fmla="*/ 0 h 26977"/>
                  <a:gd name="connsiteX1" fmla="*/ 403736 w 400806"/>
                  <a:gd name="connsiteY1" fmla="*/ 0 h 26977"/>
                  <a:gd name="connsiteX2" fmla="*/ 403736 w 400806"/>
                  <a:gd name="connsiteY2" fmla="*/ 27555 h 26977"/>
                  <a:gd name="connsiteX3" fmla="*/ 0 w 400806"/>
                  <a:gd name="connsiteY3" fmla="*/ 27555 h 26977"/>
                </a:gdLst>
                <a:ahLst/>
                <a:cxnLst>
                  <a:cxn ang="0">
                    <a:pos x="connsiteX0" y="connsiteY0"/>
                  </a:cxn>
                  <a:cxn ang="0">
                    <a:pos x="connsiteX1" y="connsiteY1"/>
                  </a:cxn>
                  <a:cxn ang="0">
                    <a:pos x="connsiteX2" y="connsiteY2"/>
                  </a:cxn>
                  <a:cxn ang="0">
                    <a:pos x="connsiteX3" y="connsiteY3"/>
                  </a:cxn>
                </a:cxnLst>
                <a:rect l="l" t="t" r="r" b="b"/>
                <a:pathLst>
                  <a:path w="400806" h="26977">
                    <a:moveTo>
                      <a:pt x="0" y="0"/>
                    </a:moveTo>
                    <a:lnTo>
                      <a:pt x="403736" y="0"/>
                    </a:lnTo>
                    <a:lnTo>
                      <a:pt x="403736" y="27555"/>
                    </a:lnTo>
                    <a:lnTo>
                      <a:pt x="0" y="27555"/>
                    </a:lnTo>
                    <a:close/>
                  </a:path>
                </a:pathLst>
              </a:custGeom>
              <a:solidFill>
                <a:schemeClr val="bg1"/>
              </a:solidFill>
              <a:ln w="3842" cap="flat">
                <a:noFill/>
                <a:prstDash val="solid"/>
                <a:miter/>
              </a:ln>
            </p:spPr>
            <p:txBody>
              <a:bodyPr rtlCol="0" anchor="ctr"/>
              <a:lstStyle/>
              <a:p>
                <a:endParaRPr lang="en-ID" dirty="0"/>
              </a:p>
            </p:txBody>
          </p:sp>
          <p:sp>
            <p:nvSpPr>
              <p:cNvPr id="49" name="Freeform: Shape 48">
                <a:extLst>
                  <a:ext uri="{FF2B5EF4-FFF2-40B4-BE49-F238E27FC236}">
                    <a16:creationId xmlns:a16="http://schemas.microsoft.com/office/drawing/2014/main" id="{2C58AC18-0891-4C36-A39D-BA9914B78B77}"/>
                  </a:ext>
                </a:extLst>
              </p:cNvPr>
              <p:cNvSpPr/>
              <p:nvPr/>
            </p:nvSpPr>
            <p:spPr>
              <a:xfrm>
                <a:off x="9825958" y="3791864"/>
                <a:ext cx="562671" cy="26977"/>
              </a:xfrm>
              <a:custGeom>
                <a:avLst/>
                <a:gdLst>
                  <a:gd name="connsiteX0" fmla="*/ 0 w 562671"/>
                  <a:gd name="connsiteY0" fmla="*/ 0 h 26977"/>
                  <a:gd name="connsiteX1" fmla="*/ 562864 w 562671"/>
                  <a:gd name="connsiteY1" fmla="*/ 0 h 26977"/>
                  <a:gd name="connsiteX2" fmla="*/ 562864 w 562671"/>
                  <a:gd name="connsiteY2" fmla="*/ 27555 h 26977"/>
                  <a:gd name="connsiteX3" fmla="*/ 0 w 562671"/>
                  <a:gd name="connsiteY3" fmla="*/ 27555 h 26977"/>
                </a:gdLst>
                <a:ahLst/>
                <a:cxnLst>
                  <a:cxn ang="0">
                    <a:pos x="connsiteX0" y="connsiteY0"/>
                  </a:cxn>
                  <a:cxn ang="0">
                    <a:pos x="connsiteX1" y="connsiteY1"/>
                  </a:cxn>
                  <a:cxn ang="0">
                    <a:pos x="connsiteX2" y="connsiteY2"/>
                  </a:cxn>
                  <a:cxn ang="0">
                    <a:pos x="connsiteX3" y="connsiteY3"/>
                  </a:cxn>
                </a:cxnLst>
                <a:rect l="l" t="t" r="r" b="b"/>
                <a:pathLst>
                  <a:path w="562671" h="26977">
                    <a:moveTo>
                      <a:pt x="0" y="0"/>
                    </a:moveTo>
                    <a:lnTo>
                      <a:pt x="562864" y="0"/>
                    </a:lnTo>
                    <a:lnTo>
                      <a:pt x="562864" y="27555"/>
                    </a:lnTo>
                    <a:lnTo>
                      <a:pt x="0" y="27555"/>
                    </a:lnTo>
                    <a:close/>
                  </a:path>
                </a:pathLst>
              </a:custGeom>
              <a:solidFill>
                <a:schemeClr val="bg1"/>
              </a:solidFill>
              <a:ln w="3842" cap="flat">
                <a:noFill/>
                <a:prstDash val="solid"/>
                <a:miter/>
              </a:ln>
            </p:spPr>
            <p:txBody>
              <a:bodyPr rtlCol="0" anchor="ctr"/>
              <a:lstStyle/>
              <a:p>
                <a:endParaRPr lang="en-ID"/>
              </a:p>
            </p:txBody>
          </p:sp>
          <p:sp>
            <p:nvSpPr>
              <p:cNvPr id="50" name="Freeform: Shape 49">
                <a:extLst>
                  <a:ext uri="{FF2B5EF4-FFF2-40B4-BE49-F238E27FC236}">
                    <a16:creationId xmlns:a16="http://schemas.microsoft.com/office/drawing/2014/main" id="{526E446A-4459-474A-B917-89B1EF651D09}"/>
                  </a:ext>
                </a:extLst>
              </p:cNvPr>
              <p:cNvSpPr/>
              <p:nvPr/>
            </p:nvSpPr>
            <p:spPr>
              <a:xfrm>
                <a:off x="9825958" y="3729701"/>
                <a:ext cx="335290" cy="26977"/>
              </a:xfrm>
              <a:custGeom>
                <a:avLst/>
                <a:gdLst>
                  <a:gd name="connsiteX0" fmla="*/ 0 w 335290"/>
                  <a:gd name="connsiteY0" fmla="*/ 0 h 26977"/>
                  <a:gd name="connsiteX1" fmla="*/ 336986 w 335290"/>
                  <a:gd name="connsiteY1" fmla="*/ 0 h 26977"/>
                  <a:gd name="connsiteX2" fmla="*/ 336986 w 335290"/>
                  <a:gd name="connsiteY2" fmla="*/ 27555 h 26977"/>
                  <a:gd name="connsiteX3" fmla="*/ 0 w 335290"/>
                  <a:gd name="connsiteY3" fmla="*/ 27555 h 26977"/>
                </a:gdLst>
                <a:ahLst/>
                <a:cxnLst>
                  <a:cxn ang="0">
                    <a:pos x="connsiteX0" y="connsiteY0"/>
                  </a:cxn>
                  <a:cxn ang="0">
                    <a:pos x="connsiteX1" y="connsiteY1"/>
                  </a:cxn>
                  <a:cxn ang="0">
                    <a:pos x="connsiteX2" y="connsiteY2"/>
                  </a:cxn>
                  <a:cxn ang="0">
                    <a:pos x="connsiteX3" y="connsiteY3"/>
                  </a:cxn>
                </a:cxnLst>
                <a:rect l="l" t="t" r="r" b="b"/>
                <a:pathLst>
                  <a:path w="335290" h="26977">
                    <a:moveTo>
                      <a:pt x="0" y="0"/>
                    </a:moveTo>
                    <a:lnTo>
                      <a:pt x="336986" y="0"/>
                    </a:lnTo>
                    <a:lnTo>
                      <a:pt x="336986" y="27555"/>
                    </a:lnTo>
                    <a:lnTo>
                      <a:pt x="0" y="27555"/>
                    </a:lnTo>
                    <a:close/>
                  </a:path>
                </a:pathLst>
              </a:custGeom>
              <a:solidFill>
                <a:schemeClr val="bg1"/>
              </a:solidFill>
              <a:ln w="3842" cap="flat">
                <a:noFill/>
                <a:prstDash val="solid"/>
                <a:miter/>
              </a:ln>
            </p:spPr>
            <p:txBody>
              <a:bodyPr rtlCol="0" anchor="ctr"/>
              <a:lstStyle/>
              <a:p>
                <a:endParaRPr lang="en-ID"/>
              </a:p>
            </p:txBody>
          </p:sp>
          <p:sp>
            <p:nvSpPr>
              <p:cNvPr id="51" name="Freeform: Shape 50">
                <a:extLst>
                  <a:ext uri="{FF2B5EF4-FFF2-40B4-BE49-F238E27FC236}">
                    <a16:creationId xmlns:a16="http://schemas.microsoft.com/office/drawing/2014/main" id="{C5FAFAB3-F178-4B50-B264-5D80893A3D2A}"/>
                  </a:ext>
                </a:extLst>
              </p:cNvPr>
              <p:cNvSpPr/>
              <p:nvPr/>
            </p:nvSpPr>
            <p:spPr>
              <a:xfrm>
                <a:off x="9825958" y="3854028"/>
                <a:ext cx="227381" cy="26977"/>
              </a:xfrm>
              <a:custGeom>
                <a:avLst/>
                <a:gdLst>
                  <a:gd name="connsiteX0" fmla="*/ 0 w 227380"/>
                  <a:gd name="connsiteY0" fmla="*/ 0 h 26977"/>
                  <a:gd name="connsiteX1" fmla="*/ 230233 w 227380"/>
                  <a:gd name="connsiteY1" fmla="*/ 0 h 26977"/>
                  <a:gd name="connsiteX2" fmla="*/ 230233 w 227380"/>
                  <a:gd name="connsiteY2" fmla="*/ 27555 h 26977"/>
                  <a:gd name="connsiteX3" fmla="*/ 0 w 227380"/>
                  <a:gd name="connsiteY3" fmla="*/ 27555 h 26977"/>
                </a:gdLst>
                <a:ahLst/>
                <a:cxnLst>
                  <a:cxn ang="0">
                    <a:pos x="connsiteX0" y="connsiteY0"/>
                  </a:cxn>
                  <a:cxn ang="0">
                    <a:pos x="connsiteX1" y="connsiteY1"/>
                  </a:cxn>
                  <a:cxn ang="0">
                    <a:pos x="connsiteX2" y="connsiteY2"/>
                  </a:cxn>
                  <a:cxn ang="0">
                    <a:pos x="connsiteX3" y="connsiteY3"/>
                  </a:cxn>
                </a:cxnLst>
                <a:rect l="l" t="t" r="r" b="b"/>
                <a:pathLst>
                  <a:path w="227380" h="26977">
                    <a:moveTo>
                      <a:pt x="0" y="0"/>
                    </a:moveTo>
                    <a:lnTo>
                      <a:pt x="230233" y="0"/>
                    </a:lnTo>
                    <a:lnTo>
                      <a:pt x="230233" y="27555"/>
                    </a:lnTo>
                    <a:lnTo>
                      <a:pt x="0" y="27555"/>
                    </a:lnTo>
                    <a:close/>
                  </a:path>
                </a:pathLst>
              </a:custGeom>
              <a:solidFill>
                <a:schemeClr val="bg1"/>
              </a:solidFill>
              <a:ln w="3842" cap="flat">
                <a:noFill/>
                <a:prstDash val="solid"/>
                <a:miter/>
              </a:ln>
            </p:spPr>
            <p:txBody>
              <a:bodyPr rtlCol="0" anchor="ctr"/>
              <a:lstStyle/>
              <a:p>
                <a:endParaRPr lang="en-ID"/>
              </a:p>
            </p:txBody>
          </p:sp>
          <p:sp>
            <p:nvSpPr>
              <p:cNvPr id="52" name="Freeform: Shape 51">
                <a:extLst>
                  <a:ext uri="{FF2B5EF4-FFF2-40B4-BE49-F238E27FC236}">
                    <a16:creationId xmlns:a16="http://schemas.microsoft.com/office/drawing/2014/main" id="{3CFF9592-6060-4C04-AECF-FF4848505359}"/>
                  </a:ext>
                </a:extLst>
              </p:cNvPr>
              <p:cNvSpPr/>
              <p:nvPr/>
            </p:nvSpPr>
            <p:spPr>
              <a:xfrm>
                <a:off x="9421220" y="3609805"/>
                <a:ext cx="312167" cy="312167"/>
              </a:xfrm>
              <a:custGeom>
                <a:avLst/>
                <a:gdLst>
                  <a:gd name="connsiteX0" fmla="*/ 49600 w 312166"/>
                  <a:gd name="connsiteY0" fmla="*/ 313477 h 312166"/>
                  <a:gd name="connsiteX1" fmla="*/ 263877 w 312166"/>
                  <a:gd name="connsiteY1" fmla="*/ 313477 h 312166"/>
                  <a:gd name="connsiteX2" fmla="*/ 313477 w 312166"/>
                  <a:gd name="connsiteY2" fmla="*/ 263877 h 312166"/>
                  <a:gd name="connsiteX3" fmla="*/ 313477 w 312166"/>
                  <a:gd name="connsiteY3" fmla="*/ 49600 h 312166"/>
                  <a:gd name="connsiteX4" fmla="*/ 263877 w 312166"/>
                  <a:gd name="connsiteY4" fmla="*/ 0 h 312166"/>
                  <a:gd name="connsiteX5" fmla="*/ 49600 w 312166"/>
                  <a:gd name="connsiteY5" fmla="*/ 0 h 312166"/>
                  <a:gd name="connsiteX6" fmla="*/ 0 w 312166"/>
                  <a:gd name="connsiteY6" fmla="*/ 49600 h 312166"/>
                  <a:gd name="connsiteX7" fmla="*/ 0 w 312166"/>
                  <a:gd name="connsiteY7" fmla="*/ 263877 h 312166"/>
                  <a:gd name="connsiteX8" fmla="*/ 49600 w 312166"/>
                  <a:gd name="connsiteY8" fmla="*/ 313477 h 312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166" h="312166">
                    <a:moveTo>
                      <a:pt x="49600" y="313477"/>
                    </a:moveTo>
                    <a:lnTo>
                      <a:pt x="263877" y="313477"/>
                    </a:lnTo>
                    <a:cubicBezTo>
                      <a:pt x="291279" y="313477"/>
                      <a:pt x="313477" y="291279"/>
                      <a:pt x="313477" y="263877"/>
                    </a:cubicBezTo>
                    <a:lnTo>
                      <a:pt x="313477" y="49600"/>
                    </a:lnTo>
                    <a:cubicBezTo>
                      <a:pt x="313477" y="22199"/>
                      <a:pt x="291279" y="0"/>
                      <a:pt x="263877" y="0"/>
                    </a:cubicBezTo>
                    <a:lnTo>
                      <a:pt x="49600" y="0"/>
                    </a:lnTo>
                    <a:cubicBezTo>
                      <a:pt x="22199" y="0"/>
                      <a:pt x="0" y="22199"/>
                      <a:pt x="0" y="49600"/>
                    </a:cubicBezTo>
                    <a:lnTo>
                      <a:pt x="0" y="263877"/>
                    </a:lnTo>
                    <a:cubicBezTo>
                      <a:pt x="0" y="291279"/>
                      <a:pt x="22199" y="313477"/>
                      <a:pt x="49600" y="313477"/>
                    </a:cubicBezTo>
                    <a:close/>
                  </a:path>
                </a:pathLst>
              </a:custGeom>
              <a:solidFill>
                <a:schemeClr val="bg1">
                  <a:alpha val="72000"/>
                </a:schemeClr>
              </a:solidFill>
              <a:ln w="3842" cap="flat">
                <a:noFill/>
                <a:prstDash val="solid"/>
                <a:miter/>
              </a:ln>
            </p:spPr>
            <p:txBody>
              <a:bodyPr rtlCol="0" anchor="ctr"/>
              <a:lstStyle/>
              <a:p>
                <a:endParaRPr lang="en-ID"/>
              </a:p>
            </p:txBody>
          </p:sp>
          <p:grpSp>
            <p:nvGrpSpPr>
              <p:cNvPr id="53" name="Graphic 6">
                <a:extLst>
                  <a:ext uri="{FF2B5EF4-FFF2-40B4-BE49-F238E27FC236}">
                    <a16:creationId xmlns:a16="http://schemas.microsoft.com/office/drawing/2014/main" id="{E32BAD7F-1EB9-4F0D-93C3-664C201E5C2F}"/>
                  </a:ext>
                </a:extLst>
              </p:cNvPr>
              <p:cNvGrpSpPr/>
              <p:nvPr/>
            </p:nvGrpSpPr>
            <p:grpSpPr>
              <a:xfrm>
                <a:off x="9469086" y="3692048"/>
                <a:ext cx="215819" cy="146449"/>
                <a:chOff x="8865770" y="2975611"/>
                <a:chExt cx="215819" cy="146449"/>
              </a:xfrm>
              <a:solidFill>
                <a:schemeClr val="accent1"/>
              </a:solidFill>
            </p:grpSpPr>
            <p:sp>
              <p:nvSpPr>
                <p:cNvPr id="54" name="Freeform: Shape 53">
                  <a:extLst>
                    <a:ext uri="{FF2B5EF4-FFF2-40B4-BE49-F238E27FC236}">
                      <a16:creationId xmlns:a16="http://schemas.microsoft.com/office/drawing/2014/main" id="{A26BEF75-6AD2-464F-8B1E-1D773F1FB7EF}"/>
                    </a:ext>
                  </a:extLst>
                </p:cNvPr>
                <p:cNvSpPr/>
                <p:nvPr/>
              </p:nvSpPr>
              <p:spPr>
                <a:xfrm>
                  <a:off x="8865808" y="2975611"/>
                  <a:ext cx="215819" cy="146449"/>
                </a:xfrm>
                <a:custGeom>
                  <a:avLst/>
                  <a:gdLst>
                    <a:gd name="connsiteX0" fmla="*/ 0 w 215819"/>
                    <a:gd name="connsiteY0" fmla="*/ 0 h 146448"/>
                    <a:gd name="connsiteX1" fmla="*/ 217669 w 215819"/>
                    <a:gd name="connsiteY1" fmla="*/ 0 h 146448"/>
                    <a:gd name="connsiteX2" fmla="*/ 217669 w 215819"/>
                    <a:gd name="connsiteY2" fmla="*/ 149031 h 146448"/>
                    <a:gd name="connsiteX3" fmla="*/ 0 w 215819"/>
                    <a:gd name="connsiteY3" fmla="*/ 149031 h 146448"/>
                  </a:gdLst>
                  <a:ahLst/>
                  <a:cxnLst>
                    <a:cxn ang="0">
                      <a:pos x="connsiteX0" y="connsiteY0"/>
                    </a:cxn>
                    <a:cxn ang="0">
                      <a:pos x="connsiteX1" y="connsiteY1"/>
                    </a:cxn>
                    <a:cxn ang="0">
                      <a:pos x="connsiteX2" y="connsiteY2"/>
                    </a:cxn>
                    <a:cxn ang="0">
                      <a:pos x="connsiteX3" y="connsiteY3"/>
                    </a:cxn>
                  </a:cxnLst>
                  <a:rect l="l" t="t" r="r" b="b"/>
                  <a:pathLst>
                    <a:path w="215819" h="146448">
                      <a:moveTo>
                        <a:pt x="0" y="0"/>
                      </a:moveTo>
                      <a:lnTo>
                        <a:pt x="217669" y="0"/>
                      </a:lnTo>
                      <a:lnTo>
                        <a:pt x="217669" y="149031"/>
                      </a:lnTo>
                      <a:lnTo>
                        <a:pt x="0" y="149031"/>
                      </a:lnTo>
                      <a:close/>
                    </a:path>
                  </a:pathLst>
                </a:custGeom>
                <a:solidFill>
                  <a:srgbClr val="7ABFFA"/>
                </a:solidFill>
                <a:ln w="3842" cap="flat">
                  <a:noFill/>
                  <a:prstDash val="solid"/>
                  <a:miter/>
                </a:ln>
              </p:spPr>
              <p:txBody>
                <a:bodyPr rtlCol="0" anchor="ctr"/>
                <a:lstStyle/>
                <a:p>
                  <a:endParaRPr lang="en-ID"/>
                </a:p>
              </p:txBody>
            </p:sp>
            <p:sp>
              <p:nvSpPr>
                <p:cNvPr id="55" name="Freeform: Shape 54">
                  <a:extLst>
                    <a:ext uri="{FF2B5EF4-FFF2-40B4-BE49-F238E27FC236}">
                      <a16:creationId xmlns:a16="http://schemas.microsoft.com/office/drawing/2014/main" id="{5AA1B6E8-C677-46B0-A128-B9A1B8C1913B}"/>
                    </a:ext>
                  </a:extLst>
                </p:cNvPr>
                <p:cNvSpPr/>
                <p:nvPr/>
              </p:nvSpPr>
              <p:spPr>
                <a:xfrm>
                  <a:off x="8865808" y="3041320"/>
                  <a:ext cx="215819" cy="80932"/>
                </a:xfrm>
                <a:custGeom>
                  <a:avLst/>
                  <a:gdLst>
                    <a:gd name="connsiteX0" fmla="*/ 0 w 215819"/>
                    <a:gd name="connsiteY0" fmla="*/ 83360 h 80932"/>
                    <a:gd name="connsiteX1" fmla="*/ 108834 w 215819"/>
                    <a:gd name="connsiteY1" fmla="*/ 0 h 80932"/>
                    <a:gd name="connsiteX2" fmla="*/ 217669 w 215819"/>
                    <a:gd name="connsiteY2" fmla="*/ 83322 h 80932"/>
                  </a:gdLst>
                  <a:ahLst/>
                  <a:cxnLst>
                    <a:cxn ang="0">
                      <a:pos x="connsiteX0" y="connsiteY0"/>
                    </a:cxn>
                    <a:cxn ang="0">
                      <a:pos x="connsiteX1" y="connsiteY1"/>
                    </a:cxn>
                    <a:cxn ang="0">
                      <a:pos x="connsiteX2" y="connsiteY2"/>
                    </a:cxn>
                  </a:cxnLst>
                  <a:rect l="l" t="t" r="r" b="b"/>
                  <a:pathLst>
                    <a:path w="215819" h="80932">
                      <a:moveTo>
                        <a:pt x="0" y="83360"/>
                      </a:moveTo>
                      <a:lnTo>
                        <a:pt x="108834" y="0"/>
                      </a:lnTo>
                      <a:lnTo>
                        <a:pt x="217669" y="83322"/>
                      </a:lnTo>
                      <a:close/>
                    </a:path>
                  </a:pathLst>
                </a:custGeom>
                <a:solidFill>
                  <a:srgbClr val="68B4F2"/>
                </a:solidFill>
                <a:ln w="3842" cap="flat">
                  <a:noFill/>
                  <a:prstDash val="solid"/>
                  <a:miter/>
                </a:ln>
              </p:spPr>
              <p:txBody>
                <a:bodyPr rtlCol="0" anchor="ctr"/>
                <a:lstStyle/>
                <a:p>
                  <a:endParaRPr lang="en-ID"/>
                </a:p>
              </p:txBody>
            </p:sp>
            <p:sp>
              <p:nvSpPr>
                <p:cNvPr id="56" name="Freeform: Shape 55">
                  <a:extLst>
                    <a:ext uri="{FF2B5EF4-FFF2-40B4-BE49-F238E27FC236}">
                      <a16:creationId xmlns:a16="http://schemas.microsoft.com/office/drawing/2014/main" id="{178A6B0A-5A93-4B08-AD5E-C80763FFAE98}"/>
                    </a:ext>
                  </a:extLst>
                </p:cNvPr>
                <p:cNvSpPr/>
                <p:nvPr/>
              </p:nvSpPr>
              <p:spPr>
                <a:xfrm>
                  <a:off x="8865770" y="2975611"/>
                  <a:ext cx="215819" cy="92494"/>
                </a:xfrm>
                <a:custGeom>
                  <a:avLst/>
                  <a:gdLst>
                    <a:gd name="connsiteX0" fmla="*/ 217669 w 215819"/>
                    <a:gd name="connsiteY0" fmla="*/ 0 h 92493"/>
                    <a:gd name="connsiteX1" fmla="*/ 108873 w 215819"/>
                    <a:gd name="connsiteY1" fmla="*/ 92841 h 92493"/>
                    <a:gd name="connsiteX2" fmla="*/ 0 w 215819"/>
                    <a:gd name="connsiteY2" fmla="*/ 39 h 92493"/>
                  </a:gdLst>
                  <a:ahLst/>
                  <a:cxnLst>
                    <a:cxn ang="0">
                      <a:pos x="connsiteX0" y="connsiteY0"/>
                    </a:cxn>
                    <a:cxn ang="0">
                      <a:pos x="connsiteX1" y="connsiteY1"/>
                    </a:cxn>
                    <a:cxn ang="0">
                      <a:pos x="connsiteX2" y="connsiteY2"/>
                    </a:cxn>
                  </a:cxnLst>
                  <a:rect l="l" t="t" r="r" b="b"/>
                  <a:pathLst>
                    <a:path w="215819" h="92493">
                      <a:moveTo>
                        <a:pt x="217669" y="0"/>
                      </a:moveTo>
                      <a:lnTo>
                        <a:pt x="108873" y="92841"/>
                      </a:lnTo>
                      <a:lnTo>
                        <a:pt x="0" y="39"/>
                      </a:lnTo>
                      <a:close/>
                    </a:path>
                  </a:pathLst>
                </a:custGeom>
                <a:solidFill>
                  <a:srgbClr val="A3D5FF"/>
                </a:solidFill>
                <a:ln w="3842" cap="flat">
                  <a:noFill/>
                  <a:prstDash val="solid"/>
                  <a:miter/>
                </a:ln>
              </p:spPr>
              <p:txBody>
                <a:bodyPr rtlCol="0" anchor="ctr"/>
                <a:lstStyle/>
                <a:p>
                  <a:endParaRPr lang="en-ID"/>
                </a:p>
              </p:txBody>
            </p:sp>
          </p:grpSp>
        </p:grpSp>
        <p:sp>
          <p:nvSpPr>
            <p:cNvPr id="27" name="Oval 26">
              <a:extLst>
                <a:ext uri="{FF2B5EF4-FFF2-40B4-BE49-F238E27FC236}">
                  <a16:creationId xmlns:a16="http://schemas.microsoft.com/office/drawing/2014/main" id="{4EA9B7B8-AD30-4C0E-BEC0-28885D328062}"/>
                </a:ext>
              </a:extLst>
            </p:cNvPr>
            <p:cNvSpPr/>
            <p:nvPr/>
          </p:nvSpPr>
          <p:spPr>
            <a:xfrm>
              <a:off x="6583341" y="4437142"/>
              <a:ext cx="1418988" cy="81605"/>
            </a:xfrm>
            <a:prstGeom prst="ellipse">
              <a:avLst/>
            </a:prstGeom>
            <a:solidFill>
              <a:schemeClr val="tx1">
                <a:lumMod val="95000"/>
                <a:lumOff val="5000"/>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9" name="Oval 28">
              <a:extLst>
                <a:ext uri="{FF2B5EF4-FFF2-40B4-BE49-F238E27FC236}">
                  <a16:creationId xmlns:a16="http://schemas.microsoft.com/office/drawing/2014/main" id="{7EE040A4-18B9-4C9E-9AEA-5670BE0251B0}"/>
                </a:ext>
              </a:extLst>
            </p:cNvPr>
            <p:cNvSpPr/>
            <p:nvPr/>
          </p:nvSpPr>
          <p:spPr>
            <a:xfrm>
              <a:off x="9990602" y="2705519"/>
              <a:ext cx="128724" cy="128724"/>
            </a:xfrm>
            <a:prstGeom prst="ellipse">
              <a:avLst/>
            </a:prstGeom>
            <a:noFill/>
            <a:ln w="19050">
              <a:solidFill>
                <a:srgbClr val="5482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0" name="Oval 29">
              <a:extLst>
                <a:ext uri="{FF2B5EF4-FFF2-40B4-BE49-F238E27FC236}">
                  <a16:creationId xmlns:a16="http://schemas.microsoft.com/office/drawing/2014/main" id="{2598DD20-C4DE-417E-B178-36274EB4BD13}"/>
                </a:ext>
              </a:extLst>
            </p:cNvPr>
            <p:cNvSpPr/>
            <p:nvPr/>
          </p:nvSpPr>
          <p:spPr>
            <a:xfrm>
              <a:off x="9987000" y="3512426"/>
              <a:ext cx="110979" cy="110979"/>
            </a:xfrm>
            <a:prstGeom prst="ellipse">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1" name="Oval 30">
              <a:extLst>
                <a:ext uri="{FF2B5EF4-FFF2-40B4-BE49-F238E27FC236}">
                  <a16:creationId xmlns:a16="http://schemas.microsoft.com/office/drawing/2014/main" id="{7D7D1A20-C456-4663-B689-39A7E98716E7}"/>
                </a:ext>
              </a:extLst>
            </p:cNvPr>
            <p:cNvSpPr/>
            <p:nvPr/>
          </p:nvSpPr>
          <p:spPr>
            <a:xfrm>
              <a:off x="10154575" y="2645648"/>
              <a:ext cx="55320" cy="553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2" name="Oval 31">
              <a:extLst>
                <a:ext uri="{FF2B5EF4-FFF2-40B4-BE49-F238E27FC236}">
                  <a16:creationId xmlns:a16="http://schemas.microsoft.com/office/drawing/2014/main" id="{00FEB736-6D3F-4751-AAAC-2E39AFBAFB0F}"/>
                </a:ext>
              </a:extLst>
            </p:cNvPr>
            <p:cNvSpPr/>
            <p:nvPr/>
          </p:nvSpPr>
          <p:spPr>
            <a:xfrm>
              <a:off x="5799215" y="2332419"/>
              <a:ext cx="66937" cy="669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3" name="Oval 32">
              <a:extLst>
                <a:ext uri="{FF2B5EF4-FFF2-40B4-BE49-F238E27FC236}">
                  <a16:creationId xmlns:a16="http://schemas.microsoft.com/office/drawing/2014/main" id="{480A9946-B1CC-4D4F-A088-850E91FE26FE}"/>
                </a:ext>
              </a:extLst>
            </p:cNvPr>
            <p:cNvSpPr/>
            <p:nvPr/>
          </p:nvSpPr>
          <p:spPr>
            <a:xfrm>
              <a:off x="8077026" y="2043767"/>
              <a:ext cx="66937" cy="66937"/>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4" name="Oval 33">
              <a:extLst>
                <a:ext uri="{FF2B5EF4-FFF2-40B4-BE49-F238E27FC236}">
                  <a16:creationId xmlns:a16="http://schemas.microsoft.com/office/drawing/2014/main" id="{AB3A34A5-124B-4246-B0DF-E4C2B7F76AE9}"/>
                </a:ext>
              </a:extLst>
            </p:cNvPr>
            <p:cNvSpPr/>
            <p:nvPr/>
          </p:nvSpPr>
          <p:spPr>
            <a:xfrm>
              <a:off x="9442911" y="2698000"/>
              <a:ext cx="66937" cy="669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5" name="Oval 34">
              <a:extLst>
                <a:ext uri="{FF2B5EF4-FFF2-40B4-BE49-F238E27FC236}">
                  <a16:creationId xmlns:a16="http://schemas.microsoft.com/office/drawing/2014/main" id="{05F91D26-F54D-491C-9F31-FB97827A1C8E}"/>
                </a:ext>
              </a:extLst>
            </p:cNvPr>
            <p:cNvSpPr/>
            <p:nvPr/>
          </p:nvSpPr>
          <p:spPr>
            <a:xfrm>
              <a:off x="8192486" y="1716417"/>
              <a:ext cx="110979" cy="110979"/>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grpSp>
        <p:nvGrpSpPr>
          <p:cNvPr id="227" name="Group 226">
            <a:extLst>
              <a:ext uri="{FF2B5EF4-FFF2-40B4-BE49-F238E27FC236}">
                <a16:creationId xmlns:a16="http://schemas.microsoft.com/office/drawing/2014/main" id="{9AE58274-129C-4F02-9F8F-2B2CBF700134}"/>
              </a:ext>
            </a:extLst>
          </p:cNvPr>
          <p:cNvGrpSpPr/>
          <p:nvPr/>
        </p:nvGrpSpPr>
        <p:grpSpPr>
          <a:xfrm>
            <a:off x="1045209" y="964013"/>
            <a:ext cx="4027481" cy="5368784"/>
            <a:chOff x="1045209" y="1371559"/>
            <a:chExt cx="4027481" cy="5368784"/>
          </a:xfrm>
        </p:grpSpPr>
        <p:grpSp>
          <p:nvGrpSpPr>
            <p:cNvPr id="202" name="Group 201">
              <a:extLst>
                <a:ext uri="{FF2B5EF4-FFF2-40B4-BE49-F238E27FC236}">
                  <a16:creationId xmlns:a16="http://schemas.microsoft.com/office/drawing/2014/main" id="{56DE52C5-B76D-4E18-93E7-077A187A0E9C}"/>
                </a:ext>
              </a:extLst>
            </p:cNvPr>
            <p:cNvGrpSpPr/>
            <p:nvPr/>
          </p:nvGrpSpPr>
          <p:grpSpPr>
            <a:xfrm>
              <a:off x="1045209" y="1371559"/>
              <a:ext cx="4027481" cy="5368784"/>
              <a:chOff x="1117964" y="2558985"/>
              <a:chExt cx="4027481" cy="5368784"/>
            </a:xfrm>
          </p:grpSpPr>
          <p:sp>
            <p:nvSpPr>
              <p:cNvPr id="203" name="TextBox 202">
                <a:extLst>
                  <a:ext uri="{FF2B5EF4-FFF2-40B4-BE49-F238E27FC236}">
                    <a16:creationId xmlns:a16="http://schemas.microsoft.com/office/drawing/2014/main" id="{54B36053-7818-41FA-9C6F-554AE6A7E852}"/>
                  </a:ext>
                </a:extLst>
              </p:cNvPr>
              <p:cNvSpPr txBox="1"/>
              <p:nvPr/>
            </p:nvSpPr>
            <p:spPr>
              <a:xfrm>
                <a:off x="1117964" y="2558985"/>
                <a:ext cx="4027481" cy="615553"/>
              </a:xfrm>
              <a:prstGeom prst="rect">
                <a:avLst/>
              </a:prstGeom>
              <a:noFill/>
            </p:spPr>
            <p:txBody>
              <a:bodyPr wrap="square" lIns="0" tIns="0" rIns="0" bIns="0" rtlCol="0">
                <a:spAutoFit/>
              </a:bodyPr>
              <a:lstStyle/>
              <a:p>
                <a:endParaRPr lang="en-ID" sz="4000" dirty="0">
                  <a:solidFill>
                    <a:schemeClr val="accent4"/>
                  </a:solidFill>
                  <a:latin typeface="Arial Black" panose="020B0A04020102020204" pitchFamily="34" charset="0"/>
                </a:endParaRPr>
              </a:p>
            </p:txBody>
          </p:sp>
          <p:sp>
            <p:nvSpPr>
              <p:cNvPr id="210" name="TextBox 209">
                <a:extLst>
                  <a:ext uri="{FF2B5EF4-FFF2-40B4-BE49-F238E27FC236}">
                    <a16:creationId xmlns:a16="http://schemas.microsoft.com/office/drawing/2014/main" id="{5C3CF7B9-8B45-4C72-B218-586D0E8E46B8}"/>
                  </a:ext>
                </a:extLst>
              </p:cNvPr>
              <p:cNvSpPr txBox="1"/>
              <p:nvPr/>
            </p:nvSpPr>
            <p:spPr>
              <a:xfrm>
                <a:off x="1117964" y="5297241"/>
                <a:ext cx="3389572" cy="2630528"/>
              </a:xfrm>
              <a:prstGeom prst="rect">
                <a:avLst/>
              </a:prstGeom>
              <a:noFill/>
            </p:spPr>
            <p:txBody>
              <a:bodyPr wrap="square" lIns="0" tIns="0" rIns="0" bIns="0" rtlCol="0">
                <a:spAutoFit/>
              </a:bodyPr>
              <a:lstStyle/>
              <a:p>
                <a:pPr algn="just">
                  <a:lnSpc>
                    <a:spcPct val="107000"/>
                  </a:lnSpc>
                  <a:spcAft>
                    <a:spcPts val="800"/>
                  </a:spcAft>
                </a:pPr>
                <a:r>
                  <a:rPr lang="en-IN" sz="1100" dirty="0">
                    <a:effectLst/>
                    <a:latin typeface="Calibri" panose="020F0502020204030204" pitchFamily="34" charset="0"/>
                    <a:ea typeface="Calibri" panose="020F0502020204030204" pitchFamily="34" charset="0"/>
                    <a:cs typeface="Times New Roman" panose="02020603050405020304" pitchFamily="18" charset="0"/>
                  </a:rPr>
                  <a:t>The primary objective of this initiative is to attract investments from across the globe and strengthen India’s manufacturing sector. It is being led by the Department for Promotion of Industry and Internal Trade (DPIIT), Ministry of Commerce and Industry, Government of India. </a:t>
                </a:r>
              </a:p>
              <a:p>
                <a:pPr algn="just">
                  <a:lnSpc>
                    <a:spcPct val="107000"/>
                  </a:lnSpc>
                  <a:spcAft>
                    <a:spcPts val="800"/>
                  </a:spcAft>
                </a:pPr>
                <a:r>
                  <a:rPr lang="en-IN" sz="1100" dirty="0">
                    <a:effectLst/>
                    <a:latin typeface="Calibri" panose="020F0502020204030204" pitchFamily="34" charset="0"/>
                    <a:ea typeface="Calibri" panose="020F0502020204030204" pitchFamily="34" charset="0"/>
                    <a:cs typeface="Times New Roman" panose="02020603050405020304" pitchFamily="18" charset="0"/>
                  </a:rPr>
                  <a:t>The Make in India programme is very important for the economic growth of India as it aims at utilising the existing Indian talent base, creating additional employment opportunities and empowering secondary and tertiary sector. The programme also aims at improving India’s rank on the Ease of Doing Business index by eliminating the unnecessary laws and regulations, making bureaucratic processes easier, making the government more transparent, responsive and accountable.</a:t>
                </a:r>
              </a:p>
            </p:txBody>
          </p:sp>
        </p:grpSp>
        <p:sp>
          <p:nvSpPr>
            <p:cNvPr id="205" name="Rectangle: Rounded Corners 204">
              <a:extLst>
                <a:ext uri="{FF2B5EF4-FFF2-40B4-BE49-F238E27FC236}">
                  <a16:creationId xmlns:a16="http://schemas.microsoft.com/office/drawing/2014/main" id="{68D71691-DA20-40F1-B7D6-F3B464C4EF1C}"/>
                </a:ext>
              </a:extLst>
            </p:cNvPr>
            <p:cNvSpPr/>
            <p:nvPr/>
          </p:nvSpPr>
          <p:spPr>
            <a:xfrm>
              <a:off x="1049351" y="3416189"/>
              <a:ext cx="1445704" cy="393982"/>
            </a:xfrm>
            <a:prstGeom prst="roundRect">
              <a:avLst>
                <a:gd name="adj" fmla="val 50000"/>
              </a:avLst>
            </a:prstGeom>
            <a:gradFill>
              <a:gsLst>
                <a:gs pos="0">
                  <a:schemeClr val="accent1">
                    <a:lumMod val="7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OBJECTIVE</a:t>
              </a:r>
              <a:endParaRPr lang="en-ID" sz="1600" b="1" dirty="0"/>
            </a:p>
          </p:txBody>
        </p:sp>
      </p:grpSp>
      <p:sp>
        <p:nvSpPr>
          <p:cNvPr id="206" name="TextBox 205">
            <a:extLst>
              <a:ext uri="{FF2B5EF4-FFF2-40B4-BE49-F238E27FC236}">
                <a16:creationId xmlns:a16="http://schemas.microsoft.com/office/drawing/2014/main" id="{901A33A9-337E-4ED2-8245-73803436E038}"/>
              </a:ext>
            </a:extLst>
          </p:cNvPr>
          <p:cNvSpPr txBox="1"/>
          <p:nvPr/>
        </p:nvSpPr>
        <p:spPr>
          <a:xfrm>
            <a:off x="5332066" y="5470744"/>
            <a:ext cx="2333970" cy="1029513"/>
          </a:xfrm>
          <a:prstGeom prst="rect">
            <a:avLst/>
          </a:prstGeom>
          <a:noFill/>
        </p:spPr>
        <p:txBody>
          <a:bodyPr wrap="square" lIns="0" tIns="0" rIns="0" bIns="0" rtlCol="0">
            <a:spAutoFit/>
          </a:bodyPr>
          <a:lstStyle/>
          <a:p>
            <a:pPr algn="just">
              <a:lnSpc>
                <a:spcPct val="107000"/>
              </a:lnSpc>
              <a:spcBef>
                <a:spcPts val="750"/>
              </a:spcBef>
              <a:spcAft>
                <a:spcPts val="2250"/>
              </a:spcAft>
            </a:pPr>
            <a:r>
              <a:rPr lang="en-IN" sz="105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he symbol of this initiative is a giant lion having many wheels. This indicates peaceful progress and way to the vibrant future of the country. A giant walking lion with many wheels represents courage, strength, tenacity, and wisdom.</a:t>
            </a:r>
          </a:p>
        </p:txBody>
      </p:sp>
      <p:sp>
        <p:nvSpPr>
          <p:cNvPr id="209" name="Footer Placeholder 208">
            <a:extLst>
              <a:ext uri="{FF2B5EF4-FFF2-40B4-BE49-F238E27FC236}">
                <a16:creationId xmlns:a16="http://schemas.microsoft.com/office/drawing/2014/main" id="{197DC199-7CFF-499A-AA5D-18A2E588516D}"/>
              </a:ext>
            </a:extLst>
          </p:cNvPr>
          <p:cNvSpPr>
            <a:spLocks noGrp="1"/>
          </p:cNvSpPr>
          <p:nvPr>
            <p:ph type="ftr" sz="quarter" idx="11"/>
          </p:nvPr>
        </p:nvSpPr>
        <p:spPr/>
        <p:txBody>
          <a:bodyPr/>
          <a:lstStyle/>
          <a:p>
            <a:r>
              <a:rPr lang="en-ID" dirty="0"/>
              <a:t>your footer is here</a:t>
            </a:r>
          </a:p>
        </p:txBody>
      </p:sp>
      <p:sp>
        <p:nvSpPr>
          <p:cNvPr id="211" name="Slide Number Placeholder 210">
            <a:extLst>
              <a:ext uri="{FF2B5EF4-FFF2-40B4-BE49-F238E27FC236}">
                <a16:creationId xmlns:a16="http://schemas.microsoft.com/office/drawing/2014/main" id="{F357EC42-FDE5-43AF-9111-1B848FD6C92E}"/>
              </a:ext>
            </a:extLst>
          </p:cNvPr>
          <p:cNvSpPr>
            <a:spLocks noGrp="1"/>
          </p:cNvSpPr>
          <p:nvPr>
            <p:ph type="sldNum" sz="quarter" idx="4"/>
          </p:nvPr>
        </p:nvSpPr>
        <p:spPr>
          <a:xfrm>
            <a:off x="386637" y="6113658"/>
            <a:ext cx="184666" cy="184666"/>
          </a:xfrm>
          <a:prstGeom prst="rect">
            <a:avLst/>
          </a:prstGeom>
        </p:spPr>
        <p:txBody>
          <a:bodyPr vert="horz" wrap="none" lIns="0" tIns="0" rIns="0" bIns="0" rtlCol="0" anchor="ctr">
            <a:norm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1F5C09C-E732-4C10-8315-5D339FEEE77B}" type="slidenum">
              <a:rPr lang="en-ID" smtClean="0"/>
              <a:pPr/>
              <a:t>2</a:t>
            </a:fld>
            <a:endParaRPr lang="en-ID" dirty="0"/>
          </a:p>
        </p:txBody>
      </p:sp>
      <p:cxnSp>
        <p:nvCxnSpPr>
          <p:cNvPr id="212" name="Straight Connector 211">
            <a:extLst>
              <a:ext uri="{FF2B5EF4-FFF2-40B4-BE49-F238E27FC236}">
                <a16:creationId xmlns:a16="http://schemas.microsoft.com/office/drawing/2014/main" id="{D8F80C78-25F5-4AB6-B331-839C41B54F57}"/>
              </a:ext>
            </a:extLst>
          </p:cNvPr>
          <p:cNvCxnSpPr>
            <a:cxnSpLocks/>
          </p:cNvCxnSpPr>
          <p:nvPr/>
        </p:nvCxnSpPr>
        <p:spPr>
          <a:xfrm>
            <a:off x="478971" y="2810085"/>
            <a:ext cx="0" cy="320421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B418953F-241F-4233-B800-69863FFB8A03}"/>
              </a:ext>
            </a:extLst>
          </p:cNvPr>
          <p:cNvCxnSpPr>
            <a:cxnSpLocks/>
          </p:cNvCxnSpPr>
          <p:nvPr/>
        </p:nvCxnSpPr>
        <p:spPr>
          <a:xfrm flipH="1">
            <a:off x="7095042" y="5336816"/>
            <a:ext cx="570994"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0C6EF304-AE89-40A8-B2D1-EF416FBE1D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6019" y="785241"/>
            <a:ext cx="4207763" cy="1919172"/>
          </a:xfrm>
          <a:prstGeom prst="rect">
            <a:avLst/>
          </a:prstGeom>
        </p:spPr>
      </p:pic>
    </p:spTree>
    <p:extLst>
      <p:ext uri="{BB962C8B-B14F-4D97-AF65-F5344CB8AC3E}">
        <p14:creationId xmlns:p14="http://schemas.microsoft.com/office/powerpoint/2010/main" val="2223434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1556F6E-04C5-4782-9016-0D9043877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278240"/>
            <a:ext cx="12192000" cy="446435"/>
          </a:xfrm>
          <a:prstGeom prst="rect">
            <a:avLst/>
          </a:prstGeom>
        </p:spPr>
      </p:pic>
      <p:pic>
        <p:nvPicPr>
          <p:cNvPr id="5" name="Picture 4">
            <a:extLst>
              <a:ext uri="{FF2B5EF4-FFF2-40B4-BE49-F238E27FC236}">
                <a16:creationId xmlns:a16="http://schemas.microsoft.com/office/drawing/2014/main" id="{652884B5-B277-4FC3-B545-813A3DB5062A}"/>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162232"/>
            <a:ext cx="12192000" cy="446435"/>
          </a:xfrm>
          <a:prstGeom prst="rect">
            <a:avLst/>
          </a:prstGeom>
        </p:spPr>
      </p:pic>
      <p:pic>
        <p:nvPicPr>
          <p:cNvPr id="3" name="Picture 2">
            <a:extLst>
              <a:ext uri="{FF2B5EF4-FFF2-40B4-BE49-F238E27FC236}">
                <a16:creationId xmlns:a16="http://schemas.microsoft.com/office/drawing/2014/main" id="{4BAA369A-A6A2-4317-BA8C-6B6058ABB5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63877" y="520167"/>
            <a:ext cx="5817665" cy="5817665"/>
          </a:xfrm>
          <a:prstGeom prst="rect">
            <a:avLst/>
          </a:prstGeom>
        </p:spPr>
      </p:pic>
      <p:pic>
        <p:nvPicPr>
          <p:cNvPr id="7" name="Picture 6">
            <a:extLst>
              <a:ext uri="{FF2B5EF4-FFF2-40B4-BE49-F238E27FC236}">
                <a16:creationId xmlns:a16="http://schemas.microsoft.com/office/drawing/2014/main" id="{A1416C81-2A9A-42EF-8502-092EC952F2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7152" y="608667"/>
            <a:ext cx="5669573" cy="5669573"/>
          </a:xfrm>
          <a:prstGeom prst="rect">
            <a:avLst/>
          </a:prstGeom>
        </p:spPr>
      </p:pic>
    </p:spTree>
    <p:extLst>
      <p:ext uri="{BB962C8B-B14F-4D97-AF65-F5344CB8AC3E}">
        <p14:creationId xmlns:p14="http://schemas.microsoft.com/office/powerpoint/2010/main" val="7446390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1556F6E-04C5-4782-9016-0D9043877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278240"/>
            <a:ext cx="12192000" cy="446435"/>
          </a:xfrm>
          <a:prstGeom prst="rect">
            <a:avLst/>
          </a:prstGeom>
        </p:spPr>
      </p:pic>
      <p:pic>
        <p:nvPicPr>
          <p:cNvPr id="5" name="Picture 4">
            <a:extLst>
              <a:ext uri="{FF2B5EF4-FFF2-40B4-BE49-F238E27FC236}">
                <a16:creationId xmlns:a16="http://schemas.microsoft.com/office/drawing/2014/main" id="{652884B5-B277-4FC3-B545-813A3DB5062A}"/>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162232"/>
            <a:ext cx="12192000" cy="446435"/>
          </a:xfrm>
          <a:prstGeom prst="rect">
            <a:avLst/>
          </a:prstGeom>
        </p:spPr>
      </p:pic>
      <p:pic>
        <p:nvPicPr>
          <p:cNvPr id="3" name="Picture 2">
            <a:extLst>
              <a:ext uri="{FF2B5EF4-FFF2-40B4-BE49-F238E27FC236}">
                <a16:creationId xmlns:a16="http://schemas.microsoft.com/office/drawing/2014/main" id="{8CD0B403-D719-4932-88EC-D4F2957CA5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7770" y="599079"/>
            <a:ext cx="4640886" cy="56578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a:extLst>
              <a:ext uri="{FF2B5EF4-FFF2-40B4-BE49-F238E27FC236}">
                <a16:creationId xmlns:a16="http://schemas.microsoft.com/office/drawing/2014/main" id="{6D7D1DB5-9A46-478D-AC62-756E1219C8B7}"/>
              </a:ext>
            </a:extLst>
          </p:cNvPr>
          <p:cNvPicPr>
            <a:picLocks noChangeAspect="1"/>
          </p:cNvPicPr>
          <p:nvPr/>
        </p:nvPicPr>
        <p:blipFill rotWithShape="1">
          <a:blip r:embed="rId4">
            <a:extLst>
              <a:ext uri="{28A0092B-C50C-407E-A947-70E740481C1C}">
                <a14:useLocalDpi xmlns:a14="http://schemas.microsoft.com/office/drawing/2010/main" val="0"/>
              </a:ext>
            </a:extLst>
          </a:blip>
          <a:srcRect t="762"/>
          <a:stretch/>
        </p:blipFill>
        <p:spPr>
          <a:xfrm>
            <a:off x="5056426" y="587504"/>
            <a:ext cx="2695288" cy="56578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Picture 8">
            <a:extLst>
              <a:ext uri="{FF2B5EF4-FFF2-40B4-BE49-F238E27FC236}">
                <a16:creationId xmlns:a16="http://schemas.microsoft.com/office/drawing/2014/main" id="{312795FF-5A31-4D48-B6CA-63063BD00B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91873" y="575929"/>
            <a:ext cx="3943553" cy="565972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1630507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1556F6E-04C5-4782-9016-0D9043877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278240"/>
            <a:ext cx="12192000" cy="446435"/>
          </a:xfrm>
          <a:prstGeom prst="rect">
            <a:avLst/>
          </a:prstGeom>
        </p:spPr>
      </p:pic>
      <p:pic>
        <p:nvPicPr>
          <p:cNvPr id="5" name="Picture 4">
            <a:extLst>
              <a:ext uri="{FF2B5EF4-FFF2-40B4-BE49-F238E27FC236}">
                <a16:creationId xmlns:a16="http://schemas.microsoft.com/office/drawing/2014/main" id="{652884B5-B277-4FC3-B545-813A3DB5062A}"/>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162232"/>
            <a:ext cx="12192000" cy="446435"/>
          </a:xfrm>
          <a:prstGeom prst="rect">
            <a:avLst/>
          </a:prstGeom>
        </p:spPr>
      </p:pic>
      <p:pic>
        <p:nvPicPr>
          <p:cNvPr id="3" name="Picture 2">
            <a:extLst>
              <a:ext uri="{FF2B5EF4-FFF2-40B4-BE49-F238E27FC236}">
                <a16:creationId xmlns:a16="http://schemas.microsoft.com/office/drawing/2014/main" id="{4A6E60AD-E7B3-478F-B2C0-0D14382619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452" y="863752"/>
            <a:ext cx="5179677" cy="4922874"/>
          </a:xfrm>
          <a:prstGeom prst="rect">
            <a:avLst/>
          </a:prstGeom>
        </p:spPr>
      </p:pic>
      <p:pic>
        <p:nvPicPr>
          <p:cNvPr id="11" name="Picture 10">
            <a:extLst>
              <a:ext uri="{FF2B5EF4-FFF2-40B4-BE49-F238E27FC236}">
                <a16:creationId xmlns:a16="http://schemas.microsoft.com/office/drawing/2014/main" id="{56E97268-C079-46AA-B891-5FB7FB7FE2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83821" y="672365"/>
            <a:ext cx="6382328" cy="5305647"/>
          </a:xfrm>
          <a:prstGeom prst="rect">
            <a:avLst/>
          </a:prstGeom>
        </p:spPr>
      </p:pic>
    </p:spTree>
    <p:extLst>
      <p:ext uri="{BB962C8B-B14F-4D97-AF65-F5344CB8AC3E}">
        <p14:creationId xmlns:p14="http://schemas.microsoft.com/office/powerpoint/2010/main" val="15624504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1556F6E-04C5-4782-9016-0D9043877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278240"/>
            <a:ext cx="12192000" cy="446435"/>
          </a:xfrm>
          <a:prstGeom prst="rect">
            <a:avLst/>
          </a:prstGeom>
        </p:spPr>
      </p:pic>
      <p:pic>
        <p:nvPicPr>
          <p:cNvPr id="5" name="Picture 4">
            <a:extLst>
              <a:ext uri="{FF2B5EF4-FFF2-40B4-BE49-F238E27FC236}">
                <a16:creationId xmlns:a16="http://schemas.microsoft.com/office/drawing/2014/main" id="{652884B5-B277-4FC3-B545-813A3DB5062A}"/>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162232"/>
            <a:ext cx="12192000" cy="446435"/>
          </a:xfrm>
          <a:prstGeom prst="rect">
            <a:avLst/>
          </a:prstGeom>
        </p:spPr>
      </p:pic>
      <p:pic>
        <p:nvPicPr>
          <p:cNvPr id="7" name="Picture 6">
            <a:extLst>
              <a:ext uri="{FF2B5EF4-FFF2-40B4-BE49-F238E27FC236}">
                <a16:creationId xmlns:a16="http://schemas.microsoft.com/office/drawing/2014/main" id="{2EFA5B25-C4AC-475E-A234-409995DA3F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33877" y="1821915"/>
            <a:ext cx="3214170" cy="3214170"/>
          </a:xfrm>
          <a:prstGeom prst="rect">
            <a:avLst/>
          </a:prstGeom>
        </p:spPr>
      </p:pic>
      <p:pic>
        <p:nvPicPr>
          <p:cNvPr id="9" name="Picture 8">
            <a:extLst>
              <a:ext uri="{FF2B5EF4-FFF2-40B4-BE49-F238E27FC236}">
                <a16:creationId xmlns:a16="http://schemas.microsoft.com/office/drawing/2014/main" id="{020599E9-8990-46FF-83B7-CF8B216B8E6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81830" y="1821915"/>
            <a:ext cx="3214170" cy="3214170"/>
          </a:xfrm>
          <a:prstGeom prst="rect">
            <a:avLst/>
          </a:prstGeom>
        </p:spPr>
      </p:pic>
      <p:pic>
        <p:nvPicPr>
          <p:cNvPr id="13" name="Picture 12">
            <a:extLst>
              <a:ext uri="{FF2B5EF4-FFF2-40B4-BE49-F238E27FC236}">
                <a16:creationId xmlns:a16="http://schemas.microsoft.com/office/drawing/2014/main" id="{DDE75219-0C6D-46B1-AA46-E8837CBA158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84093" y="1836369"/>
            <a:ext cx="3214170" cy="3214170"/>
          </a:xfrm>
          <a:prstGeom prst="rect">
            <a:avLst/>
          </a:prstGeom>
        </p:spPr>
      </p:pic>
      <p:pic>
        <p:nvPicPr>
          <p:cNvPr id="15" name="Picture 14">
            <a:extLst>
              <a:ext uri="{FF2B5EF4-FFF2-40B4-BE49-F238E27FC236}">
                <a16:creationId xmlns:a16="http://schemas.microsoft.com/office/drawing/2014/main" id="{63EEB7FA-8035-4F37-85E4-32B8508784B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260" y="1888238"/>
            <a:ext cx="3069745" cy="3069745"/>
          </a:xfrm>
          <a:prstGeom prst="rect">
            <a:avLst/>
          </a:prstGeom>
        </p:spPr>
      </p:pic>
    </p:spTree>
    <p:extLst>
      <p:ext uri="{BB962C8B-B14F-4D97-AF65-F5344CB8AC3E}">
        <p14:creationId xmlns:p14="http://schemas.microsoft.com/office/powerpoint/2010/main" val="40486546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7">
            <a:extLst>
              <a:ext uri="{FF2B5EF4-FFF2-40B4-BE49-F238E27FC236}">
                <a16:creationId xmlns:a16="http://schemas.microsoft.com/office/drawing/2014/main" id="{20A54723-965D-418F-9FDF-1654968B01A5}"/>
              </a:ext>
            </a:extLst>
          </p:cNvPr>
          <p:cNvSpPr txBox="1">
            <a:spLocks/>
          </p:cNvSpPr>
          <p:nvPr/>
        </p:nvSpPr>
        <p:spPr>
          <a:xfrm>
            <a:off x="4785093" y="1106815"/>
            <a:ext cx="2621812" cy="73796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D" sz="4800" b="1" i="1" dirty="0"/>
              <a:t>Reach us: </a:t>
            </a:r>
          </a:p>
        </p:txBody>
      </p:sp>
      <p:sp>
        <p:nvSpPr>
          <p:cNvPr id="3" name="Title 17">
            <a:extLst>
              <a:ext uri="{FF2B5EF4-FFF2-40B4-BE49-F238E27FC236}">
                <a16:creationId xmlns:a16="http://schemas.microsoft.com/office/drawing/2014/main" id="{F5AB7A96-B996-4257-B1EB-7FAA083131C3}"/>
              </a:ext>
            </a:extLst>
          </p:cNvPr>
          <p:cNvSpPr txBox="1">
            <a:spLocks/>
          </p:cNvSpPr>
          <p:nvPr/>
        </p:nvSpPr>
        <p:spPr>
          <a:xfrm>
            <a:off x="3237065" y="3610719"/>
            <a:ext cx="5282276" cy="50748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ID" sz="2800" dirty="0">
                <a:hlinkClick r:id="rId2"/>
              </a:rPr>
              <a:t>vss@paruluniversity.ac.in</a:t>
            </a:r>
            <a:br>
              <a:rPr lang="en-ID" sz="2800" dirty="0"/>
            </a:br>
            <a:endParaRPr lang="en-ID" sz="1050" dirty="0"/>
          </a:p>
          <a:p>
            <a:pPr algn="ctr"/>
            <a:r>
              <a:rPr lang="en-ID" sz="2800" dirty="0"/>
              <a:t>+91 972 512 5484</a:t>
            </a:r>
          </a:p>
        </p:txBody>
      </p:sp>
      <p:sp>
        <p:nvSpPr>
          <p:cNvPr id="4" name="Rectangle 3">
            <a:extLst>
              <a:ext uri="{FF2B5EF4-FFF2-40B4-BE49-F238E27FC236}">
                <a16:creationId xmlns:a16="http://schemas.microsoft.com/office/drawing/2014/main" id="{D200288A-C1DA-410B-B322-A6267C6497EB}"/>
              </a:ext>
            </a:extLst>
          </p:cNvPr>
          <p:cNvSpPr/>
          <p:nvPr/>
        </p:nvSpPr>
        <p:spPr>
          <a:xfrm>
            <a:off x="2120926" y="2035250"/>
            <a:ext cx="7950145" cy="1384995"/>
          </a:xfrm>
          <a:prstGeom prst="rect">
            <a:avLst/>
          </a:prstGeom>
          <a:noFill/>
        </p:spPr>
        <p:txBody>
          <a:bodyPr wrap="square" lIns="91440" tIns="45720" rIns="91440" bIns="45720">
            <a:spAutoFit/>
          </a:bodyPr>
          <a:lstStyle/>
          <a:p>
            <a:pPr algn="ctr"/>
            <a:r>
              <a:rPr lang="pt-BR" sz="2800" b="1" i="0" dirty="0">
                <a:solidFill>
                  <a:srgbClr val="202124"/>
                </a:solidFill>
                <a:effectLst/>
                <a:latin typeface="arial" panose="020B0604020202020204" pitchFamily="34" charset="0"/>
              </a:rPr>
              <a:t>Vadodara Startup Studio – Parul University</a:t>
            </a:r>
            <a:r>
              <a:rPr lang="pt-BR" sz="2800" b="0" i="0" dirty="0">
                <a:solidFill>
                  <a:srgbClr val="202124"/>
                </a:solidFill>
                <a:effectLst/>
                <a:latin typeface="arial" panose="020B0604020202020204" pitchFamily="34" charset="0"/>
              </a:rPr>
              <a:t>, Above Diva Hospital, Near Amitnagar Circle, VIP Road, Karelibagh, Vadodara, Gujarat 390022</a:t>
            </a:r>
            <a:endParaRPr lang="en-US" sz="2800" b="0" cap="none" spc="0" dirty="0">
              <a:ln w="0"/>
              <a:solidFill>
                <a:schemeClr val="tx1"/>
              </a:solidFill>
              <a:effectLst>
                <a:outerShdw blurRad="38100" dist="19050" dir="2700000" algn="tl" rotWithShape="0">
                  <a:schemeClr val="dk1">
                    <a:alpha val="40000"/>
                  </a:schemeClr>
                </a:outerShdw>
              </a:effectLst>
            </a:endParaRPr>
          </a:p>
        </p:txBody>
      </p:sp>
      <p:sp>
        <p:nvSpPr>
          <p:cNvPr id="7" name="Freeform 5">
            <a:extLst>
              <a:ext uri="{FF2B5EF4-FFF2-40B4-BE49-F238E27FC236}">
                <a16:creationId xmlns:a16="http://schemas.microsoft.com/office/drawing/2014/main" id="{CEEC3CDB-73CC-458C-89DF-688045232BAD}"/>
              </a:ext>
            </a:extLst>
          </p:cNvPr>
          <p:cNvSpPr>
            <a:spLocks/>
          </p:cNvSpPr>
          <p:nvPr/>
        </p:nvSpPr>
        <p:spPr bwMode="auto">
          <a:xfrm rot="451391" flipH="1">
            <a:off x="3332480" y="3717547"/>
            <a:ext cx="9042400" cy="9277092"/>
          </a:xfrm>
          <a:custGeom>
            <a:avLst/>
            <a:gdLst>
              <a:gd name="T0" fmla="*/ 687 w 1433"/>
              <a:gd name="T1" fmla="*/ 1323 h 1472"/>
              <a:gd name="T2" fmla="*/ 0 w 1433"/>
              <a:gd name="T3" fmla="*/ 1472 h 1472"/>
              <a:gd name="T4" fmla="*/ 0 w 1433"/>
              <a:gd name="T5" fmla="*/ 0 h 1472"/>
              <a:gd name="T6" fmla="*/ 106 w 1433"/>
              <a:gd name="T7" fmla="*/ 0 h 1472"/>
              <a:gd name="T8" fmla="*/ 116 w 1433"/>
              <a:gd name="T9" fmla="*/ 23 h 1472"/>
              <a:gd name="T10" fmla="*/ 317 w 1433"/>
              <a:gd name="T11" fmla="*/ 182 h 1472"/>
              <a:gd name="T12" fmla="*/ 612 w 1433"/>
              <a:gd name="T13" fmla="*/ 234 h 1472"/>
              <a:gd name="T14" fmla="*/ 1414 w 1433"/>
              <a:gd name="T15" fmla="*/ 763 h 1472"/>
              <a:gd name="T16" fmla="*/ 687 w 1433"/>
              <a:gd name="T17" fmla="*/ 1323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3" h="1472">
                <a:moveTo>
                  <a:pt x="687" y="1323"/>
                </a:moveTo>
                <a:cubicBezTo>
                  <a:pt x="247" y="1226"/>
                  <a:pt x="0" y="1472"/>
                  <a:pt x="0" y="1472"/>
                </a:cubicBezTo>
                <a:cubicBezTo>
                  <a:pt x="0" y="0"/>
                  <a:pt x="0" y="0"/>
                  <a:pt x="0" y="0"/>
                </a:cubicBezTo>
                <a:cubicBezTo>
                  <a:pt x="106" y="0"/>
                  <a:pt x="106" y="0"/>
                  <a:pt x="106" y="0"/>
                </a:cubicBezTo>
                <a:cubicBezTo>
                  <a:pt x="106" y="0"/>
                  <a:pt x="108" y="9"/>
                  <a:pt x="116" y="23"/>
                </a:cubicBezTo>
                <a:cubicBezTo>
                  <a:pt x="136" y="59"/>
                  <a:pt x="189" y="132"/>
                  <a:pt x="317" y="182"/>
                </a:cubicBezTo>
                <a:cubicBezTo>
                  <a:pt x="389" y="210"/>
                  <a:pt x="485" y="231"/>
                  <a:pt x="612" y="234"/>
                </a:cubicBezTo>
                <a:cubicBezTo>
                  <a:pt x="1048" y="246"/>
                  <a:pt x="1394" y="435"/>
                  <a:pt x="1414" y="763"/>
                </a:cubicBezTo>
                <a:cubicBezTo>
                  <a:pt x="1433" y="1091"/>
                  <a:pt x="1127" y="1420"/>
                  <a:pt x="687" y="1323"/>
                </a:cubicBezTo>
                <a:close/>
              </a:path>
            </a:pathLst>
          </a:custGeom>
          <a:gradFill>
            <a:gsLst>
              <a:gs pos="0">
                <a:srgbClr val="CBEBE1"/>
              </a:gs>
              <a:gs pos="71000">
                <a:srgbClr val="26AA83"/>
              </a:gs>
            </a:gsLst>
            <a:lin ang="5400000" scaled="1"/>
          </a:grad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5">
            <a:extLst>
              <a:ext uri="{FF2B5EF4-FFF2-40B4-BE49-F238E27FC236}">
                <a16:creationId xmlns:a16="http://schemas.microsoft.com/office/drawing/2014/main" id="{E39607C3-A682-402F-8302-EECE6B25331A}"/>
              </a:ext>
            </a:extLst>
          </p:cNvPr>
          <p:cNvSpPr>
            <a:spLocks/>
          </p:cNvSpPr>
          <p:nvPr/>
        </p:nvSpPr>
        <p:spPr bwMode="auto">
          <a:xfrm flipV="1">
            <a:off x="-85255" y="4453770"/>
            <a:ext cx="6299200" cy="6462693"/>
          </a:xfrm>
          <a:custGeom>
            <a:avLst/>
            <a:gdLst>
              <a:gd name="T0" fmla="*/ 687 w 1433"/>
              <a:gd name="T1" fmla="*/ 1323 h 1472"/>
              <a:gd name="T2" fmla="*/ 0 w 1433"/>
              <a:gd name="T3" fmla="*/ 1472 h 1472"/>
              <a:gd name="T4" fmla="*/ 0 w 1433"/>
              <a:gd name="T5" fmla="*/ 0 h 1472"/>
              <a:gd name="T6" fmla="*/ 106 w 1433"/>
              <a:gd name="T7" fmla="*/ 0 h 1472"/>
              <a:gd name="T8" fmla="*/ 116 w 1433"/>
              <a:gd name="T9" fmla="*/ 23 h 1472"/>
              <a:gd name="T10" fmla="*/ 317 w 1433"/>
              <a:gd name="T11" fmla="*/ 182 h 1472"/>
              <a:gd name="T12" fmla="*/ 612 w 1433"/>
              <a:gd name="T13" fmla="*/ 234 h 1472"/>
              <a:gd name="T14" fmla="*/ 1414 w 1433"/>
              <a:gd name="T15" fmla="*/ 763 h 1472"/>
              <a:gd name="T16" fmla="*/ 687 w 1433"/>
              <a:gd name="T17" fmla="*/ 1323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3" h="1472">
                <a:moveTo>
                  <a:pt x="687" y="1323"/>
                </a:moveTo>
                <a:cubicBezTo>
                  <a:pt x="247" y="1226"/>
                  <a:pt x="0" y="1472"/>
                  <a:pt x="0" y="1472"/>
                </a:cubicBezTo>
                <a:cubicBezTo>
                  <a:pt x="0" y="0"/>
                  <a:pt x="0" y="0"/>
                  <a:pt x="0" y="0"/>
                </a:cubicBezTo>
                <a:cubicBezTo>
                  <a:pt x="106" y="0"/>
                  <a:pt x="106" y="0"/>
                  <a:pt x="106" y="0"/>
                </a:cubicBezTo>
                <a:cubicBezTo>
                  <a:pt x="106" y="0"/>
                  <a:pt x="108" y="9"/>
                  <a:pt x="116" y="23"/>
                </a:cubicBezTo>
                <a:cubicBezTo>
                  <a:pt x="136" y="59"/>
                  <a:pt x="189" y="132"/>
                  <a:pt x="317" y="182"/>
                </a:cubicBezTo>
                <a:cubicBezTo>
                  <a:pt x="389" y="210"/>
                  <a:pt x="485" y="231"/>
                  <a:pt x="612" y="234"/>
                </a:cubicBezTo>
                <a:cubicBezTo>
                  <a:pt x="1048" y="246"/>
                  <a:pt x="1394" y="435"/>
                  <a:pt x="1414" y="763"/>
                </a:cubicBezTo>
                <a:cubicBezTo>
                  <a:pt x="1433" y="1091"/>
                  <a:pt x="1127" y="1420"/>
                  <a:pt x="687" y="1323"/>
                </a:cubicBezTo>
                <a:close/>
              </a:path>
            </a:pathLst>
          </a:custGeom>
          <a:gradFill>
            <a:gsLst>
              <a:gs pos="0">
                <a:srgbClr val="F8B7AA"/>
              </a:gs>
              <a:gs pos="51000">
                <a:srgbClr val="EB5232"/>
              </a:gs>
            </a:gsLst>
            <a:lin ang="3000000" scaled="0"/>
          </a:gradFill>
          <a:ln>
            <a:noFill/>
          </a:ln>
        </p:spPr>
        <p:txBody>
          <a:bodyPr vert="horz" wrap="square" lIns="91440" tIns="45720" rIns="91440" bIns="45720" numCol="1" anchor="t" anchorCtr="0" compatLnSpc="1">
            <a:prstTxWarp prst="textNoShape">
              <a:avLst/>
            </a:prstTxWarp>
          </a:bodyPr>
          <a:lstStyle/>
          <a:p>
            <a:endParaRPr lang="en-US"/>
          </a:p>
        </p:txBody>
      </p:sp>
      <p:pic>
        <p:nvPicPr>
          <p:cNvPr id="6" name="Graphic 5">
            <a:extLst>
              <a:ext uri="{FF2B5EF4-FFF2-40B4-BE49-F238E27FC236}">
                <a16:creationId xmlns:a16="http://schemas.microsoft.com/office/drawing/2014/main" id="{73233069-1110-4D81-A68A-F5EABE31755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0757" y="3182631"/>
            <a:ext cx="2219589" cy="3170842"/>
          </a:xfrm>
          <a:prstGeom prst="rect">
            <a:avLst/>
          </a:prstGeom>
        </p:spPr>
      </p:pic>
    </p:spTree>
    <p:extLst>
      <p:ext uri="{BB962C8B-B14F-4D97-AF65-F5344CB8AC3E}">
        <p14:creationId xmlns:p14="http://schemas.microsoft.com/office/powerpoint/2010/main" val="10848622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1B2D5C-4670-419C-8486-0DF706EEDBEE}"/>
              </a:ext>
            </a:extLst>
          </p:cNvPr>
          <p:cNvSpPr>
            <a:spLocks noGrp="1"/>
          </p:cNvSpPr>
          <p:nvPr>
            <p:ph type="title"/>
          </p:nvPr>
        </p:nvSpPr>
        <p:spPr/>
        <p:txBody>
          <a:bodyPr>
            <a:normAutofit/>
          </a:bodyPr>
          <a:lstStyle/>
          <a:p>
            <a:r>
              <a:rPr lang="en-US" b="1" dirty="0"/>
              <a:t>‘Make In India’ Initiative:</a:t>
            </a:r>
          </a:p>
        </p:txBody>
      </p:sp>
      <p:sp>
        <p:nvSpPr>
          <p:cNvPr id="4" name="Slide Number Placeholder 3">
            <a:extLst>
              <a:ext uri="{FF2B5EF4-FFF2-40B4-BE49-F238E27FC236}">
                <a16:creationId xmlns:a16="http://schemas.microsoft.com/office/drawing/2014/main" id="{8BE8A89D-471B-4262-BE65-0E313E37B161}"/>
              </a:ext>
            </a:extLst>
          </p:cNvPr>
          <p:cNvSpPr>
            <a:spLocks noGrp="1"/>
          </p:cNvSpPr>
          <p:nvPr>
            <p:ph type="sldNum" sz="quarter" idx="12"/>
          </p:nvPr>
        </p:nvSpPr>
        <p:spPr/>
        <p:txBody>
          <a:bodyPr/>
          <a:lstStyle/>
          <a:p>
            <a:fld id="{B92F3C48-507F-4435-8425-83E1FFF3BAE3}" type="slidenum">
              <a:rPr lang="en-US" smtClean="0"/>
              <a:pPr/>
              <a:t>3</a:t>
            </a:fld>
            <a:endParaRPr lang="en-US" dirty="0"/>
          </a:p>
        </p:txBody>
      </p:sp>
      <p:grpSp>
        <p:nvGrpSpPr>
          <p:cNvPr id="31" name="Group 30">
            <a:extLst>
              <a:ext uri="{FF2B5EF4-FFF2-40B4-BE49-F238E27FC236}">
                <a16:creationId xmlns:a16="http://schemas.microsoft.com/office/drawing/2014/main" id="{D7AE9E7E-C786-4009-8167-84D95664C915}"/>
              </a:ext>
            </a:extLst>
          </p:cNvPr>
          <p:cNvGrpSpPr/>
          <p:nvPr/>
        </p:nvGrpSpPr>
        <p:grpSpPr>
          <a:xfrm>
            <a:off x="3910012" y="4052079"/>
            <a:ext cx="4371976" cy="3990976"/>
            <a:chOff x="449263" y="2471737"/>
            <a:chExt cx="4371976" cy="3990976"/>
          </a:xfrm>
        </p:grpSpPr>
        <p:sp>
          <p:nvSpPr>
            <p:cNvPr id="32" name="Freeform 5">
              <a:extLst>
                <a:ext uri="{FF2B5EF4-FFF2-40B4-BE49-F238E27FC236}">
                  <a16:creationId xmlns:a16="http://schemas.microsoft.com/office/drawing/2014/main" id="{FDD5A7AC-2B73-4237-A56C-26E6041735F2}"/>
                </a:ext>
              </a:extLst>
            </p:cNvPr>
            <p:cNvSpPr>
              <a:spLocks/>
            </p:cNvSpPr>
            <p:nvPr/>
          </p:nvSpPr>
          <p:spPr bwMode="auto">
            <a:xfrm>
              <a:off x="1895476" y="3187700"/>
              <a:ext cx="539750" cy="1333500"/>
            </a:xfrm>
            <a:custGeom>
              <a:avLst/>
              <a:gdLst>
                <a:gd name="T0" fmla="*/ 340 w 340"/>
                <a:gd name="T1" fmla="*/ 468 h 840"/>
                <a:gd name="T2" fmla="*/ 0 w 340"/>
                <a:gd name="T3" fmla="*/ 840 h 840"/>
                <a:gd name="T4" fmla="*/ 45 w 340"/>
                <a:gd name="T5" fmla="*/ 84 h 840"/>
                <a:gd name="T6" fmla="*/ 321 w 340"/>
                <a:gd name="T7" fmla="*/ 0 h 840"/>
                <a:gd name="T8" fmla="*/ 340 w 340"/>
                <a:gd name="T9" fmla="*/ 468 h 840"/>
                <a:gd name="T10" fmla="*/ 340 w 340"/>
                <a:gd name="T11" fmla="*/ 468 h 840"/>
              </a:gdLst>
              <a:ahLst/>
              <a:cxnLst>
                <a:cxn ang="0">
                  <a:pos x="T0" y="T1"/>
                </a:cxn>
                <a:cxn ang="0">
                  <a:pos x="T2" y="T3"/>
                </a:cxn>
                <a:cxn ang="0">
                  <a:pos x="T4" y="T5"/>
                </a:cxn>
                <a:cxn ang="0">
                  <a:pos x="T6" y="T7"/>
                </a:cxn>
                <a:cxn ang="0">
                  <a:pos x="T8" y="T9"/>
                </a:cxn>
                <a:cxn ang="0">
                  <a:pos x="T10" y="T11"/>
                </a:cxn>
              </a:cxnLst>
              <a:rect l="0" t="0" r="r" b="b"/>
              <a:pathLst>
                <a:path w="340" h="840">
                  <a:moveTo>
                    <a:pt x="340" y="468"/>
                  </a:moveTo>
                  <a:lnTo>
                    <a:pt x="0" y="840"/>
                  </a:lnTo>
                  <a:lnTo>
                    <a:pt x="45" y="84"/>
                  </a:lnTo>
                  <a:lnTo>
                    <a:pt x="321" y="0"/>
                  </a:lnTo>
                  <a:lnTo>
                    <a:pt x="340" y="468"/>
                  </a:lnTo>
                  <a:lnTo>
                    <a:pt x="340" y="468"/>
                  </a:lnTo>
                  <a:close/>
                </a:path>
              </a:pathLst>
            </a:custGeom>
            <a:solidFill>
              <a:srgbClr val="02171C"/>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217D443F-3AA0-4CAA-8DB5-3E424D60EC9D}"/>
                </a:ext>
              </a:extLst>
            </p:cNvPr>
            <p:cNvSpPr>
              <a:spLocks/>
            </p:cNvSpPr>
            <p:nvPr/>
          </p:nvSpPr>
          <p:spPr bwMode="auto">
            <a:xfrm>
              <a:off x="2073276" y="2670175"/>
              <a:ext cx="346075" cy="401638"/>
            </a:xfrm>
            <a:custGeom>
              <a:avLst/>
              <a:gdLst>
                <a:gd name="T0" fmla="*/ 68 w 68"/>
                <a:gd name="T1" fmla="*/ 79 h 79"/>
                <a:gd name="T2" fmla="*/ 36 w 68"/>
                <a:gd name="T3" fmla="*/ 69 h 79"/>
                <a:gd name="T4" fmla="*/ 3 w 68"/>
                <a:gd name="T5" fmla="*/ 70 h 79"/>
                <a:gd name="T6" fmla="*/ 0 w 68"/>
                <a:gd name="T7" fmla="*/ 35 h 79"/>
                <a:gd name="T8" fmla="*/ 9 w 68"/>
                <a:gd name="T9" fmla="*/ 0 h 79"/>
                <a:gd name="T10" fmla="*/ 59 w 68"/>
                <a:gd name="T11" fmla="*/ 9 h 79"/>
                <a:gd name="T12" fmla="*/ 68 w 68"/>
                <a:gd name="T13" fmla="*/ 46 h 79"/>
                <a:gd name="T14" fmla="*/ 68 w 68"/>
                <a:gd name="T15" fmla="*/ 79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79">
                  <a:moveTo>
                    <a:pt x="68" y="79"/>
                  </a:moveTo>
                  <a:cubicBezTo>
                    <a:pt x="68" y="79"/>
                    <a:pt x="58" y="71"/>
                    <a:pt x="36" y="69"/>
                  </a:cubicBezTo>
                  <a:cubicBezTo>
                    <a:pt x="14" y="67"/>
                    <a:pt x="3" y="70"/>
                    <a:pt x="3" y="70"/>
                  </a:cubicBezTo>
                  <a:cubicBezTo>
                    <a:pt x="0" y="35"/>
                    <a:pt x="0" y="35"/>
                    <a:pt x="0" y="35"/>
                  </a:cubicBezTo>
                  <a:cubicBezTo>
                    <a:pt x="9" y="0"/>
                    <a:pt x="9" y="0"/>
                    <a:pt x="9" y="0"/>
                  </a:cubicBezTo>
                  <a:cubicBezTo>
                    <a:pt x="59" y="9"/>
                    <a:pt x="59" y="9"/>
                    <a:pt x="59" y="9"/>
                  </a:cubicBezTo>
                  <a:cubicBezTo>
                    <a:pt x="68" y="46"/>
                    <a:pt x="68" y="46"/>
                    <a:pt x="68" y="46"/>
                  </a:cubicBezTo>
                  <a:cubicBezTo>
                    <a:pt x="68" y="79"/>
                    <a:pt x="68" y="79"/>
                    <a:pt x="68" y="7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6B0AD8F7-CB41-4D7D-9B40-735226B1FC82}"/>
                </a:ext>
              </a:extLst>
            </p:cNvPr>
            <p:cNvSpPr>
              <a:spLocks/>
            </p:cNvSpPr>
            <p:nvPr/>
          </p:nvSpPr>
          <p:spPr bwMode="auto">
            <a:xfrm>
              <a:off x="2063751" y="5740400"/>
              <a:ext cx="300038" cy="285750"/>
            </a:xfrm>
            <a:custGeom>
              <a:avLst/>
              <a:gdLst>
                <a:gd name="T0" fmla="*/ 8 w 59"/>
                <a:gd name="T1" fmla="*/ 1 h 56"/>
                <a:gd name="T2" fmla="*/ 2 w 59"/>
                <a:gd name="T3" fmla="*/ 17 h 56"/>
                <a:gd name="T4" fmla="*/ 2 w 59"/>
                <a:gd name="T5" fmla="*/ 29 h 56"/>
                <a:gd name="T6" fmla="*/ 19 w 59"/>
                <a:gd name="T7" fmla="*/ 36 h 56"/>
                <a:gd name="T8" fmla="*/ 40 w 59"/>
                <a:gd name="T9" fmla="*/ 55 h 56"/>
                <a:gd name="T10" fmla="*/ 58 w 59"/>
                <a:gd name="T11" fmla="*/ 53 h 56"/>
                <a:gd name="T12" fmla="*/ 46 w 59"/>
                <a:gd name="T13" fmla="*/ 42 h 56"/>
                <a:gd name="T14" fmla="*/ 25 w 59"/>
                <a:gd name="T15" fmla="*/ 6 h 56"/>
                <a:gd name="T16" fmla="*/ 8 w 59"/>
                <a:gd name="T17"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6">
                  <a:moveTo>
                    <a:pt x="8" y="1"/>
                  </a:moveTo>
                  <a:cubicBezTo>
                    <a:pt x="7" y="8"/>
                    <a:pt x="3" y="14"/>
                    <a:pt x="2" y="17"/>
                  </a:cubicBezTo>
                  <a:cubicBezTo>
                    <a:pt x="0" y="21"/>
                    <a:pt x="0" y="27"/>
                    <a:pt x="2" y="29"/>
                  </a:cubicBezTo>
                  <a:cubicBezTo>
                    <a:pt x="7" y="34"/>
                    <a:pt x="13" y="32"/>
                    <a:pt x="19" y="36"/>
                  </a:cubicBezTo>
                  <a:cubicBezTo>
                    <a:pt x="25" y="40"/>
                    <a:pt x="35" y="54"/>
                    <a:pt x="40" y="55"/>
                  </a:cubicBezTo>
                  <a:cubicBezTo>
                    <a:pt x="45" y="56"/>
                    <a:pt x="57" y="56"/>
                    <a:pt x="58" y="53"/>
                  </a:cubicBezTo>
                  <a:cubicBezTo>
                    <a:pt x="59" y="51"/>
                    <a:pt x="46" y="42"/>
                    <a:pt x="46" y="42"/>
                  </a:cubicBezTo>
                  <a:cubicBezTo>
                    <a:pt x="27" y="18"/>
                    <a:pt x="25" y="6"/>
                    <a:pt x="25" y="6"/>
                  </a:cubicBezTo>
                  <a:cubicBezTo>
                    <a:pt x="25" y="6"/>
                    <a:pt x="8" y="0"/>
                    <a:pt x="8" y="1"/>
                  </a:cubicBezTo>
                  <a:close/>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04372ACC-E26C-4FEA-8931-DF053F170DCC}"/>
                </a:ext>
              </a:extLst>
            </p:cNvPr>
            <p:cNvSpPr>
              <a:spLocks/>
            </p:cNvSpPr>
            <p:nvPr/>
          </p:nvSpPr>
          <p:spPr bwMode="auto">
            <a:xfrm>
              <a:off x="2058988" y="5802313"/>
              <a:ext cx="320675" cy="233363"/>
            </a:xfrm>
            <a:custGeom>
              <a:avLst/>
              <a:gdLst>
                <a:gd name="T0" fmla="*/ 47 w 63"/>
                <a:gd name="T1" fmla="*/ 30 h 46"/>
                <a:gd name="T2" fmla="*/ 50 w 63"/>
                <a:gd name="T3" fmla="*/ 33 h 46"/>
                <a:gd name="T4" fmla="*/ 42 w 63"/>
                <a:gd name="T5" fmla="*/ 34 h 46"/>
                <a:gd name="T6" fmla="*/ 9 w 63"/>
                <a:gd name="T7" fmla="*/ 9 h 46"/>
                <a:gd name="T8" fmla="*/ 5 w 63"/>
                <a:gd name="T9" fmla="*/ 0 h 46"/>
                <a:gd name="T10" fmla="*/ 1 w 63"/>
                <a:gd name="T11" fmla="*/ 12 h 46"/>
                <a:gd name="T12" fmla="*/ 3 w 63"/>
                <a:gd name="T13" fmla="*/ 17 h 46"/>
                <a:gd name="T14" fmla="*/ 18 w 63"/>
                <a:gd name="T15" fmla="*/ 26 h 46"/>
                <a:gd name="T16" fmla="*/ 38 w 63"/>
                <a:gd name="T17" fmla="*/ 45 h 46"/>
                <a:gd name="T18" fmla="*/ 62 w 63"/>
                <a:gd name="T19" fmla="*/ 44 h 46"/>
                <a:gd name="T20" fmla="*/ 47 w 63"/>
                <a:gd name="T21"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46">
                  <a:moveTo>
                    <a:pt x="47" y="30"/>
                  </a:moveTo>
                  <a:cubicBezTo>
                    <a:pt x="47" y="30"/>
                    <a:pt x="51" y="33"/>
                    <a:pt x="50" y="33"/>
                  </a:cubicBezTo>
                  <a:cubicBezTo>
                    <a:pt x="49" y="35"/>
                    <a:pt x="44" y="34"/>
                    <a:pt x="42" y="34"/>
                  </a:cubicBezTo>
                  <a:cubicBezTo>
                    <a:pt x="30" y="27"/>
                    <a:pt x="13" y="13"/>
                    <a:pt x="9" y="9"/>
                  </a:cubicBezTo>
                  <a:cubicBezTo>
                    <a:pt x="6" y="4"/>
                    <a:pt x="5" y="0"/>
                    <a:pt x="5" y="0"/>
                  </a:cubicBezTo>
                  <a:cubicBezTo>
                    <a:pt x="4" y="0"/>
                    <a:pt x="0" y="7"/>
                    <a:pt x="1" y="12"/>
                  </a:cubicBezTo>
                  <a:cubicBezTo>
                    <a:pt x="1" y="13"/>
                    <a:pt x="2" y="16"/>
                    <a:pt x="3" y="17"/>
                  </a:cubicBezTo>
                  <a:cubicBezTo>
                    <a:pt x="6" y="20"/>
                    <a:pt x="16" y="24"/>
                    <a:pt x="18" y="26"/>
                  </a:cubicBezTo>
                  <a:cubicBezTo>
                    <a:pt x="25" y="30"/>
                    <a:pt x="33" y="44"/>
                    <a:pt x="38" y="45"/>
                  </a:cubicBezTo>
                  <a:cubicBezTo>
                    <a:pt x="44" y="46"/>
                    <a:pt x="61" y="46"/>
                    <a:pt x="62" y="44"/>
                  </a:cubicBezTo>
                  <a:cubicBezTo>
                    <a:pt x="63" y="42"/>
                    <a:pt x="53" y="34"/>
                    <a:pt x="47" y="30"/>
                  </a:cubicBezTo>
                  <a:close/>
                </a:path>
              </a:pathLst>
            </a:custGeom>
            <a:solidFill>
              <a:srgbClr val="032D37"/>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08AE47E8-07BE-49B3-96B7-BB02908409A8}"/>
                </a:ext>
              </a:extLst>
            </p:cNvPr>
            <p:cNvSpPr>
              <a:spLocks/>
            </p:cNvSpPr>
            <p:nvPr/>
          </p:nvSpPr>
          <p:spPr bwMode="auto">
            <a:xfrm>
              <a:off x="2063751" y="5857875"/>
              <a:ext cx="106363" cy="152400"/>
            </a:xfrm>
            <a:custGeom>
              <a:avLst/>
              <a:gdLst>
                <a:gd name="T0" fmla="*/ 0 w 21"/>
                <a:gd name="T1" fmla="*/ 0 h 30"/>
                <a:gd name="T2" fmla="*/ 4 w 21"/>
                <a:gd name="T3" fmla="*/ 14 h 30"/>
                <a:gd name="T4" fmla="*/ 7 w 21"/>
                <a:gd name="T5" fmla="*/ 30 h 30"/>
                <a:gd name="T6" fmla="*/ 10 w 21"/>
                <a:gd name="T7" fmla="*/ 29 h 30"/>
                <a:gd name="T8" fmla="*/ 17 w 21"/>
                <a:gd name="T9" fmla="*/ 15 h 30"/>
                <a:gd name="T10" fmla="*/ 0 w 21"/>
                <a:gd name="T11" fmla="*/ 0 h 30"/>
              </a:gdLst>
              <a:ahLst/>
              <a:cxnLst>
                <a:cxn ang="0">
                  <a:pos x="T0" y="T1"/>
                </a:cxn>
                <a:cxn ang="0">
                  <a:pos x="T2" y="T3"/>
                </a:cxn>
                <a:cxn ang="0">
                  <a:pos x="T4" y="T5"/>
                </a:cxn>
                <a:cxn ang="0">
                  <a:pos x="T6" y="T7"/>
                </a:cxn>
                <a:cxn ang="0">
                  <a:pos x="T8" y="T9"/>
                </a:cxn>
                <a:cxn ang="0">
                  <a:pos x="T10" y="T11"/>
                </a:cxn>
              </a:cxnLst>
              <a:rect l="0" t="0" r="r" b="b"/>
              <a:pathLst>
                <a:path w="21" h="30">
                  <a:moveTo>
                    <a:pt x="0" y="0"/>
                  </a:moveTo>
                  <a:cubicBezTo>
                    <a:pt x="0" y="0"/>
                    <a:pt x="3" y="10"/>
                    <a:pt x="4" y="14"/>
                  </a:cubicBezTo>
                  <a:cubicBezTo>
                    <a:pt x="6" y="19"/>
                    <a:pt x="7" y="30"/>
                    <a:pt x="7" y="30"/>
                  </a:cubicBezTo>
                  <a:cubicBezTo>
                    <a:pt x="10" y="29"/>
                    <a:pt x="10" y="29"/>
                    <a:pt x="10" y="29"/>
                  </a:cubicBezTo>
                  <a:cubicBezTo>
                    <a:pt x="10" y="29"/>
                    <a:pt x="7" y="9"/>
                    <a:pt x="17" y="15"/>
                  </a:cubicBezTo>
                  <a:cubicBezTo>
                    <a:pt x="21" y="17"/>
                    <a:pt x="0" y="0"/>
                    <a:pt x="0" y="0"/>
                  </a:cubicBezTo>
                  <a:close/>
                </a:path>
              </a:pathLst>
            </a:custGeom>
            <a:solidFill>
              <a:srgbClr val="032D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B05C0679-DDF3-48CE-9E32-0C39460A62F3}"/>
                </a:ext>
              </a:extLst>
            </p:cNvPr>
            <p:cNvSpPr>
              <a:spLocks/>
            </p:cNvSpPr>
            <p:nvPr/>
          </p:nvSpPr>
          <p:spPr bwMode="auto">
            <a:xfrm>
              <a:off x="2089151" y="4973638"/>
              <a:ext cx="417513" cy="819150"/>
            </a:xfrm>
            <a:custGeom>
              <a:avLst/>
              <a:gdLst>
                <a:gd name="T0" fmla="*/ 47 w 82"/>
                <a:gd name="T1" fmla="*/ 6 h 161"/>
                <a:gd name="T2" fmla="*/ 13 w 82"/>
                <a:gd name="T3" fmla="*/ 63 h 161"/>
                <a:gd name="T4" fmla="*/ 2 w 82"/>
                <a:gd name="T5" fmla="*/ 157 h 161"/>
                <a:gd name="T6" fmla="*/ 20 w 82"/>
                <a:gd name="T7" fmla="*/ 159 h 161"/>
                <a:gd name="T8" fmla="*/ 59 w 82"/>
                <a:gd name="T9" fmla="*/ 57 h 161"/>
                <a:gd name="T10" fmla="*/ 77 w 82"/>
                <a:gd name="T11" fmla="*/ 16 h 161"/>
                <a:gd name="T12" fmla="*/ 47 w 82"/>
                <a:gd name="T13" fmla="*/ 6 h 161"/>
              </a:gdLst>
              <a:ahLst/>
              <a:cxnLst>
                <a:cxn ang="0">
                  <a:pos x="T0" y="T1"/>
                </a:cxn>
                <a:cxn ang="0">
                  <a:pos x="T2" y="T3"/>
                </a:cxn>
                <a:cxn ang="0">
                  <a:pos x="T4" y="T5"/>
                </a:cxn>
                <a:cxn ang="0">
                  <a:pos x="T6" y="T7"/>
                </a:cxn>
                <a:cxn ang="0">
                  <a:pos x="T8" y="T9"/>
                </a:cxn>
                <a:cxn ang="0">
                  <a:pos x="T10" y="T11"/>
                </a:cxn>
                <a:cxn ang="0">
                  <a:pos x="T12" y="T13"/>
                </a:cxn>
              </a:cxnLst>
              <a:rect l="0" t="0" r="r" b="b"/>
              <a:pathLst>
                <a:path w="82" h="161">
                  <a:moveTo>
                    <a:pt x="47" y="6"/>
                  </a:moveTo>
                  <a:cubicBezTo>
                    <a:pt x="30" y="16"/>
                    <a:pt x="16" y="49"/>
                    <a:pt x="13" y="63"/>
                  </a:cubicBezTo>
                  <a:cubicBezTo>
                    <a:pt x="10" y="76"/>
                    <a:pt x="4" y="152"/>
                    <a:pt x="2" y="157"/>
                  </a:cubicBezTo>
                  <a:cubicBezTo>
                    <a:pt x="0" y="161"/>
                    <a:pt x="19" y="161"/>
                    <a:pt x="20" y="159"/>
                  </a:cubicBezTo>
                  <a:cubicBezTo>
                    <a:pt x="27" y="132"/>
                    <a:pt x="56" y="63"/>
                    <a:pt x="59" y="57"/>
                  </a:cubicBezTo>
                  <a:cubicBezTo>
                    <a:pt x="62" y="50"/>
                    <a:pt x="76" y="19"/>
                    <a:pt x="77" y="16"/>
                  </a:cubicBezTo>
                  <a:cubicBezTo>
                    <a:pt x="82" y="0"/>
                    <a:pt x="57" y="1"/>
                    <a:pt x="47" y="6"/>
                  </a:cubicBezTo>
                  <a:close/>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9AC51062-30D9-4350-8C07-F414EDB6FEAB}"/>
                </a:ext>
              </a:extLst>
            </p:cNvPr>
            <p:cNvSpPr>
              <a:spLocks/>
            </p:cNvSpPr>
            <p:nvPr/>
          </p:nvSpPr>
          <p:spPr bwMode="auto">
            <a:xfrm>
              <a:off x="2836863" y="4362450"/>
              <a:ext cx="41275" cy="107950"/>
            </a:xfrm>
            <a:custGeom>
              <a:avLst/>
              <a:gdLst>
                <a:gd name="T0" fmla="*/ 3 w 8"/>
                <a:gd name="T1" fmla="*/ 0 h 21"/>
                <a:gd name="T2" fmla="*/ 3 w 8"/>
                <a:gd name="T3" fmla="*/ 9 h 21"/>
                <a:gd name="T4" fmla="*/ 0 w 8"/>
                <a:gd name="T5" fmla="*/ 15 h 21"/>
                <a:gd name="T6" fmla="*/ 0 w 8"/>
                <a:gd name="T7" fmla="*/ 20 h 21"/>
                <a:gd name="T8" fmla="*/ 4 w 8"/>
                <a:gd name="T9" fmla="*/ 17 h 21"/>
                <a:gd name="T10" fmla="*/ 7 w 8"/>
                <a:gd name="T11" fmla="*/ 11 h 21"/>
                <a:gd name="T12" fmla="*/ 8 w 8"/>
                <a:gd name="T13" fmla="*/ 2 h 21"/>
                <a:gd name="T14" fmla="*/ 3 w 8"/>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1">
                  <a:moveTo>
                    <a:pt x="3" y="0"/>
                  </a:moveTo>
                  <a:cubicBezTo>
                    <a:pt x="3" y="0"/>
                    <a:pt x="3" y="7"/>
                    <a:pt x="3" y="9"/>
                  </a:cubicBezTo>
                  <a:cubicBezTo>
                    <a:pt x="3" y="11"/>
                    <a:pt x="1" y="13"/>
                    <a:pt x="0" y="15"/>
                  </a:cubicBezTo>
                  <a:cubicBezTo>
                    <a:pt x="0" y="17"/>
                    <a:pt x="0" y="20"/>
                    <a:pt x="0" y="20"/>
                  </a:cubicBezTo>
                  <a:cubicBezTo>
                    <a:pt x="2" y="21"/>
                    <a:pt x="3" y="19"/>
                    <a:pt x="4" y="17"/>
                  </a:cubicBezTo>
                  <a:cubicBezTo>
                    <a:pt x="5" y="16"/>
                    <a:pt x="6" y="13"/>
                    <a:pt x="7" y="11"/>
                  </a:cubicBezTo>
                  <a:cubicBezTo>
                    <a:pt x="7" y="8"/>
                    <a:pt x="8" y="3"/>
                    <a:pt x="8" y="2"/>
                  </a:cubicBezTo>
                  <a:cubicBezTo>
                    <a:pt x="8" y="0"/>
                    <a:pt x="3" y="0"/>
                    <a:pt x="3" y="0"/>
                  </a:cubicBezTo>
                  <a:close/>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F337FB32-3A68-4241-BA0A-B15DE5D8F7BF}"/>
                </a:ext>
              </a:extLst>
            </p:cNvPr>
            <p:cNvSpPr>
              <a:spLocks/>
            </p:cNvSpPr>
            <p:nvPr/>
          </p:nvSpPr>
          <p:spPr bwMode="auto">
            <a:xfrm>
              <a:off x="2806701" y="4352925"/>
              <a:ext cx="71438" cy="85725"/>
            </a:xfrm>
            <a:custGeom>
              <a:avLst/>
              <a:gdLst>
                <a:gd name="T0" fmla="*/ 9 w 14"/>
                <a:gd name="T1" fmla="*/ 0 h 17"/>
                <a:gd name="T2" fmla="*/ 7 w 14"/>
                <a:gd name="T3" fmla="*/ 8 h 17"/>
                <a:gd name="T4" fmla="*/ 3 w 14"/>
                <a:gd name="T5" fmla="*/ 11 h 17"/>
                <a:gd name="T6" fmla="*/ 0 w 14"/>
                <a:gd name="T7" fmla="*/ 15 h 17"/>
                <a:gd name="T8" fmla="*/ 4 w 14"/>
                <a:gd name="T9" fmla="*/ 15 h 17"/>
                <a:gd name="T10" fmla="*/ 10 w 14"/>
                <a:gd name="T11" fmla="*/ 10 h 17"/>
                <a:gd name="T12" fmla="*/ 14 w 14"/>
                <a:gd name="T13" fmla="*/ 3 h 17"/>
                <a:gd name="T14" fmla="*/ 9 w 14"/>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9" y="0"/>
                  </a:moveTo>
                  <a:cubicBezTo>
                    <a:pt x="9" y="0"/>
                    <a:pt x="8" y="6"/>
                    <a:pt x="7" y="8"/>
                  </a:cubicBezTo>
                  <a:cubicBezTo>
                    <a:pt x="6" y="9"/>
                    <a:pt x="5" y="10"/>
                    <a:pt x="3" y="11"/>
                  </a:cubicBezTo>
                  <a:cubicBezTo>
                    <a:pt x="2" y="12"/>
                    <a:pt x="0" y="14"/>
                    <a:pt x="0" y="15"/>
                  </a:cubicBezTo>
                  <a:cubicBezTo>
                    <a:pt x="1" y="17"/>
                    <a:pt x="3" y="15"/>
                    <a:pt x="4" y="15"/>
                  </a:cubicBezTo>
                  <a:cubicBezTo>
                    <a:pt x="6" y="14"/>
                    <a:pt x="9" y="12"/>
                    <a:pt x="10" y="10"/>
                  </a:cubicBezTo>
                  <a:cubicBezTo>
                    <a:pt x="11" y="8"/>
                    <a:pt x="13" y="4"/>
                    <a:pt x="14" y="3"/>
                  </a:cubicBezTo>
                  <a:cubicBezTo>
                    <a:pt x="14" y="1"/>
                    <a:pt x="9" y="0"/>
                    <a:pt x="9" y="0"/>
                  </a:cubicBezTo>
                  <a:close/>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A14C9C75-2CE2-47AB-8234-0336A771F2DB}"/>
                </a:ext>
              </a:extLst>
            </p:cNvPr>
            <p:cNvSpPr>
              <a:spLocks/>
            </p:cNvSpPr>
            <p:nvPr/>
          </p:nvSpPr>
          <p:spPr bwMode="auto">
            <a:xfrm>
              <a:off x="2801938" y="4348163"/>
              <a:ext cx="65088" cy="65088"/>
            </a:xfrm>
            <a:custGeom>
              <a:avLst/>
              <a:gdLst>
                <a:gd name="T0" fmla="*/ 10 w 13"/>
                <a:gd name="T1" fmla="*/ 0 h 13"/>
                <a:gd name="T2" fmla="*/ 7 w 13"/>
                <a:gd name="T3" fmla="*/ 6 h 13"/>
                <a:gd name="T4" fmla="*/ 3 w 13"/>
                <a:gd name="T5" fmla="*/ 8 h 13"/>
                <a:gd name="T6" fmla="*/ 0 w 13"/>
                <a:gd name="T7" fmla="*/ 11 h 13"/>
                <a:gd name="T8" fmla="*/ 4 w 13"/>
                <a:gd name="T9" fmla="*/ 11 h 13"/>
                <a:gd name="T10" fmla="*/ 9 w 13"/>
                <a:gd name="T11" fmla="*/ 8 h 13"/>
                <a:gd name="T12" fmla="*/ 13 w 13"/>
                <a:gd name="T13" fmla="*/ 3 h 13"/>
                <a:gd name="T14" fmla="*/ 10 w 13"/>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3">
                  <a:moveTo>
                    <a:pt x="10" y="0"/>
                  </a:moveTo>
                  <a:cubicBezTo>
                    <a:pt x="10" y="0"/>
                    <a:pt x="8" y="5"/>
                    <a:pt x="7" y="6"/>
                  </a:cubicBezTo>
                  <a:cubicBezTo>
                    <a:pt x="6" y="7"/>
                    <a:pt x="5" y="7"/>
                    <a:pt x="3" y="8"/>
                  </a:cubicBezTo>
                  <a:cubicBezTo>
                    <a:pt x="2" y="9"/>
                    <a:pt x="0" y="10"/>
                    <a:pt x="0" y="11"/>
                  </a:cubicBezTo>
                  <a:cubicBezTo>
                    <a:pt x="0" y="13"/>
                    <a:pt x="3" y="12"/>
                    <a:pt x="4" y="11"/>
                  </a:cubicBezTo>
                  <a:cubicBezTo>
                    <a:pt x="5" y="11"/>
                    <a:pt x="8" y="10"/>
                    <a:pt x="9" y="8"/>
                  </a:cubicBezTo>
                  <a:cubicBezTo>
                    <a:pt x="10" y="7"/>
                    <a:pt x="13" y="4"/>
                    <a:pt x="13" y="3"/>
                  </a:cubicBezTo>
                  <a:cubicBezTo>
                    <a:pt x="13" y="1"/>
                    <a:pt x="10" y="0"/>
                    <a:pt x="10" y="0"/>
                  </a:cubicBezTo>
                  <a:close/>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4">
              <a:extLst>
                <a:ext uri="{FF2B5EF4-FFF2-40B4-BE49-F238E27FC236}">
                  <a16:creationId xmlns:a16="http://schemas.microsoft.com/office/drawing/2014/main" id="{E52D53DC-E18F-4D19-BB26-A4074DBD41CF}"/>
                </a:ext>
              </a:extLst>
            </p:cNvPr>
            <p:cNvSpPr>
              <a:spLocks/>
            </p:cNvSpPr>
            <p:nvPr/>
          </p:nvSpPr>
          <p:spPr bwMode="auto">
            <a:xfrm>
              <a:off x="2725738" y="4175125"/>
              <a:ext cx="177800" cy="314325"/>
            </a:xfrm>
            <a:custGeom>
              <a:avLst/>
              <a:gdLst>
                <a:gd name="T0" fmla="*/ 10 w 35"/>
                <a:gd name="T1" fmla="*/ 50 h 62"/>
                <a:gd name="T2" fmla="*/ 14 w 35"/>
                <a:gd name="T3" fmla="*/ 48 h 62"/>
                <a:gd name="T4" fmla="*/ 15 w 35"/>
                <a:gd name="T5" fmla="*/ 39 h 62"/>
                <a:gd name="T6" fmla="*/ 17 w 35"/>
                <a:gd name="T7" fmla="*/ 33 h 62"/>
                <a:gd name="T8" fmla="*/ 25 w 35"/>
                <a:gd name="T9" fmla="*/ 37 h 62"/>
                <a:gd name="T10" fmla="*/ 29 w 35"/>
                <a:gd name="T11" fmla="*/ 46 h 62"/>
                <a:gd name="T12" fmla="*/ 27 w 35"/>
                <a:gd name="T13" fmla="*/ 54 h 62"/>
                <a:gd name="T14" fmla="*/ 26 w 35"/>
                <a:gd name="T15" fmla="*/ 60 h 62"/>
                <a:gd name="T16" fmla="*/ 28 w 35"/>
                <a:gd name="T17" fmla="*/ 62 h 62"/>
                <a:gd name="T18" fmla="*/ 31 w 35"/>
                <a:gd name="T19" fmla="*/ 57 h 62"/>
                <a:gd name="T20" fmla="*/ 35 w 35"/>
                <a:gd name="T21" fmla="*/ 47 h 62"/>
                <a:gd name="T22" fmla="*/ 33 w 35"/>
                <a:gd name="T23" fmla="*/ 35 h 62"/>
                <a:gd name="T24" fmla="*/ 24 w 35"/>
                <a:gd name="T25" fmla="*/ 20 h 62"/>
                <a:gd name="T26" fmla="*/ 15 w 35"/>
                <a:gd name="T27" fmla="*/ 0 h 62"/>
                <a:gd name="T28" fmla="*/ 0 w 35"/>
                <a:gd name="T29" fmla="*/ 3 h 62"/>
                <a:gd name="T30" fmla="*/ 8 w 35"/>
                <a:gd name="T31" fmla="*/ 19 h 62"/>
                <a:gd name="T32" fmla="*/ 7 w 35"/>
                <a:gd name="T33" fmla="*/ 28 h 62"/>
                <a:gd name="T34" fmla="*/ 10 w 35"/>
                <a:gd name="T35" fmla="*/ 40 h 62"/>
                <a:gd name="T36" fmla="*/ 10 w 35"/>
                <a:gd name="T37"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62">
                  <a:moveTo>
                    <a:pt x="10" y="50"/>
                  </a:moveTo>
                  <a:cubicBezTo>
                    <a:pt x="11" y="51"/>
                    <a:pt x="13" y="50"/>
                    <a:pt x="14" y="48"/>
                  </a:cubicBezTo>
                  <a:cubicBezTo>
                    <a:pt x="16" y="46"/>
                    <a:pt x="16" y="41"/>
                    <a:pt x="15" y="39"/>
                  </a:cubicBezTo>
                  <a:cubicBezTo>
                    <a:pt x="15" y="37"/>
                    <a:pt x="15" y="34"/>
                    <a:pt x="17" y="33"/>
                  </a:cubicBezTo>
                  <a:cubicBezTo>
                    <a:pt x="18" y="33"/>
                    <a:pt x="24" y="36"/>
                    <a:pt x="25" y="37"/>
                  </a:cubicBezTo>
                  <a:cubicBezTo>
                    <a:pt x="27" y="40"/>
                    <a:pt x="29" y="44"/>
                    <a:pt x="29" y="46"/>
                  </a:cubicBezTo>
                  <a:cubicBezTo>
                    <a:pt x="29" y="48"/>
                    <a:pt x="28" y="52"/>
                    <a:pt x="27" y="54"/>
                  </a:cubicBezTo>
                  <a:cubicBezTo>
                    <a:pt x="26" y="56"/>
                    <a:pt x="25" y="59"/>
                    <a:pt x="26" y="60"/>
                  </a:cubicBezTo>
                  <a:cubicBezTo>
                    <a:pt x="26" y="62"/>
                    <a:pt x="27" y="62"/>
                    <a:pt x="28" y="62"/>
                  </a:cubicBezTo>
                  <a:cubicBezTo>
                    <a:pt x="29" y="62"/>
                    <a:pt x="29" y="59"/>
                    <a:pt x="31" y="57"/>
                  </a:cubicBezTo>
                  <a:cubicBezTo>
                    <a:pt x="32" y="54"/>
                    <a:pt x="35" y="48"/>
                    <a:pt x="35" y="47"/>
                  </a:cubicBezTo>
                  <a:cubicBezTo>
                    <a:pt x="35" y="47"/>
                    <a:pt x="34" y="38"/>
                    <a:pt x="33" y="35"/>
                  </a:cubicBezTo>
                  <a:cubicBezTo>
                    <a:pt x="33" y="32"/>
                    <a:pt x="24" y="21"/>
                    <a:pt x="24" y="20"/>
                  </a:cubicBezTo>
                  <a:cubicBezTo>
                    <a:pt x="24" y="19"/>
                    <a:pt x="15" y="0"/>
                    <a:pt x="15" y="0"/>
                  </a:cubicBezTo>
                  <a:cubicBezTo>
                    <a:pt x="0" y="3"/>
                    <a:pt x="0" y="3"/>
                    <a:pt x="0" y="3"/>
                  </a:cubicBezTo>
                  <a:cubicBezTo>
                    <a:pt x="0" y="3"/>
                    <a:pt x="8" y="17"/>
                    <a:pt x="8" y="19"/>
                  </a:cubicBezTo>
                  <a:cubicBezTo>
                    <a:pt x="9" y="22"/>
                    <a:pt x="8" y="25"/>
                    <a:pt x="7" y="28"/>
                  </a:cubicBezTo>
                  <a:cubicBezTo>
                    <a:pt x="6" y="32"/>
                    <a:pt x="9" y="38"/>
                    <a:pt x="10" y="40"/>
                  </a:cubicBezTo>
                  <a:cubicBezTo>
                    <a:pt x="11" y="44"/>
                    <a:pt x="9" y="49"/>
                    <a:pt x="10" y="50"/>
                  </a:cubicBezTo>
                  <a:close/>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5">
              <a:extLst>
                <a:ext uri="{FF2B5EF4-FFF2-40B4-BE49-F238E27FC236}">
                  <a16:creationId xmlns:a16="http://schemas.microsoft.com/office/drawing/2014/main" id="{A9387FA9-A192-4B0D-A4BD-832E7F61052B}"/>
                </a:ext>
              </a:extLst>
            </p:cNvPr>
            <p:cNvSpPr>
              <a:spLocks/>
            </p:cNvSpPr>
            <p:nvPr/>
          </p:nvSpPr>
          <p:spPr bwMode="auto">
            <a:xfrm>
              <a:off x="1849438" y="5624513"/>
              <a:ext cx="157163" cy="238125"/>
            </a:xfrm>
            <a:custGeom>
              <a:avLst/>
              <a:gdLst>
                <a:gd name="T0" fmla="*/ 30 w 31"/>
                <a:gd name="T1" fmla="*/ 17 h 47"/>
                <a:gd name="T2" fmla="*/ 29 w 31"/>
                <a:gd name="T3" fmla="*/ 31 h 47"/>
                <a:gd name="T4" fmla="*/ 13 w 31"/>
                <a:gd name="T5" fmla="*/ 46 h 47"/>
                <a:gd name="T6" fmla="*/ 4 w 31"/>
                <a:gd name="T7" fmla="*/ 31 h 47"/>
                <a:gd name="T8" fmla="*/ 8 w 31"/>
                <a:gd name="T9" fmla="*/ 0 h 47"/>
                <a:gd name="T10" fmla="*/ 30 w 31"/>
                <a:gd name="T11" fmla="*/ 17 h 47"/>
              </a:gdLst>
              <a:ahLst/>
              <a:cxnLst>
                <a:cxn ang="0">
                  <a:pos x="T0" y="T1"/>
                </a:cxn>
                <a:cxn ang="0">
                  <a:pos x="T2" y="T3"/>
                </a:cxn>
                <a:cxn ang="0">
                  <a:pos x="T4" y="T5"/>
                </a:cxn>
                <a:cxn ang="0">
                  <a:pos x="T6" y="T7"/>
                </a:cxn>
                <a:cxn ang="0">
                  <a:pos x="T8" y="T9"/>
                </a:cxn>
                <a:cxn ang="0">
                  <a:pos x="T10" y="T11"/>
                </a:cxn>
              </a:cxnLst>
              <a:rect l="0" t="0" r="r" b="b"/>
              <a:pathLst>
                <a:path w="31" h="47">
                  <a:moveTo>
                    <a:pt x="30" y="17"/>
                  </a:moveTo>
                  <a:cubicBezTo>
                    <a:pt x="30" y="17"/>
                    <a:pt x="31" y="26"/>
                    <a:pt x="29" y="31"/>
                  </a:cubicBezTo>
                  <a:cubicBezTo>
                    <a:pt x="26" y="36"/>
                    <a:pt x="17" y="47"/>
                    <a:pt x="13" y="46"/>
                  </a:cubicBezTo>
                  <a:cubicBezTo>
                    <a:pt x="9" y="45"/>
                    <a:pt x="4" y="33"/>
                    <a:pt x="4" y="31"/>
                  </a:cubicBezTo>
                  <a:cubicBezTo>
                    <a:pt x="0" y="19"/>
                    <a:pt x="8" y="0"/>
                    <a:pt x="8" y="0"/>
                  </a:cubicBezTo>
                  <a:cubicBezTo>
                    <a:pt x="30" y="17"/>
                    <a:pt x="30" y="17"/>
                    <a:pt x="30" y="17"/>
                  </a:cubicBezTo>
                  <a:close/>
                </a:path>
              </a:pathLst>
            </a:custGeom>
            <a:solidFill>
              <a:srgbClr val="032D37"/>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F0AF9E8-B623-4EF5-BD46-EF4F419B4C30}"/>
                </a:ext>
              </a:extLst>
            </p:cNvPr>
            <p:cNvSpPr>
              <a:spLocks/>
            </p:cNvSpPr>
            <p:nvPr/>
          </p:nvSpPr>
          <p:spPr bwMode="auto">
            <a:xfrm>
              <a:off x="2343151" y="3208338"/>
              <a:ext cx="295275" cy="687388"/>
            </a:xfrm>
            <a:custGeom>
              <a:avLst/>
              <a:gdLst>
                <a:gd name="T0" fmla="*/ 19 w 58"/>
                <a:gd name="T1" fmla="*/ 1 h 135"/>
                <a:gd name="T2" fmla="*/ 42 w 58"/>
                <a:gd name="T3" fmla="*/ 58 h 135"/>
                <a:gd name="T4" fmla="*/ 42 w 58"/>
                <a:gd name="T5" fmla="*/ 132 h 135"/>
                <a:gd name="T6" fmla="*/ 12 w 58"/>
                <a:gd name="T7" fmla="*/ 69 h 135"/>
                <a:gd name="T8" fmla="*/ 19 w 58"/>
                <a:gd name="T9" fmla="*/ 1 h 135"/>
              </a:gdLst>
              <a:ahLst/>
              <a:cxnLst>
                <a:cxn ang="0">
                  <a:pos x="T0" y="T1"/>
                </a:cxn>
                <a:cxn ang="0">
                  <a:pos x="T2" y="T3"/>
                </a:cxn>
                <a:cxn ang="0">
                  <a:pos x="T4" y="T5"/>
                </a:cxn>
                <a:cxn ang="0">
                  <a:pos x="T6" y="T7"/>
                </a:cxn>
                <a:cxn ang="0">
                  <a:pos x="T8" y="T9"/>
                </a:cxn>
              </a:cxnLst>
              <a:rect l="0" t="0" r="r" b="b"/>
              <a:pathLst>
                <a:path w="58" h="135">
                  <a:moveTo>
                    <a:pt x="19" y="1"/>
                  </a:moveTo>
                  <a:cubicBezTo>
                    <a:pt x="29" y="0"/>
                    <a:pt x="39" y="28"/>
                    <a:pt x="42" y="58"/>
                  </a:cubicBezTo>
                  <a:cubicBezTo>
                    <a:pt x="48" y="112"/>
                    <a:pt x="58" y="128"/>
                    <a:pt x="42" y="132"/>
                  </a:cubicBezTo>
                  <a:cubicBezTo>
                    <a:pt x="27" y="135"/>
                    <a:pt x="24" y="114"/>
                    <a:pt x="12" y="69"/>
                  </a:cubicBezTo>
                  <a:cubicBezTo>
                    <a:pt x="4" y="34"/>
                    <a:pt x="0" y="4"/>
                    <a:pt x="19" y="1"/>
                  </a:cubicBezTo>
                  <a:close/>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B7B136FA-D610-4835-ABD0-162F00A9D8EB}"/>
                </a:ext>
              </a:extLst>
            </p:cNvPr>
            <p:cNvSpPr>
              <a:spLocks/>
            </p:cNvSpPr>
            <p:nvPr/>
          </p:nvSpPr>
          <p:spPr bwMode="auto">
            <a:xfrm>
              <a:off x="1782763" y="3097213"/>
              <a:ext cx="758825" cy="1311275"/>
            </a:xfrm>
            <a:custGeom>
              <a:avLst/>
              <a:gdLst>
                <a:gd name="T0" fmla="*/ 8 w 149"/>
                <a:gd name="T1" fmla="*/ 9 h 258"/>
                <a:gd name="T2" fmla="*/ 44 w 149"/>
                <a:gd name="T3" fmla="*/ 1 h 258"/>
                <a:gd name="T4" fmla="*/ 77 w 149"/>
                <a:gd name="T5" fmla="*/ 4 h 258"/>
                <a:gd name="T6" fmla="*/ 109 w 149"/>
                <a:gd name="T7" fmla="*/ 13 h 258"/>
                <a:gd name="T8" fmla="*/ 141 w 149"/>
                <a:gd name="T9" fmla="*/ 33 h 258"/>
                <a:gd name="T10" fmla="*/ 112 w 149"/>
                <a:gd name="T11" fmla="*/ 145 h 258"/>
                <a:gd name="T12" fmla="*/ 148 w 149"/>
                <a:gd name="T13" fmla="*/ 209 h 258"/>
                <a:gd name="T14" fmla="*/ 96 w 149"/>
                <a:gd name="T15" fmla="*/ 252 h 258"/>
                <a:gd name="T16" fmla="*/ 93 w 149"/>
                <a:gd name="T17" fmla="*/ 253 h 258"/>
                <a:gd name="T18" fmla="*/ 89 w 149"/>
                <a:gd name="T19" fmla="*/ 253 h 258"/>
                <a:gd name="T20" fmla="*/ 23 w 149"/>
                <a:gd name="T21" fmla="*/ 242 h 258"/>
                <a:gd name="T22" fmla="*/ 28 w 149"/>
                <a:gd name="T23" fmla="*/ 149 h 258"/>
                <a:gd name="T24" fmla="*/ 8 w 149"/>
                <a:gd name="T25" fmla="*/ 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 h="258">
                  <a:moveTo>
                    <a:pt x="8" y="9"/>
                  </a:moveTo>
                  <a:cubicBezTo>
                    <a:pt x="12" y="2"/>
                    <a:pt x="35" y="2"/>
                    <a:pt x="44" y="1"/>
                  </a:cubicBezTo>
                  <a:cubicBezTo>
                    <a:pt x="53" y="0"/>
                    <a:pt x="77" y="4"/>
                    <a:pt x="77" y="4"/>
                  </a:cubicBezTo>
                  <a:cubicBezTo>
                    <a:pt x="77" y="4"/>
                    <a:pt x="102" y="9"/>
                    <a:pt x="109" y="13"/>
                  </a:cubicBezTo>
                  <a:cubicBezTo>
                    <a:pt x="117" y="17"/>
                    <a:pt x="138" y="25"/>
                    <a:pt x="141" y="33"/>
                  </a:cubicBezTo>
                  <a:cubicBezTo>
                    <a:pt x="144" y="45"/>
                    <a:pt x="96" y="104"/>
                    <a:pt x="112" y="145"/>
                  </a:cubicBezTo>
                  <a:cubicBezTo>
                    <a:pt x="117" y="158"/>
                    <a:pt x="148" y="194"/>
                    <a:pt x="148" y="209"/>
                  </a:cubicBezTo>
                  <a:cubicBezTo>
                    <a:pt x="149" y="227"/>
                    <a:pt x="96" y="252"/>
                    <a:pt x="96" y="252"/>
                  </a:cubicBezTo>
                  <a:cubicBezTo>
                    <a:pt x="93" y="253"/>
                    <a:pt x="93" y="253"/>
                    <a:pt x="93" y="253"/>
                  </a:cubicBezTo>
                  <a:cubicBezTo>
                    <a:pt x="89" y="253"/>
                    <a:pt x="89" y="253"/>
                    <a:pt x="89" y="253"/>
                  </a:cubicBezTo>
                  <a:cubicBezTo>
                    <a:pt x="89" y="253"/>
                    <a:pt x="31" y="258"/>
                    <a:pt x="23" y="242"/>
                  </a:cubicBezTo>
                  <a:cubicBezTo>
                    <a:pt x="15" y="230"/>
                    <a:pt x="30" y="166"/>
                    <a:pt x="28" y="149"/>
                  </a:cubicBezTo>
                  <a:cubicBezTo>
                    <a:pt x="23" y="104"/>
                    <a:pt x="0" y="20"/>
                    <a:pt x="8" y="9"/>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C78DA33F-8C10-4498-955D-54FD06F252AB}"/>
                </a:ext>
              </a:extLst>
            </p:cNvPr>
            <p:cNvSpPr>
              <a:spLocks/>
            </p:cNvSpPr>
            <p:nvPr/>
          </p:nvSpPr>
          <p:spPr bwMode="auto">
            <a:xfrm>
              <a:off x="2251076" y="4087813"/>
              <a:ext cx="331788" cy="1038225"/>
            </a:xfrm>
            <a:custGeom>
              <a:avLst/>
              <a:gdLst>
                <a:gd name="T0" fmla="*/ 56 w 65"/>
                <a:gd name="T1" fmla="*/ 17 h 204"/>
                <a:gd name="T2" fmla="*/ 64 w 65"/>
                <a:gd name="T3" fmla="*/ 78 h 204"/>
                <a:gd name="T4" fmla="*/ 48 w 65"/>
                <a:gd name="T5" fmla="*/ 178 h 204"/>
                <a:gd name="T6" fmla="*/ 14 w 65"/>
                <a:gd name="T7" fmla="*/ 184 h 204"/>
                <a:gd name="T8" fmla="*/ 0 w 65"/>
                <a:gd name="T9" fmla="*/ 60 h 204"/>
                <a:gd name="T10" fmla="*/ 8 w 65"/>
                <a:gd name="T11" fmla="*/ 11 h 204"/>
                <a:gd name="T12" fmla="*/ 56 w 65"/>
                <a:gd name="T13" fmla="*/ 17 h 204"/>
              </a:gdLst>
              <a:ahLst/>
              <a:cxnLst>
                <a:cxn ang="0">
                  <a:pos x="T0" y="T1"/>
                </a:cxn>
                <a:cxn ang="0">
                  <a:pos x="T2" y="T3"/>
                </a:cxn>
                <a:cxn ang="0">
                  <a:pos x="T4" y="T5"/>
                </a:cxn>
                <a:cxn ang="0">
                  <a:pos x="T6" y="T7"/>
                </a:cxn>
                <a:cxn ang="0">
                  <a:pos x="T8" y="T9"/>
                </a:cxn>
                <a:cxn ang="0">
                  <a:pos x="T10" y="T11"/>
                </a:cxn>
                <a:cxn ang="0">
                  <a:pos x="T12" y="T13"/>
                </a:cxn>
              </a:cxnLst>
              <a:rect l="0" t="0" r="r" b="b"/>
              <a:pathLst>
                <a:path w="65" h="204">
                  <a:moveTo>
                    <a:pt x="56" y="17"/>
                  </a:moveTo>
                  <a:cubicBezTo>
                    <a:pt x="64" y="28"/>
                    <a:pt x="65" y="50"/>
                    <a:pt x="64" y="78"/>
                  </a:cubicBezTo>
                  <a:cubicBezTo>
                    <a:pt x="63" y="116"/>
                    <a:pt x="50" y="172"/>
                    <a:pt x="48" y="178"/>
                  </a:cubicBezTo>
                  <a:cubicBezTo>
                    <a:pt x="43" y="203"/>
                    <a:pt x="19" y="204"/>
                    <a:pt x="14" y="184"/>
                  </a:cubicBezTo>
                  <a:cubicBezTo>
                    <a:pt x="12" y="179"/>
                    <a:pt x="0" y="72"/>
                    <a:pt x="0" y="60"/>
                  </a:cubicBezTo>
                  <a:cubicBezTo>
                    <a:pt x="1" y="47"/>
                    <a:pt x="0" y="25"/>
                    <a:pt x="8" y="11"/>
                  </a:cubicBezTo>
                  <a:cubicBezTo>
                    <a:pt x="14" y="1"/>
                    <a:pt x="45" y="0"/>
                    <a:pt x="56" y="17"/>
                  </a:cubicBezTo>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9">
              <a:extLst>
                <a:ext uri="{FF2B5EF4-FFF2-40B4-BE49-F238E27FC236}">
                  <a16:creationId xmlns:a16="http://schemas.microsoft.com/office/drawing/2014/main" id="{E95901FB-7FC2-4FE5-968E-EEE66AB538EC}"/>
                </a:ext>
              </a:extLst>
            </p:cNvPr>
            <p:cNvSpPr>
              <a:spLocks/>
            </p:cNvSpPr>
            <p:nvPr/>
          </p:nvSpPr>
          <p:spPr bwMode="auto">
            <a:xfrm>
              <a:off x="2006601" y="2878138"/>
              <a:ext cx="331788" cy="284163"/>
            </a:xfrm>
            <a:custGeom>
              <a:avLst/>
              <a:gdLst>
                <a:gd name="T0" fmla="*/ 18 w 65"/>
                <a:gd name="T1" fmla="*/ 31 h 56"/>
                <a:gd name="T2" fmla="*/ 25 w 65"/>
                <a:gd name="T3" fmla="*/ 0 h 56"/>
                <a:gd name="T4" fmla="*/ 41 w 65"/>
                <a:gd name="T5" fmla="*/ 3 h 56"/>
                <a:gd name="T6" fmla="*/ 56 w 65"/>
                <a:gd name="T7" fmla="*/ 6 h 56"/>
                <a:gd name="T8" fmla="*/ 53 w 65"/>
                <a:gd name="T9" fmla="*/ 37 h 56"/>
                <a:gd name="T10" fmla="*/ 65 w 65"/>
                <a:gd name="T11" fmla="*/ 56 h 56"/>
                <a:gd name="T12" fmla="*/ 33 w 65"/>
                <a:gd name="T13" fmla="*/ 50 h 56"/>
                <a:gd name="T14" fmla="*/ 0 w 65"/>
                <a:gd name="T15" fmla="*/ 44 h 56"/>
                <a:gd name="T16" fmla="*/ 18 w 65"/>
                <a:gd name="T17" fmla="*/ 3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56">
                  <a:moveTo>
                    <a:pt x="18" y="31"/>
                  </a:moveTo>
                  <a:cubicBezTo>
                    <a:pt x="21" y="25"/>
                    <a:pt x="25" y="0"/>
                    <a:pt x="25" y="0"/>
                  </a:cubicBezTo>
                  <a:cubicBezTo>
                    <a:pt x="41" y="3"/>
                    <a:pt x="41" y="3"/>
                    <a:pt x="41" y="3"/>
                  </a:cubicBezTo>
                  <a:cubicBezTo>
                    <a:pt x="56" y="6"/>
                    <a:pt x="56" y="6"/>
                    <a:pt x="56" y="6"/>
                  </a:cubicBezTo>
                  <a:cubicBezTo>
                    <a:pt x="56" y="6"/>
                    <a:pt x="52" y="30"/>
                    <a:pt x="53" y="37"/>
                  </a:cubicBezTo>
                  <a:cubicBezTo>
                    <a:pt x="54" y="44"/>
                    <a:pt x="65" y="56"/>
                    <a:pt x="65" y="56"/>
                  </a:cubicBezTo>
                  <a:cubicBezTo>
                    <a:pt x="33" y="50"/>
                    <a:pt x="33" y="50"/>
                    <a:pt x="33" y="50"/>
                  </a:cubicBezTo>
                  <a:cubicBezTo>
                    <a:pt x="0" y="44"/>
                    <a:pt x="0" y="44"/>
                    <a:pt x="0" y="44"/>
                  </a:cubicBezTo>
                  <a:cubicBezTo>
                    <a:pt x="0" y="44"/>
                    <a:pt x="14" y="37"/>
                    <a:pt x="18" y="31"/>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0">
              <a:extLst>
                <a:ext uri="{FF2B5EF4-FFF2-40B4-BE49-F238E27FC236}">
                  <a16:creationId xmlns:a16="http://schemas.microsoft.com/office/drawing/2014/main" id="{A4E75943-FDFD-41E6-BD30-80EEE9F0BF0D}"/>
                </a:ext>
              </a:extLst>
            </p:cNvPr>
            <p:cNvSpPr>
              <a:spLocks/>
            </p:cNvSpPr>
            <p:nvPr/>
          </p:nvSpPr>
          <p:spPr bwMode="auto">
            <a:xfrm>
              <a:off x="2449513" y="3752850"/>
              <a:ext cx="412750" cy="558800"/>
            </a:xfrm>
            <a:custGeom>
              <a:avLst/>
              <a:gdLst>
                <a:gd name="T0" fmla="*/ 15 w 81"/>
                <a:gd name="T1" fmla="*/ 3 h 110"/>
                <a:gd name="T2" fmla="*/ 50 w 81"/>
                <a:gd name="T3" fmla="*/ 35 h 110"/>
                <a:gd name="T4" fmla="*/ 74 w 81"/>
                <a:gd name="T5" fmla="*/ 109 h 110"/>
                <a:gd name="T6" fmla="*/ 63 w 81"/>
                <a:gd name="T7" fmla="*/ 102 h 110"/>
                <a:gd name="T8" fmla="*/ 28 w 81"/>
                <a:gd name="T9" fmla="*/ 54 h 110"/>
                <a:gd name="T10" fmla="*/ 15 w 81"/>
                <a:gd name="T11" fmla="*/ 3 h 110"/>
              </a:gdLst>
              <a:ahLst/>
              <a:cxnLst>
                <a:cxn ang="0">
                  <a:pos x="T0" y="T1"/>
                </a:cxn>
                <a:cxn ang="0">
                  <a:pos x="T2" y="T3"/>
                </a:cxn>
                <a:cxn ang="0">
                  <a:pos x="T4" y="T5"/>
                </a:cxn>
                <a:cxn ang="0">
                  <a:pos x="T6" y="T7"/>
                </a:cxn>
                <a:cxn ang="0">
                  <a:pos x="T8" y="T9"/>
                </a:cxn>
                <a:cxn ang="0">
                  <a:pos x="T10" y="T11"/>
                </a:cxn>
              </a:cxnLst>
              <a:rect l="0" t="0" r="r" b="b"/>
              <a:pathLst>
                <a:path w="81" h="110">
                  <a:moveTo>
                    <a:pt x="15" y="3"/>
                  </a:moveTo>
                  <a:cubicBezTo>
                    <a:pt x="24" y="0"/>
                    <a:pt x="39" y="10"/>
                    <a:pt x="50" y="35"/>
                  </a:cubicBezTo>
                  <a:cubicBezTo>
                    <a:pt x="62" y="64"/>
                    <a:pt x="81" y="106"/>
                    <a:pt x="74" y="109"/>
                  </a:cubicBezTo>
                  <a:cubicBezTo>
                    <a:pt x="71" y="110"/>
                    <a:pt x="66" y="108"/>
                    <a:pt x="63" y="102"/>
                  </a:cubicBezTo>
                  <a:cubicBezTo>
                    <a:pt x="57" y="89"/>
                    <a:pt x="40" y="70"/>
                    <a:pt x="28" y="54"/>
                  </a:cubicBezTo>
                  <a:cubicBezTo>
                    <a:pt x="9" y="28"/>
                    <a:pt x="0" y="9"/>
                    <a:pt x="15" y="3"/>
                  </a:cubicBezTo>
                  <a:close/>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1">
              <a:extLst>
                <a:ext uri="{FF2B5EF4-FFF2-40B4-BE49-F238E27FC236}">
                  <a16:creationId xmlns:a16="http://schemas.microsoft.com/office/drawing/2014/main" id="{BA9B2F01-BD8D-44C2-883B-D9E9BD1B1D62}"/>
                </a:ext>
              </a:extLst>
            </p:cNvPr>
            <p:cNvSpPr>
              <a:spLocks/>
            </p:cNvSpPr>
            <p:nvPr/>
          </p:nvSpPr>
          <p:spPr bwMode="auto">
            <a:xfrm>
              <a:off x="2098676" y="2894013"/>
              <a:ext cx="239713" cy="268288"/>
            </a:xfrm>
            <a:custGeom>
              <a:avLst/>
              <a:gdLst>
                <a:gd name="T0" fmla="*/ 0 w 47"/>
                <a:gd name="T1" fmla="*/ 28 h 53"/>
                <a:gd name="T2" fmla="*/ 4 w 47"/>
                <a:gd name="T3" fmla="*/ 14 h 53"/>
                <a:gd name="T4" fmla="*/ 7 w 47"/>
                <a:gd name="T5" fmla="*/ 2 h 53"/>
                <a:gd name="T6" fmla="*/ 7 w 47"/>
                <a:gd name="T7" fmla="*/ 2 h 53"/>
                <a:gd name="T8" fmla="*/ 21 w 47"/>
                <a:gd name="T9" fmla="*/ 0 h 53"/>
                <a:gd name="T10" fmla="*/ 23 w 47"/>
                <a:gd name="T11" fmla="*/ 0 h 53"/>
                <a:gd name="T12" fmla="*/ 38 w 47"/>
                <a:gd name="T13" fmla="*/ 3 h 53"/>
                <a:gd name="T14" fmla="*/ 35 w 47"/>
                <a:gd name="T15" fmla="*/ 34 h 53"/>
                <a:gd name="T16" fmla="*/ 47 w 47"/>
                <a:gd name="T17" fmla="*/ 53 h 53"/>
                <a:gd name="T18" fmla="*/ 23 w 47"/>
                <a:gd name="T19" fmla="*/ 42 h 53"/>
                <a:gd name="T20" fmla="*/ 0 w 47"/>
                <a:gd name="T21" fmla="*/ 2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53">
                  <a:moveTo>
                    <a:pt x="0" y="28"/>
                  </a:moveTo>
                  <a:cubicBezTo>
                    <a:pt x="4" y="14"/>
                    <a:pt x="4" y="14"/>
                    <a:pt x="4" y="14"/>
                  </a:cubicBezTo>
                  <a:cubicBezTo>
                    <a:pt x="5" y="9"/>
                    <a:pt x="6" y="5"/>
                    <a:pt x="7" y="2"/>
                  </a:cubicBezTo>
                  <a:cubicBezTo>
                    <a:pt x="7" y="2"/>
                    <a:pt x="7" y="2"/>
                    <a:pt x="7" y="2"/>
                  </a:cubicBezTo>
                  <a:cubicBezTo>
                    <a:pt x="21" y="0"/>
                    <a:pt x="21" y="0"/>
                    <a:pt x="21" y="0"/>
                  </a:cubicBezTo>
                  <a:cubicBezTo>
                    <a:pt x="23" y="0"/>
                    <a:pt x="23" y="0"/>
                    <a:pt x="23" y="0"/>
                  </a:cubicBezTo>
                  <a:cubicBezTo>
                    <a:pt x="38" y="3"/>
                    <a:pt x="38" y="3"/>
                    <a:pt x="38" y="3"/>
                  </a:cubicBezTo>
                  <a:cubicBezTo>
                    <a:pt x="38" y="3"/>
                    <a:pt x="34" y="27"/>
                    <a:pt x="35" y="34"/>
                  </a:cubicBezTo>
                  <a:cubicBezTo>
                    <a:pt x="36" y="41"/>
                    <a:pt x="47" y="53"/>
                    <a:pt x="47" y="53"/>
                  </a:cubicBezTo>
                  <a:cubicBezTo>
                    <a:pt x="47" y="53"/>
                    <a:pt x="27" y="44"/>
                    <a:pt x="23" y="42"/>
                  </a:cubicBezTo>
                  <a:cubicBezTo>
                    <a:pt x="20" y="39"/>
                    <a:pt x="0" y="28"/>
                    <a:pt x="0" y="28"/>
                  </a:cubicBezTo>
                  <a:close/>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8DA08A3B-E32F-48C8-AF0E-AE8C15291DDE}"/>
                </a:ext>
              </a:extLst>
            </p:cNvPr>
            <p:cNvSpPr>
              <a:spLocks/>
            </p:cNvSpPr>
            <p:nvPr/>
          </p:nvSpPr>
          <p:spPr bwMode="auto">
            <a:xfrm>
              <a:off x="2063751" y="2573338"/>
              <a:ext cx="360363" cy="457200"/>
            </a:xfrm>
            <a:custGeom>
              <a:avLst/>
              <a:gdLst>
                <a:gd name="T0" fmla="*/ 66 w 71"/>
                <a:gd name="T1" fmla="*/ 50 h 90"/>
                <a:gd name="T2" fmla="*/ 25 w 71"/>
                <a:gd name="T3" fmla="*/ 88 h 90"/>
                <a:gd name="T4" fmla="*/ 2 w 71"/>
                <a:gd name="T5" fmla="*/ 38 h 90"/>
                <a:gd name="T6" fmla="*/ 40 w 71"/>
                <a:gd name="T7" fmla="*/ 3 h 90"/>
                <a:gd name="T8" fmla="*/ 66 w 71"/>
                <a:gd name="T9" fmla="*/ 50 h 90"/>
              </a:gdLst>
              <a:ahLst/>
              <a:cxnLst>
                <a:cxn ang="0">
                  <a:pos x="T0" y="T1"/>
                </a:cxn>
                <a:cxn ang="0">
                  <a:pos x="T2" y="T3"/>
                </a:cxn>
                <a:cxn ang="0">
                  <a:pos x="T4" y="T5"/>
                </a:cxn>
                <a:cxn ang="0">
                  <a:pos x="T6" y="T7"/>
                </a:cxn>
                <a:cxn ang="0">
                  <a:pos x="T8" y="T9"/>
                </a:cxn>
              </a:cxnLst>
              <a:rect l="0" t="0" r="r" b="b"/>
              <a:pathLst>
                <a:path w="71" h="90">
                  <a:moveTo>
                    <a:pt x="66" y="50"/>
                  </a:moveTo>
                  <a:cubicBezTo>
                    <a:pt x="62" y="74"/>
                    <a:pt x="38" y="90"/>
                    <a:pt x="25" y="88"/>
                  </a:cubicBezTo>
                  <a:cubicBezTo>
                    <a:pt x="13" y="86"/>
                    <a:pt x="0" y="63"/>
                    <a:pt x="2" y="38"/>
                  </a:cubicBezTo>
                  <a:cubicBezTo>
                    <a:pt x="4" y="13"/>
                    <a:pt x="22" y="0"/>
                    <a:pt x="40" y="3"/>
                  </a:cubicBezTo>
                  <a:cubicBezTo>
                    <a:pt x="59" y="6"/>
                    <a:pt x="71" y="25"/>
                    <a:pt x="66" y="50"/>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B70178EC-BCB1-4253-98AB-939BD464FDFC}"/>
                </a:ext>
              </a:extLst>
            </p:cNvPr>
            <p:cNvSpPr>
              <a:spLocks/>
            </p:cNvSpPr>
            <p:nvPr/>
          </p:nvSpPr>
          <p:spPr bwMode="auto">
            <a:xfrm>
              <a:off x="2149476" y="2517775"/>
              <a:ext cx="336550" cy="554038"/>
            </a:xfrm>
            <a:custGeom>
              <a:avLst/>
              <a:gdLst>
                <a:gd name="T0" fmla="*/ 5 w 66"/>
                <a:gd name="T1" fmla="*/ 31 h 109"/>
                <a:gd name="T2" fmla="*/ 29 w 66"/>
                <a:gd name="T3" fmla="*/ 43 h 109"/>
                <a:gd name="T4" fmla="*/ 46 w 66"/>
                <a:gd name="T5" fmla="*/ 65 h 109"/>
                <a:gd name="T6" fmla="*/ 53 w 66"/>
                <a:gd name="T7" fmla="*/ 109 h 109"/>
                <a:gd name="T8" fmla="*/ 46 w 66"/>
                <a:gd name="T9" fmla="*/ 28 h 109"/>
                <a:gd name="T10" fmla="*/ 1 w 66"/>
                <a:gd name="T11" fmla="*/ 17 h 109"/>
                <a:gd name="T12" fmla="*/ 5 w 66"/>
                <a:gd name="T13" fmla="*/ 31 h 109"/>
              </a:gdLst>
              <a:ahLst/>
              <a:cxnLst>
                <a:cxn ang="0">
                  <a:pos x="T0" y="T1"/>
                </a:cxn>
                <a:cxn ang="0">
                  <a:pos x="T2" y="T3"/>
                </a:cxn>
                <a:cxn ang="0">
                  <a:pos x="T4" y="T5"/>
                </a:cxn>
                <a:cxn ang="0">
                  <a:pos x="T6" y="T7"/>
                </a:cxn>
                <a:cxn ang="0">
                  <a:pos x="T8" y="T9"/>
                </a:cxn>
                <a:cxn ang="0">
                  <a:pos x="T10" y="T11"/>
                </a:cxn>
                <a:cxn ang="0">
                  <a:pos x="T12" y="T13"/>
                </a:cxn>
              </a:cxnLst>
              <a:rect l="0" t="0" r="r" b="b"/>
              <a:pathLst>
                <a:path w="66" h="109">
                  <a:moveTo>
                    <a:pt x="5" y="31"/>
                  </a:moveTo>
                  <a:cubicBezTo>
                    <a:pt x="7" y="38"/>
                    <a:pt x="14" y="42"/>
                    <a:pt x="29" y="43"/>
                  </a:cubicBezTo>
                  <a:cubicBezTo>
                    <a:pt x="39" y="44"/>
                    <a:pt x="46" y="59"/>
                    <a:pt x="46" y="65"/>
                  </a:cubicBezTo>
                  <a:cubicBezTo>
                    <a:pt x="46" y="67"/>
                    <a:pt x="53" y="109"/>
                    <a:pt x="53" y="109"/>
                  </a:cubicBezTo>
                  <a:cubicBezTo>
                    <a:pt x="53" y="109"/>
                    <a:pt x="66" y="56"/>
                    <a:pt x="46" y="28"/>
                  </a:cubicBezTo>
                  <a:cubicBezTo>
                    <a:pt x="26" y="0"/>
                    <a:pt x="1" y="15"/>
                    <a:pt x="1" y="17"/>
                  </a:cubicBezTo>
                  <a:cubicBezTo>
                    <a:pt x="0" y="19"/>
                    <a:pt x="3" y="27"/>
                    <a:pt x="5" y="31"/>
                  </a:cubicBezTo>
                  <a:close/>
                </a:path>
              </a:pathLst>
            </a:custGeom>
            <a:solidFill>
              <a:schemeClr val="tx1">
                <a:lumMod val="95000"/>
                <a:lumOff val="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F37B700A-FB2B-44BD-A0C2-03FB8D005419}"/>
                </a:ext>
              </a:extLst>
            </p:cNvPr>
            <p:cNvSpPr>
              <a:spLocks/>
            </p:cNvSpPr>
            <p:nvPr/>
          </p:nvSpPr>
          <p:spPr bwMode="auto">
            <a:xfrm>
              <a:off x="1997076" y="2578100"/>
              <a:ext cx="244475" cy="447675"/>
            </a:xfrm>
            <a:custGeom>
              <a:avLst/>
              <a:gdLst>
                <a:gd name="T0" fmla="*/ 41 w 48"/>
                <a:gd name="T1" fmla="*/ 13 h 88"/>
                <a:gd name="T2" fmla="*/ 32 w 48"/>
                <a:gd name="T3" fmla="*/ 25 h 88"/>
                <a:gd name="T4" fmla="*/ 18 w 48"/>
                <a:gd name="T5" fmla="*/ 88 h 88"/>
                <a:gd name="T6" fmla="*/ 31 w 48"/>
                <a:gd name="T7" fmla="*/ 5 h 88"/>
                <a:gd name="T8" fmla="*/ 41 w 48"/>
                <a:gd name="T9" fmla="*/ 13 h 88"/>
              </a:gdLst>
              <a:ahLst/>
              <a:cxnLst>
                <a:cxn ang="0">
                  <a:pos x="T0" y="T1"/>
                </a:cxn>
                <a:cxn ang="0">
                  <a:pos x="T2" y="T3"/>
                </a:cxn>
                <a:cxn ang="0">
                  <a:pos x="T4" y="T5"/>
                </a:cxn>
                <a:cxn ang="0">
                  <a:pos x="T6" y="T7"/>
                </a:cxn>
                <a:cxn ang="0">
                  <a:pos x="T8" y="T9"/>
                </a:cxn>
              </a:cxnLst>
              <a:rect l="0" t="0" r="r" b="b"/>
              <a:pathLst>
                <a:path w="48" h="88">
                  <a:moveTo>
                    <a:pt x="41" y="13"/>
                  </a:moveTo>
                  <a:cubicBezTo>
                    <a:pt x="41" y="13"/>
                    <a:pt x="41" y="24"/>
                    <a:pt x="32" y="25"/>
                  </a:cubicBezTo>
                  <a:cubicBezTo>
                    <a:pt x="15" y="29"/>
                    <a:pt x="18" y="88"/>
                    <a:pt x="18" y="88"/>
                  </a:cubicBezTo>
                  <a:cubicBezTo>
                    <a:pt x="18" y="88"/>
                    <a:pt x="0" y="14"/>
                    <a:pt x="31" y="5"/>
                  </a:cubicBezTo>
                  <a:cubicBezTo>
                    <a:pt x="48" y="0"/>
                    <a:pt x="41" y="13"/>
                    <a:pt x="41" y="13"/>
                  </a:cubicBezTo>
                  <a:close/>
                </a:path>
              </a:pathLst>
            </a:custGeom>
            <a:solidFill>
              <a:schemeClr val="tx1">
                <a:lumMod val="95000"/>
                <a:lumOff val="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9AF3B3E4-0686-44EE-B749-A1228721A5F5}"/>
                </a:ext>
              </a:extLst>
            </p:cNvPr>
            <p:cNvSpPr>
              <a:spLocks/>
            </p:cNvSpPr>
            <p:nvPr/>
          </p:nvSpPr>
          <p:spPr bwMode="auto">
            <a:xfrm>
              <a:off x="1874838" y="5507038"/>
              <a:ext cx="142875" cy="285750"/>
            </a:xfrm>
            <a:custGeom>
              <a:avLst/>
              <a:gdLst>
                <a:gd name="T0" fmla="*/ 28 w 28"/>
                <a:gd name="T1" fmla="*/ 14 h 56"/>
                <a:gd name="T2" fmla="*/ 24 w 28"/>
                <a:gd name="T3" fmla="*/ 44 h 56"/>
                <a:gd name="T4" fmla="*/ 12 w 28"/>
                <a:gd name="T5" fmla="*/ 54 h 56"/>
                <a:gd name="T6" fmla="*/ 4 w 28"/>
                <a:gd name="T7" fmla="*/ 21 h 56"/>
                <a:gd name="T8" fmla="*/ 9 w 28"/>
                <a:gd name="T9" fmla="*/ 10 h 56"/>
                <a:gd name="T10" fmla="*/ 16 w 28"/>
                <a:gd name="T11" fmla="*/ 0 h 56"/>
                <a:gd name="T12" fmla="*/ 28 w 28"/>
                <a:gd name="T13" fmla="*/ 14 h 56"/>
              </a:gdLst>
              <a:ahLst/>
              <a:cxnLst>
                <a:cxn ang="0">
                  <a:pos x="T0" y="T1"/>
                </a:cxn>
                <a:cxn ang="0">
                  <a:pos x="T2" y="T3"/>
                </a:cxn>
                <a:cxn ang="0">
                  <a:pos x="T4" y="T5"/>
                </a:cxn>
                <a:cxn ang="0">
                  <a:pos x="T6" y="T7"/>
                </a:cxn>
                <a:cxn ang="0">
                  <a:pos x="T8" y="T9"/>
                </a:cxn>
                <a:cxn ang="0">
                  <a:pos x="T10" y="T11"/>
                </a:cxn>
                <a:cxn ang="0">
                  <a:pos x="T12" y="T13"/>
                </a:cxn>
              </a:cxnLst>
              <a:rect l="0" t="0" r="r" b="b"/>
              <a:pathLst>
                <a:path w="28" h="56">
                  <a:moveTo>
                    <a:pt x="28" y="14"/>
                  </a:moveTo>
                  <a:cubicBezTo>
                    <a:pt x="28" y="14"/>
                    <a:pt x="25" y="41"/>
                    <a:pt x="24" y="44"/>
                  </a:cubicBezTo>
                  <a:cubicBezTo>
                    <a:pt x="23" y="46"/>
                    <a:pt x="16" y="56"/>
                    <a:pt x="12" y="54"/>
                  </a:cubicBezTo>
                  <a:cubicBezTo>
                    <a:pt x="1" y="50"/>
                    <a:pt x="0" y="27"/>
                    <a:pt x="4" y="21"/>
                  </a:cubicBezTo>
                  <a:cubicBezTo>
                    <a:pt x="5" y="17"/>
                    <a:pt x="7" y="13"/>
                    <a:pt x="9" y="10"/>
                  </a:cubicBezTo>
                  <a:cubicBezTo>
                    <a:pt x="13" y="3"/>
                    <a:pt x="16" y="0"/>
                    <a:pt x="16" y="0"/>
                  </a:cubicBezTo>
                  <a:cubicBezTo>
                    <a:pt x="28" y="14"/>
                    <a:pt x="28" y="14"/>
                    <a:pt x="28" y="14"/>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617DA085-0BD9-435B-B30B-6DF5923D4C86}"/>
                </a:ext>
              </a:extLst>
            </p:cNvPr>
            <p:cNvSpPr>
              <a:spLocks/>
            </p:cNvSpPr>
            <p:nvPr/>
          </p:nvSpPr>
          <p:spPr bwMode="auto">
            <a:xfrm>
              <a:off x="1920876" y="4856163"/>
              <a:ext cx="484188" cy="757238"/>
            </a:xfrm>
            <a:custGeom>
              <a:avLst/>
              <a:gdLst>
                <a:gd name="T0" fmla="*/ 84 w 95"/>
                <a:gd name="T1" fmla="*/ 15 h 149"/>
                <a:gd name="T2" fmla="*/ 80 w 95"/>
                <a:gd name="T3" fmla="*/ 59 h 149"/>
                <a:gd name="T4" fmla="*/ 15 w 95"/>
                <a:gd name="T5" fmla="*/ 146 h 149"/>
                <a:gd name="T6" fmla="*/ 6 w 95"/>
                <a:gd name="T7" fmla="*/ 127 h 149"/>
                <a:gd name="T8" fmla="*/ 17 w 95"/>
                <a:gd name="T9" fmla="*/ 98 h 149"/>
                <a:gd name="T10" fmla="*/ 42 w 95"/>
                <a:gd name="T11" fmla="*/ 36 h 149"/>
                <a:gd name="T12" fmla="*/ 84 w 95"/>
                <a:gd name="T13" fmla="*/ 15 h 149"/>
              </a:gdLst>
              <a:ahLst/>
              <a:cxnLst>
                <a:cxn ang="0">
                  <a:pos x="T0" y="T1"/>
                </a:cxn>
                <a:cxn ang="0">
                  <a:pos x="T2" y="T3"/>
                </a:cxn>
                <a:cxn ang="0">
                  <a:pos x="T4" y="T5"/>
                </a:cxn>
                <a:cxn ang="0">
                  <a:pos x="T6" y="T7"/>
                </a:cxn>
                <a:cxn ang="0">
                  <a:pos x="T8" y="T9"/>
                </a:cxn>
                <a:cxn ang="0">
                  <a:pos x="T10" y="T11"/>
                </a:cxn>
                <a:cxn ang="0">
                  <a:pos x="T12" y="T13"/>
                </a:cxn>
              </a:cxnLst>
              <a:rect l="0" t="0" r="r" b="b"/>
              <a:pathLst>
                <a:path w="95" h="149">
                  <a:moveTo>
                    <a:pt x="84" y="15"/>
                  </a:moveTo>
                  <a:cubicBezTo>
                    <a:pt x="94" y="25"/>
                    <a:pt x="95" y="33"/>
                    <a:pt x="80" y="59"/>
                  </a:cubicBezTo>
                  <a:cubicBezTo>
                    <a:pt x="65" y="84"/>
                    <a:pt x="18" y="149"/>
                    <a:pt x="15" y="146"/>
                  </a:cubicBezTo>
                  <a:cubicBezTo>
                    <a:pt x="12" y="144"/>
                    <a:pt x="0" y="135"/>
                    <a:pt x="6" y="127"/>
                  </a:cubicBezTo>
                  <a:cubicBezTo>
                    <a:pt x="10" y="122"/>
                    <a:pt x="11" y="113"/>
                    <a:pt x="17" y="98"/>
                  </a:cubicBezTo>
                  <a:cubicBezTo>
                    <a:pt x="26" y="73"/>
                    <a:pt x="39" y="41"/>
                    <a:pt x="42" y="36"/>
                  </a:cubicBezTo>
                  <a:cubicBezTo>
                    <a:pt x="47" y="27"/>
                    <a:pt x="67" y="0"/>
                    <a:pt x="84" y="15"/>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7">
              <a:extLst>
                <a:ext uri="{FF2B5EF4-FFF2-40B4-BE49-F238E27FC236}">
                  <a16:creationId xmlns:a16="http://schemas.microsoft.com/office/drawing/2014/main" id="{3F524BCA-F642-4B08-8D35-3DCA6E73244E}"/>
                </a:ext>
              </a:extLst>
            </p:cNvPr>
            <p:cNvSpPr>
              <a:spLocks/>
            </p:cNvSpPr>
            <p:nvPr/>
          </p:nvSpPr>
          <p:spPr bwMode="auto">
            <a:xfrm>
              <a:off x="1874838" y="4103688"/>
              <a:ext cx="530225" cy="1011238"/>
            </a:xfrm>
            <a:custGeom>
              <a:avLst/>
              <a:gdLst>
                <a:gd name="T0" fmla="*/ 3 w 104"/>
                <a:gd name="T1" fmla="*/ 30 h 199"/>
                <a:gd name="T2" fmla="*/ 17 w 104"/>
                <a:gd name="T3" fmla="*/ 89 h 199"/>
                <a:gd name="T4" fmla="*/ 67 w 104"/>
                <a:gd name="T5" fmla="*/ 178 h 199"/>
                <a:gd name="T6" fmla="*/ 102 w 104"/>
                <a:gd name="T7" fmla="*/ 172 h 199"/>
                <a:gd name="T8" fmla="*/ 71 w 104"/>
                <a:gd name="T9" fmla="*/ 50 h 199"/>
                <a:gd name="T10" fmla="*/ 47 w 104"/>
                <a:gd name="T11" fmla="*/ 7 h 199"/>
                <a:gd name="T12" fmla="*/ 3 w 104"/>
                <a:gd name="T13" fmla="*/ 30 h 199"/>
              </a:gdLst>
              <a:ahLst/>
              <a:cxnLst>
                <a:cxn ang="0">
                  <a:pos x="T0" y="T1"/>
                </a:cxn>
                <a:cxn ang="0">
                  <a:pos x="T2" y="T3"/>
                </a:cxn>
                <a:cxn ang="0">
                  <a:pos x="T4" y="T5"/>
                </a:cxn>
                <a:cxn ang="0">
                  <a:pos x="T6" y="T7"/>
                </a:cxn>
                <a:cxn ang="0">
                  <a:pos x="T8" y="T9"/>
                </a:cxn>
                <a:cxn ang="0">
                  <a:pos x="T10" y="T11"/>
                </a:cxn>
                <a:cxn ang="0">
                  <a:pos x="T12" y="T13"/>
                </a:cxn>
              </a:cxnLst>
              <a:rect l="0" t="0" r="r" b="b"/>
              <a:pathLst>
                <a:path w="104" h="199">
                  <a:moveTo>
                    <a:pt x="3" y="30"/>
                  </a:moveTo>
                  <a:cubicBezTo>
                    <a:pt x="0" y="43"/>
                    <a:pt x="7" y="63"/>
                    <a:pt x="17" y="89"/>
                  </a:cubicBezTo>
                  <a:cubicBezTo>
                    <a:pt x="32" y="124"/>
                    <a:pt x="64" y="173"/>
                    <a:pt x="67" y="178"/>
                  </a:cubicBezTo>
                  <a:cubicBezTo>
                    <a:pt x="81" y="199"/>
                    <a:pt x="104" y="191"/>
                    <a:pt x="102" y="172"/>
                  </a:cubicBezTo>
                  <a:cubicBezTo>
                    <a:pt x="102" y="166"/>
                    <a:pt x="76" y="61"/>
                    <a:pt x="71" y="50"/>
                  </a:cubicBezTo>
                  <a:cubicBezTo>
                    <a:pt x="66" y="39"/>
                    <a:pt x="59" y="18"/>
                    <a:pt x="47" y="7"/>
                  </a:cubicBezTo>
                  <a:cubicBezTo>
                    <a:pt x="38" y="0"/>
                    <a:pt x="8" y="10"/>
                    <a:pt x="3" y="30"/>
                  </a:cubicBezTo>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8">
              <a:extLst>
                <a:ext uri="{FF2B5EF4-FFF2-40B4-BE49-F238E27FC236}">
                  <a16:creationId xmlns:a16="http://schemas.microsoft.com/office/drawing/2014/main" id="{05AD633B-6322-427D-B77C-FDF3D7317496}"/>
                </a:ext>
              </a:extLst>
            </p:cNvPr>
            <p:cNvSpPr>
              <a:spLocks/>
            </p:cNvSpPr>
            <p:nvPr/>
          </p:nvSpPr>
          <p:spPr bwMode="auto">
            <a:xfrm>
              <a:off x="1839913" y="3122613"/>
              <a:ext cx="788988" cy="1708150"/>
            </a:xfrm>
            <a:custGeom>
              <a:avLst/>
              <a:gdLst>
                <a:gd name="T0" fmla="*/ 111 w 155"/>
                <a:gd name="T1" fmla="*/ 13 h 336"/>
                <a:gd name="T2" fmla="*/ 111 w 155"/>
                <a:gd name="T3" fmla="*/ 72 h 336"/>
                <a:gd name="T4" fmla="*/ 103 w 155"/>
                <a:gd name="T5" fmla="*/ 132 h 336"/>
                <a:gd name="T6" fmla="*/ 142 w 155"/>
                <a:gd name="T7" fmla="*/ 202 h 336"/>
                <a:gd name="T8" fmla="*/ 142 w 155"/>
                <a:gd name="T9" fmla="*/ 320 h 336"/>
                <a:gd name="T10" fmla="*/ 98 w 155"/>
                <a:gd name="T11" fmla="*/ 319 h 336"/>
                <a:gd name="T12" fmla="*/ 66 w 155"/>
                <a:gd name="T13" fmla="*/ 317 h 336"/>
                <a:gd name="T14" fmla="*/ 44 w 155"/>
                <a:gd name="T15" fmla="*/ 336 h 336"/>
                <a:gd name="T16" fmla="*/ 7 w 155"/>
                <a:gd name="T17" fmla="*/ 241 h 336"/>
                <a:gd name="T18" fmla="*/ 13 w 155"/>
                <a:gd name="T19" fmla="*/ 140 h 336"/>
                <a:gd name="T20" fmla="*/ 0 w 155"/>
                <a:gd name="T21" fmla="*/ 46 h 336"/>
                <a:gd name="T22" fmla="*/ 33 w 155"/>
                <a:gd name="T23" fmla="*/ 49 h 336"/>
                <a:gd name="T24" fmla="*/ 30 w 155"/>
                <a:gd name="T25" fmla="*/ 24 h 336"/>
                <a:gd name="T26" fmla="*/ 27 w 155"/>
                <a:gd name="T27" fmla="*/ 0 h 336"/>
                <a:gd name="T28" fmla="*/ 75 w 155"/>
                <a:gd name="T29" fmla="*/ 46 h 336"/>
                <a:gd name="T30" fmla="*/ 97 w 155"/>
                <a:gd name="T31" fmla="*/ 6 h 336"/>
                <a:gd name="T32" fmla="*/ 111 w 155"/>
                <a:gd name="T33" fmla="*/ 1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5" h="336">
                  <a:moveTo>
                    <a:pt x="111" y="13"/>
                  </a:moveTo>
                  <a:cubicBezTo>
                    <a:pt x="111" y="72"/>
                    <a:pt x="111" y="72"/>
                    <a:pt x="111" y="72"/>
                  </a:cubicBezTo>
                  <a:cubicBezTo>
                    <a:pt x="111" y="72"/>
                    <a:pt x="98" y="112"/>
                    <a:pt x="103" y="132"/>
                  </a:cubicBezTo>
                  <a:cubicBezTo>
                    <a:pt x="108" y="152"/>
                    <a:pt x="130" y="174"/>
                    <a:pt x="142" y="202"/>
                  </a:cubicBezTo>
                  <a:cubicBezTo>
                    <a:pt x="155" y="229"/>
                    <a:pt x="142" y="320"/>
                    <a:pt x="142" y="320"/>
                  </a:cubicBezTo>
                  <a:cubicBezTo>
                    <a:pt x="142" y="320"/>
                    <a:pt x="109" y="330"/>
                    <a:pt x="98" y="319"/>
                  </a:cubicBezTo>
                  <a:cubicBezTo>
                    <a:pt x="88" y="308"/>
                    <a:pt x="72" y="312"/>
                    <a:pt x="66" y="317"/>
                  </a:cubicBezTo>
                  <a:cubicBezTo>
                    <a:pt x="60" y="321"/>
                    <a:pt x="44" y="336"/>
                    <a:pt x="44" y="336"/>
                  </a:cubicBezTo>
                  <a:cubicBezTo>
                    <a:pt x="44" y="336"/>
                    <a:pt x="14" y="287"/>
                    <a:pt x="7" y="241"/>
                  </a:cubicBezTo>
                  <a:cubicBezTo>
                    <a:pt x="2" y="205"/>
                    <a:pt x="16" y="159"/>
                    <a:pt x="13" y="140"/>
                  </a:cubicBezTo>
                  <a:cubicBezTo>
                    <a:pt x="11" y="121"/>
                    <a:pt x="0" y="46"/>
                    <a:pt x="0" y="46"/>
                  </a:cubicBezTo>
                  <a:cubicBezTo>
                    <a:pt x="0" y="46"/>
                    <a:pt x="15" y="48"/>
                    <a:pt x="33" y="49"/>
                  </a:cubicBezTo>
                  <a:cubicBezTo>
                    <a:pt x="35" y="49"/>
                    <a:pt x="33" y="37"/>
                    <a:pt x="30" y="24"/>
                  </a:cubicBezTo>
                  <a:cubicBezTo>
                    <a:pt x="28" y="12"/>
                    <a:pt x="25" y="0"/>
                    <a:pt x="27" y="0"/>
                  </a:cubicBezTo>
                  <a:cubicBezTo>
                    <a:pt x="40" y="0"/>
                    <a:pt x="44" y="53"/>
                    <a:pt x="75" y="46"/>
                  </a:cubicBezTo>
                  <a:cubicBezTo>
                    <a:pt x="97" y="41"/>
                    <a:pt x="97" y="6"/>
                    <a:pt x="97" y="6"/>
                  </a:cubicBezTo>
                  <a:cubicBezTo>
                    <a:pt x="111" y="13"/>
                    <a:pt x="111" y="13"/>
                    <a:pt x="111" y="13"/>
                  </a:cubicBezTo>
                </a:path>
              </a:pathLst>
            </a:custGeom>
            <a:solidFill>
              <a:srgbClr val="F79694"/>
            </a:solidFill>
            <a:ln>
              <a:noFill/>
            </a:ln>
          </p:spPr>
          <p:txBody>
            <a:bodyPr vert="horz" wrap="square" lIns="91440" tIns="45720" rIns="91440" bIns="45720" numCol="1" anchor="t" anchorCtr="0" compatLnSpc="1">
              <a:prstTxWarp prst="textNoShape">
                <a:avLst/>
              </a:prstTxWarp>
            </a:bodyPr>
            <a:lstStyle/>
            <a:p>
              <a:endParaRPr lang="en-US"/>
            </a:p>
          </p:txBody>
        </p:sp>
        <p:sp>
          <p:nvSpPr>
            <p:cNvPr id="56" name="Freeform 29">
              <a:extLst>
                <a:ext uri="{FF2B5EF4-FFF2-40B4-BE49-F238E27FC236}">
                  <a16:creationId xmlns:a16="http://schemas.microsoft.com/office/drawing/2014/main" id="{0DDD6E55-0BD8-4FF0-A285-61F32811FE1B}"/>
                </a:ext>
              </a:extLst>
            </p:cNvPr>
            <p:cNvSpPr>
              <a:spLocks/>
            </p:cNvSpPr>
            <p:nvPr/>
          </p:nvSpPr>
          <p:spPr bwMode="auto">
            <a:xfrm>
              <a:off x="1930401" y="3498850"/>
              <a:ext cx="698500" cy="1301750"/>
            </a:xfrm>
            <a:custGeom>
              <a:avLst/>
              <a:gdLst>
                <a:gd name="T0" fmla="*/ 7 w 137"/>
                <a:gd name="T1" fmla="*/ 14 h 256"/>
                <a:gd name="T2" fmla="*/ 37 w 137"/>
                <a:gd name="T3" fmla="*/ 17 h 256"/>
                <a:gd name="T4" fmla="*/ 72 w 137"/>
                <a:gd name="T5" fmla="*/ 20 h 256"/>
                <a:gd name="T6" fmla="*/ 93 w 137"/>
                <a:gd name="T7" fmla="*/ 0 h 256"/>
                <a:gd name="T8" fmla="*/ 85 w 137"/>
                <a:gd name="T9" fmla="*/ 58 h 256"/>
                <a:gd name="T10" fmla="*/ 124 w 137"/>
                <a:gd name="T11" fmla="*/ 128 h 256"/>
                <a:gd name="T12" fmla="*/ 124 w 137"/>
                <a:gd name="T13" fmla="*/ 246 h 256"/>
                <a:gd name="T14" fmla="*/ 80 w 137"/>
                <a:gd name="T15" fmla="*/ 245 h 256"/>
                <a:gd name="T16" fmla="*/ 80 w 137"/>
                <a:gd name="T17" fmla="*/ 245 h 256"/>
                <a:gd name="T18" fmla="*/ 61 w 137"/>
                <a:gd name="T19" fmla="*/ 189 h 256"/>
                <a:gd name="T20" fmla="*/ 91 w 137"/>
                <a:gd name="T21" fmla="*/ 171 h 256"/>
                <a:gd name="T22" fmla="*/ 57 w 137"/>
                <a:gd name="T23" fmla="*/ 68 h 256"/>
                <a:gd name="T24" fmla="*/ 7 w 137"/>
                <a:gd name="T25" fmla="*/ 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256">
                  <a:moveTo>
                    <a:pt x="7" y="14"/>
                  </a:moveTo>
                  <a:cubicBezTo>
                    <a:pt x="10" y="12"/>
                    <a:pt x="23" y="14"/>
                    <a:pt x="37" y="17"/>
                  </a:cubicBezTo>
                  <a:cubicBezTo>
                    <a:pt x="50" y="19"/>
                    <a:pt x="64" y="22"/>
                    <a:pt x="72" y="20"/>
                  </a:cubicBezTo>
                  <a:cubicBezTo>
                    <a:pt x="85" y="17"/>
                    <a:pt x="91" y="5"/>
                    <a:pt x="93" y="0"/>
                  </a:cubicBezTo>
                  <a:cubicBezTo>
                    <a:pt x="90" y="8"/>
                    <a:pt x="80" y="41"/>
                    <a:pt x="85" y="58"/>
                  </a:cubicBezTo>
                  <a:cubicBezTo>
                    <a:pt x="90" y="78"/>
                    <a:pt x="112" y="100"/>
                    <a:pt x="124" y="128"/>
                  </a:cubicBezTo>
                  <a:cubicBezTo>
                    <a:pt x="137" y="155"/>
                    <a:pt x="124" y="246"/>
                    <a:pt x="124" y="246"/>
                  </a:cubicBezTo>
                  <a:cubicBezTo>
                    <a:pt x="124" y="246"/>
                    <a:pt x="91" y="256"/>
                    <a:pt x="80" y="245"/>
                  </a:cubicBezTo>
                  <a:cubicBezTo>
                    <a:pt x="80" y="245"/>
                    <a:pt x="80" y="245"/>
                    <a:pt x="80" y="245"/>
                  </a:cubicBezTo>
                  <a:cubicBezTo>
                    <a:pt x="61" y="189"/>
                    <a:pt x="61" y="189"/>
                    <a:pt x="61" y="189"/>
                  </a:cubicBezTo>
                  <a:cubicBezTo>
                    <a:pt x="61" y="189"/>
                    <a:pt x="92" y="198"/>
                    <a:pt x="91" y="171"/>
                  </a:cubicBezTo>
                  <a:cubicBezTo>
                    <a:pt x="91" y="144"/>
                    <a:pt x="64" y="84"/>
                    <a:pt x="57" y="68"/>
                  </a:cubicBezTo>
                  <a:cubicBezTo>
                    <a:pt x="49" y="52"/>
                    <a:pt x="0" y="18"/>
                    <a:pt x="7" y="14"/>
                  </a:cubicBezTo>
                </a:path>
              </a:pathLst>
            </a:custGeom>
            <a:solidFill>
              <a:srgbClr val="F57673"/>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30">
              <a:extLst>
                <a:ext uri="{FF2B5EF4-FFF2-40B4-BE49-F238E27FC236}">
                  <a16:creationId xmlns:a16="http://schemas.microsoft.com/office/drawing/2014/main" id="{4A0880C9-11C7-415B-BA62-286D038C306A}"/>
                </a:ext>
              </a:extLst>
            </p:cNvPr>
            <p:cNvSpPr>
              <a:spLocks/>
            </p:cNvSpPr>
            <p:nvPr/>
          </p:nvSpPr>
          <p:spPr bwMode="auto">
            <a:xfrm>
              <a:off x="1789113" y="3097213"/>
              <a:ext cx="288925" cy="1423988"/>
            </a:xfrm>
            <a:custGeom>
              <a:avLst/>
              <a:gdLst>
                <a:gd name="T0" fmla="*/ 43 w 57"/>
                <a:gd name="T1" fmla="*/ 1 h 280"/>
                <a:gd name="T2" fmla="*/ 54 w 57"/>
                <a:gd name="T3" fmla="*/ 40 h 280"/>
                <a:gd name="T4" fmla="*/ 24 w 57"/>
                <a:gd name="T5" fmla="*/ 212 h 280"/>
                <a:gd name="T6" fmla="*/ 21 w 57"/>
                <a:gd name="T7" fmla="*/ 280 h 280"/>
                <a:gd name="T8" fmla="*/ 5 w 57"/>
                <a:gd name="T9" fmla="*/ 264 h 280"/>
                <a:gd name="T10" fmla="*/ 15 w 57"/>
                <a:gd name="T11" fmla="*/ 157 h 280"/>
                <a:gd name="T12" fmla="*/ 3 w 57"/>
                <a:gd name="T13" fmla="*/ 13 h 280"/>
                <a:gd name="T14" fmla="*/ 43 w 57"/>
                <a:gd name="T15" fmla="*/ 1 h 2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280">
                  <a:moveTo>
                    <a:pt x="43" y="1"/>
                  </a:moveTo>
                  <a:cubicBezTo>
                    <a:pt x="43" y="1"/>
                    <a:pt x="51" y="24"/>
                    <a:pt x="54" y="40"/>
                  </a:cubicBezTo>
                  <a:cubicBezTo>
                    <a:pt x="57" y="56"/>
                    <a:pt x="28" y="185"/>
                    <a:pt x="24" y="212"/>
                  </a:cubicBezTo>
                  <a:cubicBezTo>
                    <a:pt x="19" y="238"/>
                    <a:pt x="21" y="280"/>
                    <a:pt x="21" y="280"/>
                  </a:cubicBezTo>
                  <a:cubicBezTo>
                    <a:pt x="5" y="264"/>
                    <a:pt x="5" y="264"/>
                    <a:pt x="5" y="264"/>
                  </a:cubicBezTo>
                  <a:cubicBezTo>
                    <a:pt x="5" y="264"/>
                    <a:pt x="16" y="195"/>
                    <a:pt x="15" y="157"/>
                  </a:cubicBezTo>
                  <a:cubicBezTo>
                    <a:pt x="15" y="118"/>
                    <a:pt x="0" y="25"/>
                    <a:pt x="3" y="13"/>
                  </a:cubicBezTo>
                  <a:cubicBezTo>
                    <a:pt x="6" y="0"/>
                    <a:pt x="43" y="1"/>
                    <a:pt x="43" y="1"/>
                  </a:cubicBezTo>
                  <a:close/>
                </a:path>
              </a:pathLst>
            </a:custGeom>
            <a:solidFill>
              <a:srgbClr val="032D37"/>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31">
              <a:extLst>
                <a:ext uri="{FF2B5EF4-FFF2-40B4-BE49-F238E27FC236}">
                  <a16:creationId xmlns:a16="http://schemas.microsoft.com/office/drawing/2014/main" id="{E58F009C-D428-4410-B3F3-E22ED3B59E4A}"/>
                </a:ext>
              </a:extLst>
            </p:cNvPr>
            <p:cNvSpPr>
              <a:spLocks/>
            </p:cNvSpPr>
            <p:nvPr/>
          </p:nvSpPr>
          <p:spPr bwMode="auto">
            <a:xfrm>
              <a:off x="2352676" y="3162300"/>
              <a:ext cx="163513" cy="768350"/>
            </a:xfrm>
            <a:custGeom>
              <a:avLst/>
              <a:gdLst>
                <a:gd name="T0" fmla="*/ 0 w 32"/>
                <a:gd name="T1" fmla="*/ 0 h 151"/>
                <a:gd name="T2" fmla="*/ 7 w 32"/>
                <a:gd name="T3" fmla="*/ 75 h 151"/>
                <a:gd name="T4" fmla="*/ 16 w 32"/>
                <a:gd name="T5" fmla="*/ 151 h 151"/>
                <a:gd name="T6" fmla="*/ 30 w 32"/>
                <a:gd name="T7" fmla="*/ 21 h 151"/>
                <a:gd name="T8" fmla="*/ 0 w 32"/>
                <a:gd name="T9" fmla="*/ 0 h 151"/>
              </a:gdLst>
              <a:ahLst/>
              <a:cxnLst>
                <a:cxn ang="0">
                  <a:pos x="T0" y="T1"/>
                </a:cxn>
                <a:cxn ang="0">
                  <a:pos x="T2" y="T3"/>
                </a:cxn>
                <a:cxn ang="0">
                  <a:pos x="T4" y="T5"/>
                </a:cxn>
                <a:cxn ang="0">
                  <a:pos x="T6" y="T7"/>
                </a:cxn>
                <a:cxn ang="0">
                  <a:pos x="T8" y="T9"/>
                </a:cxn>
              </a:cxnLst>
              <a:rect l="0" t="0" r="r" b="b"/>
              <a:pathLst>
                <a:path w="32" h="151">
                  <a:moveTo>
                    <a:pt x="0" y="0"/>
                  </a:moveTo>
                  <a:cubicBezTo>
                    <a:pt x="0" y="0"/>
                    <a:pt x="8" y="59"/>
                    <a:pt x="7" y="75"/>
                  </a:cubicBezTo>
                  <a:cubicBezTo>
                    <a:pt x="6" y="90"/>
                    <a:pt x="16" y="151"/>
                    <a:pt x="16" y="151"/>
                  </a:cubicBezTo>
                  <a:cubicBezTo>
                    <a:pt x="16" y="151"/>
                    <a:pt x="32" y="29"/>
                    <a:pt x="30" y="21"/>
                  </a:cubicBezTo>
                  <a:cubicBezTo>
                    <a:pt x="28" y="10"/>
                    <a:pt x="0" y="0"/>
                    <a:pt x="0" y="0"/>
                  </a:cubicBezTo>
                  <a:close/>
                </a:path>
              </a:pathLst>
            </a:custGeom>
            <a:solidFill>
              <a:srgbClr val="032D37"/>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32">
              <a:extLst>
                <a:ext uri="{FF2B5EF4-FFF2-40B4-BE49-F238E27FC236}">
                  <a16:creationId xmlns:a16="http://schemas.microsoft.com/office/drawing/2014/main" id="{76B729CF-A2E9-4C7B-8437-152E0B0C5F0D}"/>
                </a:ext>
              </a:extLst>
            </p:cNvPr>
            <p:cNvSpPr>
              <a:spLocks/>
            </p:cNvSpPr>
            <p:nvPr/>
          </p:nvSpPr>
          <p:spPr bwMode="auto">
            <a:xfrm>
              <a:off x="1655763" y="3122613"/>
              <a:ext cx="295275" cy="690563"/>
            </a:xfrm>
            <a:custGeom>
              <a:avLst/>
              <a:gdLst>
                <a:gd name="T0" fmla="*/ 39 w 58"/>
                <a:gd name="T1" fmla="*/ 1 h 136"/>
                <a:gd name="T2" fmla="*/ 16 w 58"/>
                <a:gd name="T3" fmla="*/ 59 h 136"/>
                <a:gd name="T4" fmla="*/ 17 w 58"/>
                <a:gd name="T5" fmla="*/ 132 h 136"/>
                <a:gd name="T6" fmla="*/ 46 w 58"/>
                <a:gd name="T7" fmla="*/ 69 h 136"/>
                <a:gd name="T8" fmla="*/ 39 w 58"/>
                <a:gd name="T9" fmla="*/ 1 h 136"/>
              </a:gdLst>
              <a:ahLst/>
              <a:cxnLst>
                <a:cxn ang="0">
                  <a:pos x="T0" y="T1"/>
                </a:cxn>
                <a:cxn ang="0">
                  <a:pos x="T2" y="T3"/>
                </a:cxn>
                <a:cxn ang="0">
                  <a:pos x="T4" y="T5"/>
                </a:cxn>
                <a:cxn ang="0">
                  <a:pos x="T6" y="T7"/>
                </a:cxn>
                <a:cxn ang="0">
                  <a:pos x="T8" y="T9"/>
                </a:cxn>
              </a:cxnLst>
              <a:rect l="0" t="0" r="r" b="b"/>
              <a:pathLst>
                <a:path w="58" h="136">
                  <a:moveTo>
                    <a:pt x="39" y="1"/>
                  </a:moveTo>
                  <a:cubicBezTo>
                    <a:pt x="30" y="0"/>
                    <a:pt x="19" y="28"/>
                    <a:pt x="16" y="59"/>
                  </a:cubicBezTo>
                  <a:cubicBezTo>
                    <a:pt x="10" y="112"/>
                    <a:pt x="0" y="129"/>
                    <a:pt x="17" y="132"/>
                  </a:cubicBezTo>
                  <a:cubicBezTo>
                    <a:pt x="31" y="136"/>
                    <a:pt x="35" y="114"/>
                    <a:pt x="46" y="69"/>
                  </a:cubicBezTo>
                  <a:cubicBezTo>
                    <a:pt x="54" y="34"/>
                    <a:pt x="58" y="4"/>
                    <a:pt x="39" y="1"/>
                  </a:cubicBezTo>
                  <a:close/>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33">
              <a:extLst>
                <a:ext uri="{FF2B5EF4-FFF2-40B4-BE49-F238E27FC236}">
                  <a16:creationId xmlns:a16="http://schemas.microsoft.com/office/drawing/2014/main" id="{9A42FC43-4E43-441F-A350-C7BA75B204FA}"/>
                </a:ext>
              </a:extLst>
            </p:cNvPr>
            <p:cNvSpPr>
              <a:spLocks/>
            </p:cNvSpPr>
            <p:nvPr/>
          </p:nvSpPr>
          <p:spPr bwMode="auto">
            <a:xfrm>
              <a:off x="1655763" y="3671888"/>
              <a:ext cx="523875" cy="482600"/>
            </a:xfrm>
            <a:custGeom>
              <a:avLst/>
              <a:gdLst>
                <a:gd name="T0" fmla="*/ 14 w 103"/>
                <a:gd name="T1" fmla="*/ 5 h 95"/>
                <a:gd name="T2" fmla="*/ 55 w 103"/>
                <a:gd name="T3" fmla="*/ 27 h 95"/>
                <a:gd name="T4" fmla="*/ 97 w 103"/>
                <a:gd name="T5" fmla="*/ 93 h 95"/>
                <a:gd name="T6" fmla="*/ 85 w 103"/>
                <a:gd name="T7" fmla="*/ 88 h 95"/>
                <a:gd name="T8" fmla="*/ 38 w 103"/>
                <a:gd name="T9" fmla="*/ 51 h 95"/>
                <a:gd name="T10" fmla="*/ 14 w 103"/>
                <a:gd name="T11" fmla="*/ 5 h 95"/>
              </a:gdLst>
              <a:ahLst/>
              <a:cxnLst>
                <a:cxn ang="0">
                  <a:pos x="T0" y="T1"/>
                </a:cxn>
                <a:cxn ang="0">
                  <a:pos x="T2" y="T3"/>
                </a:cxn>
                <a:cxn ang="0">
                  <a:pos x="T4" y="T5"/>
                </a:cxn>
                <a:cxn ang="0">
                  <a:pos x="T6" y="T7"/>
                </a:cxn>
                <a:cxn ang="0">
                  <a:pos x="T8" y="T9"/>
                </a:cxn>
                <a:cxn ang="0">
                  <a:pos x="T10" y="T11"/>
                </a:cxn>
              </a:cxnLst>
              <a:rect l="0" t="0" r="r" b="b"/>
              <a:pathLst>
                <a:path w="103" h="95">
                  <a:moveTo>
                    <a:pt x="14" y="5"/>
                  </a:moveTo>
                  <a:cubicBezTo>
                    <a:pt x="21" y="0"/>
                    <a:pt x="38" y="6"/>
                    <a:pt x="55" y="27"/>
                  </a:cubicBezTo>
                  <a:cubicBezTo>
                    <a:pt x="74" y="52"/>
                    <a:pt x="103" y="88"/>
                    <a:pt x="97" y="93"/>
                  </a:cubicBezTo>
                  <a:cubicBezTo>
                    <a:pt x="94" y="95"/>
                    <a:pt x="89" y="93"/>
                    <a:pt x="85" y="88"/>
                  </a:cubicBezTo>
                  <a:cubicBezTo>
                    <a:pt x="75" y="77"/>
                    <a:pt x="54" y="64"/>
                    <a:pt x="38" y="51"/>
                  </a:cubicBezTo>
                  <a:cubicBezTo>
                    <a:pt x="13" y="31"/>
                    <a:pt x="0" y="14"/>
                    <a:pt x="14" y="5"/>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34">
              <a:extLst>
                <a:ext uri="{FF2B5EF4-FFF2-40B4-BE49-F238E27FC236}">
                  <a16:creationId xmlns:a16="http://schemas.microsoft.com/office/drawing/2014/main" id="{939A82F5-A072-411D-8385-787F5E8A2977}"/>
                </a:ext>
              </a:extLst>
            </p:cNvPr>
            <p:cNvSpPr>
              <a:spLocks/>
            </p:cNvSpPr>
            <p:nvPr/>
          </p:nvSpPr>
          <p:spPr bwMode="auto">
            <a:xfrm>
              <a:off x="2058988" y="4022725"/>
              <a:ext cx="242888" cy="131763"/>
            </a:xfrm>
            <a:custGeom>
              <a:avLst/>
              <a:gdLst>
                <a:gd name="T0" fmla="*/ 48 w 48"/>
                <a:gd name="T1" fmla="*/ 12 h 26"/>
                <a:gd name="T2" fmla="*/ 3 w 48"/>
                <a:gd name="T3" fmla="*/ 13 h 26"/>
                <a:gd name="T4" fmla="*/ 14 w 48"/>
                <a:gd name="T5" fmla="*/ 25 h 26"/>
                <a:gd name="T6" fmla="*/ 23 w 48"/>
                <a:gd name="T7" fmla="*/ 24 h 26"/>
                <a:gd name="T8" fmla="*/ 48 w 48"/>
                <a:gd name="T9" fmla="*/ 12 h 26"/>
              </a:gdLst>
              <a:ahLst/>
              <a:cxnLst>
                <a:cxn ang="0">
                  <a:pos x="T0" y="T1"/>
                </a:cxn>
                <a:cxn ang="0">
                  <a:pos x="T2" y="T3"/>
                </a:cxn>
                <a:cxn ang="0">
                  <a:pos x="T4" y="T5"/>
                </a:cxn>
                <a:cxn ang="0">
                  <a:pos x="T6" y="T7"/>
                </a:cxn>
                <a:cxn ang="0">
                  <a:pos x="T8" y="T9"/>
                </a:cxn>
              </a:cxnLst>
              <a:rect l="0" t="0" r="r" b="b"/>
              <a:pathLst>
                <a:path w="48" h="26">
                  <a:moveTo>
                    <a:pt x="48" y="12"/>
                  </a:moveTo>
                  <a:cubicBezTo>
                    <a:pt x="48" y="10"/>
                    <a:pt x="19" y="0"/>
                    <a:pt x="3" y="13"/>
                  </a:cubicBezTo>
                  <a:cubicBezTo>
                    <a:pt x="0" y="16"/>
                    <a:pt x="9" y="24"/>
                    <a:pt x="14" y="25"/>
                  </a:cubicBezTo>
                  <a:cubicBezTo>
                    <a:pt x="16" y="26"/>
                    <a:pt x="20" y="26"/>
                    <a:pt x="23" y="24"/>
                  </a:cubicBezTo>
                  <a:cubicBezTo>
                    <a:pt x="36" y="12"/>
                    <a:pt x="47" y="18"/>
                    <a:pt x="48" y="12"/>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35">
              <a:extLst>
                <a:ext uri="{FF2B5EF4-FFF2-40B4-BE49-F238E27FC236}">
                  <a16:creationId xmlns:a16="http://schemas.microsoft.com/office/drawing/2014/main" id="{51F808EC-8C1B-48B0-AA10-0E310BB9FD69}"/>
                </a:ext>
              </a:extLst>
            </p:cNvPr>
            <p:cNvSpPr>
              <a:spLocks/>
            </p:cNvSpPr>
            <p:nvPr/>
          </p:nvSpPr>
          <p:spPr bwMode="auto">
            <a:xfrm>
              <a:off x="2135188" y="4068763"/>
              <a:ext cx="228600" cy="101600"/>
            </a:xfrm>
            <a:custGeom>
              <a:avLst/>
              <a:gdLst>
                <a:gd name="T0" fmla="*/ 0 w 45"/>
                <a:gd name="T1" fmla="*/ 4 h 20"/>
                <a:gd name="T2" fmla="*/ 13 w 45"/>
                <a:gd name="T3" fmla="*/ 1 h 20"/>
                <a:gd name="T4" fmla="*/ 15 w 45"/>
                <a:gd name="T5" fmla="*/ 1 h 20"/>
                <a:gd name="T6" fmla="*/ 18 w 45"/>
                <a:gd name="T7" fmla="*/ 1 h 20"/>
                <a:gd name="T8" fmla="*/ 20 w 45"/>
                <a:gd name="T9" fmla="*/ 0 h 20"/>
                <a:gd name="T10" fmla="*/ 22 w 45"/>
                <a:gd name="T11" fmla="*/ 1 h 20"/>
                <a:gd name="T12" fmla="*/ 24 w 45"/>
                <a:gd name="T13" fmla="*/ 0 h 20"/>
                <a:gd name="T14" fmla="*/ 27 w 45"/>
                <a:gd name="T15" fmla="*/ 1 h 20"/>
                <a:gd name="T16" fmla="*/ 31 w 45"/>
                <a:gd name="T17" fmla="*/ 1 h 20"/>
                <a:gd name="T18" fmla="*/ 39 w 45"/>
                <a:gd name="T19" fmla="*/ 9 h 20"/>
                <a:gd name="T20" fmla="*/ 44 w 45"/>
                <a:gd name="T21" fmla="*/ 18 h 20"/>
                <a:gd name="T22" fmla="*/ 37 w 45"/>
                <a:gd name="T23" fmla="*/ 16 h 20"/>
                <a:gd name="T24" fmla="*/ 31 w 45"/>
                <a:gd name="T25" fmla="*/ 10 h 20"/>
                <a:gd name="T26" fmla="*/ 33 w 45"/>
                <a:gd name="T27" fmla="*/ 19 h 20"/>
                <a:gd name="T28" fmla="*/ 30 w 45"/>
                <a:gd name="T29" fmla="*/ 20 h 20"/>
                <a:gd name="T30" fmla="*/ 27 w 45"/>
                <a:gd name="T31" fmla="*/ 17 h 20"/>
                <a:gd name="T32" fmla="*/ 25 w 45"/>
                <a:gd name="T33" fmla="*/ 19 h 20"/>
                <a:gd name="T34" fmla="*/ 21 w 45"/>
                <a:gd name="T35" fmla="*/ 15 h 20"/>
                <a:gd name="T36" fmla="*/ 19 w 45"/>
                <a:gd name="T37" fmla="*/ 18 h 20"/>
                <a:gd name="T38" fmla="*/ 11 w 45"/>
                <a:gd name="T39" fmla="*/ 10 h 20"/>
                <a:gd name="T40" fmla="*/ 0 w 45"/>
                <a:gd name="T41"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20">
                  <a:moveTo>
                    <a:pt x="0" y="4"/>
                  </a:moveTo>
                  <a:cubicBezTo>
                    <a:pt x="0" y="4"/>
                    <a:pt x="5" y="2"/>
                    <a:pt x="13" y="1"/>
                  </a:cubicBezTo>
                  <a:cubicBezTo>
                    <a:pt x="15" y="1"/>
                    <a:pt x="15" y="1"/>
                    <a:pt x="15" y="1"/>
                  </a:cubicBezTo>
                  <a:cubicBezTo>
                    <a:pt x="18" y="1"/>
                    <a:pt x="18" y="1"/>
                    <a:pt x="18" y="1"/>
                  </a:cubicBezTo>
                  <a:cubicBezTo>
                    <a:pt x="20" y="0"/>
                    <a:pt x="20" y="0"/>
                    <a:pt x="20" y="0"/>
                  </a:cubicBezTo>
                  <a:cubicBezTo>
                    <a:pt x="22" y="1"/>
                    <a:pt x="22" y="1"/>
                    <a:pt x="22" y="1"/>
                  </a:cubicBezTo>
                  <a:cubicBezTo>
                    <a:pt x="24" y="0"/>
                    <a:pt x="24" y="0"/>
                    <a:pt x="24" y="0"/>
                  </a:cubicBezTo>
                  <a:cubicBezTo>
                    <a:pt x="27" y="0"/>
                    <a:pt x="27" y="1"/>
                    <a:pt x="27" y="1"/>
                  </a:cubicBezTo>
                  <a:cubicBezTo>
                    <a:pt x="30" y="1"/>
                    <a:pt x="30" y="1"/>
                    <a:pt x="31" y="1"/>
                  </a:cubicBezTo>
                  <a:cubicBezTo>
                    <a:pt x="33" y="2"/>
                    <a:pt x="39" y="8"/>
                    <a:pt x="39" y="9"/>
                  </a:cubicBezTo>
                  <a:cubicBezTo>
                    <a:pt x="40" y="11"/>
                    <a:pt x="45" y="17"/>
                    <a:pt x="44" y="18"/>
                  </a:cubicBezTo>
                  <a:cubicBezTo>
                    <a:pt x="44" y="18"/>
                    <a:pt x="41" y="19"/>
                    <a:pt x="37" y="16"/>
                  </a:cubicBezTo>
                  <a:cubicBezTo>
                    <a:pt x="34" y="13"/>
                    <a:pt x="30" y="9"/>
                    <a:pt x="31" y="10"/>
                  </a:cubicBezTo>
                  <a:cubicBezTo>
                    <a:pt x="31" y="11"/>
                    <a:pt x="33" y="16"/>
                    <a:pt x="33" y="19"/>
                  </a:cubicBezTo>
                  <a:cubicBezTo>
                    <a:pt x="33" y="20"/>
                    <a:pt x="31" y="20"/>
                    <a:pt x="30" y="20"/>
                  </a:cubicBezTo>
                  <a:cubicBezTo>
                    <a:pt x="27" y="17"/>
                    <a:pt x="27" y="17"/>
                    <a:pt x="27" y="17"/>
                  </a:cubicBezTo>
                  <a:cubicBezTo>
                    <a:pt x="25" y="19"/>
                    <a:pt x="25" y="19"/>
                    <a:pt x="25" y="19"/>
                  </a:cubicBezTo>
                  <a:cubicBezTo>
                    <a:pt x="22" y="19"/>
                    <a:pt x="21" y="16"/>
                    <a:pt x="21" y="15"/>
                  </a:cubicBezTo>
                  <a:cubicBezTo>
                    <a:pt x="20" y="15"/>
                    <a:pt x="20" y="18"/>
                    <a:pt x="19" y="18"/>
                  </a:cubicBezTo>
                  <a:cubicBezTo>
                    <a:pt x="15" y="17"/>
                    <a:pt x="14" y="9"/>
                    <a:pt x="11" y="10"/>
                  </a:cubicBezTo>
                  <a:cubicBezTo>
                    <a:pt x="9" y="10"/>
                    <a:pt x="1" y="9"/>
                    <a:pt x="0" y="4"/>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6">
              <a:extLst>
                <a:ext uri="{FF2B5EF4-FFF2-40B4-BE49-F238E27FC236}">
                  <a16:creationId xmlns:a16="http://schemas.microsoft.com/office/drawing/2014/main" id="{3B04EF69-E468-4712-ADC0-E17443A520C2}"/>
                </a:ext>
              </a:extLst>
            </p:cNvPr>
            <p:cNvSpPr>
              <a:spLocks/>
            </p:cNvSpPr>
            <p:nvPr/>
          </p:nvSpPr>
          <p:spPr bwMode="auto">
            <a:xfrm>
              <a:off x="3295651" y="2536825"/>
              <a:ext cx="228600" cy="458788"/>
            </a:xfrm>
            <a:custGeom>
              <a:avLst/>
              <a:gdLst>
                <a:gd name="T0" fmla="*/ 8 w 45"/>
                <a:gd name="T1" fmla="*/ 17 h 90"/>
                <a:gd name="T2" fmla="*/ 32 w 45"/>
                <a:gd name="T3" fmla="*/ 10 h 90"/>
                <a:gd name="T4" fmla="*/ 38 w 45"/>
                <a:gd name="T5" fmla="*/ 48 h 90"/>
                <a:gd name="T6" fmla="*/ 23 w 45"/>
                <a:gd name="T7" fmla="*/ 84 h 90"/>
                <a:gd name="T8" fmla="*/ 18 w 45"/>
                <a:gd name="T9" fmla="*/ 89 h 90"/>
                <a:gd name="T10" fmla="*/ 5 w 45"/>
                <a:gd name="T11" fmla="*/ 68 h 90"/>
                <a:gd name="T12" fmla="*/ 6 w 45"/>
                <a:gd name="T13" fmla="*/ 42 h 90"/>
                <a:gd name="T14" fmla="*/ 8 w 45"/>
                <a:gd name="T15" fmla="*/ 17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90">
                  <a:moveTo>
                    <a:pt x="8" y="17"/>
                  </a:moveTo>
                  <a:cubicBezTo>
                    <a:pt x="8" y="17"/>
                    <a:pt x="19" y="0"/>
                    <a:pt x="32" y="10"/>
                  </a:cubicBezTo>
                  <a:cubicBezTo>
                    <a:pt x="45" y="20"/>
                    <a:pt x="44" y="41"/>
                    <a:pt x="38" y="48"/>
                  </a:cubicBezTo>
                  <a:cubicBezTo>
                    <a:pt x="31" y="55"/>
                    <a:pt x="21" y="84"/>
                    <a:pt x="23" y="84"/>
                  </a:cubicBezTo>
                  <a:cubicBezTo>
                    <a:pt x="25" y="85"/>
                    <a:pt x="22" y="90"/>
                    <a:pt x="18" y="89"/>
                  </a:cubicBezTo>
                  <a:cubicBezTo>
                    <a:pt x="13" y="88"/>
                    <a:pt x="0" y="82"/>
                    <a:pt x="5" y="68"/>
                  </a:cubicBezTo>
                  <a:cubicBezTo>
                    <a:pt x="9" y="53"/>
                    <a:pt x="6" y="42"/>
                    <a:pt x="6" y="42"/>
                  </a:cubicBezTo>
                  <a:cubicBezTo>
                    <a:pt x="8" y="17"/>
                    <a:pt x="8" y="17"/>
                    <a:pt x="8" y="17"/>
                  </a:cubicBezTo>
                  <a:close/>
                </a:path>
              </a:pathLst>
            </a:custGeom>
            <a:solidFill>
              <a:schemeClr val="tx1">
                <a:lumMod val="95000"/>
                <a:lumOff val="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37">
              <a:extLst>
                <a:ext uri="{FF2B5EF4-FFF2-40B4-BE49-F238E27FC236}">
                  <a16:creationId xmlns:a16="http://schemas.microsoft.com/office/drawing/2014/main" id="{ECA113D6-D98D-4288-A14F-900673E75C90}"/>
                </a:ext>
              </a:extLst>
            </p:cNvPr>
            <p:cNvSpPr>
              <a:spLocks/>
            </p:cNvSpPr>
            <p:nvPr/>
          </p:nvSpPr>
          <p:spPr bwMode="auto">
            <a:xfrm>
              <a:off x="2994026" y="5715000"/>
              <a:ext cx="315913" cy="320675"/>
            </a:xfrm>
            <a:custGeom>
              <a:avLst/>
              <a:gdLst>
                <a:gd name="T0" fmla="*/ 54 w 62"/>
                <a:gd name="T1" fmla="*/ 1 h 63"/>
                <a:gd name="T2" fmla="*/ 60 w 62"/>
                <a:gd name="T3" fmla="*/ 16 h 63"/>
                <a:gd name="T4" fmla="*/ 60 w 62"/>
                <a:gd name="T5" fmla="*/ 29 h 63"/>
                <a:gd name="T6" fmla="*/ 42 w 62"/>
                <a:gd name="T7" fmla="*/ 38 h 63"/>
                <a:gd name="T8" fmla="*/ 20 w 62"/>
                <a:gd name="T9" fmla="*/ 61 h 63"/>
                <a:gd name="T10" fmla="*/ 1 w 62"/>
                <a:gd name="T11" fmla="*/ 60 h 63"/>
                <a:gd name="T12" fmla="*/ 13 w 62"/>
                <a:gd name="T13" fmla="*/ 46 h 63"/>
                <a:gd name="T14" fmla="*/ 33 w 62"/>
                <a:gd name="T15" fmla="*/ 8 h 63"/>
                <a:gd name="T16" fmla="*/ 54 w 62"/>
                <a:gd name="T17" fmla="*/ 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3">
                  <a:moveTo>
                    <a:pt x="54" y="1"/>
                  </a:moveTo>
                  <a:cubicBezTo>
                    <a:pt x="55" y="8"/>
                    <a:pt x="58" y="13"/>
                    <a:pt x="60" y="16"/>
                  </a:cubicBezTo>
                  <a:cubicBezTo>
                    <a:pt x="62" y="20"/>
                    <a:pt x="62" y="27"/>
                    <a:pt x="60" y="29"/>
                  </a:cubicBezTo>
                  <a:cubicBezTo>
                    <a:pt x="55" y="35"/>
                    <a:pt x="48" y="34"/>
                    <a:pt x="42" y="38"/>
                  </a:cubicBezTo>
                  <a:cubicBezTo>
                    <a:pt x="35" y="43"/>
                    <a:pt x="26" y="59"/>
                    <a:pt x="20" y="61"/>
                  </a:cubicBezTo>
                  <a:cubicBezTo>
                    <a:pt x="15" y="63"/>
                    <a:pt x="2" y="63"/>
                    <a:pt x="1" y="60"/>
                  </a:cubicBezTo>
                  <a:cubicBezTo>
                    <a:pt x="0" y="57"/>
                    <a:pt x="13" y="46"/>
                    <a:pt x="13" y="46"/>
                  </a:cubicBezTo>
                  <a:cubicBezTo>
                    <a:pt x="32" y="20"/>
                    <a:pt x="33" y="8"/>
                    <a:pt x="33" y="8"/>
                  </a:cubicBezTo>
                  <a:cubicBezTo>
                    <a:pt x="33" y="8"/>
                    <a:pt x="54" y="0"/>
                    <a:pt x="54" y="1"/>
                  </a:cubicBezTo>
                  <a:close/>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38">
              <a:extLst>
                <a:ext uri="{FF2B5EF4-FFF2-40B4-BE49-F238E27FC236}">
                  <a16:creationId xmlns:a16="http://schemas.microsoft.com/office/drawing/2014/main" id="{0D610633-653D-4E6D-B2A4-06E6A2C5F013}"/>
                </a:ext>
              </a:extLst>
            </p:cNvPr>
            <p:cNvSpPr>
              <a:spLocks/>
            </p:cNvSpPr>
            <p:nvPr/>
          </p:nvSpPr>
          <p:spPr bwMode="auto">
            <a:xfrm>
              <a:off x="2974976" y="5767388"/>
              <a:ext cx="339725" cy="284163"/>
            </a:xfrm>
            <a:custGeom>
              <a:avLst/>
              <a:gdLst>
                <a:gd name="T0" fmla="*/ 17 w 67"/>
                <a:gd name="T1" fmla="*/ 36 h 56"/>
                <a:gd name="T2" fmla="*/ 14 w 67"/>
                <a:gd name="T3" fmla="*/ 41 h 56"/>
                <a:gd name="T4" fmla="*/ 22 w 67"/>
                <a:gd name="T5" fmla="*/ 41 h 56"/>
                <a:gd name="T6" fmla="*/ 57 w 67"/>
                <a:gd name="T7" fmla="*/ 11 h 56"/>
                <a:gd name="T8" fmla="*/ 61 w 67"/>
                <a:gd name="T9" fmla="*/ 0 h 56"/>
                <a:gd name="T10" fmla="*/ 66 w 67"/>
                <a:gd name="T11" fmla="*/ 14 h 56"/>
                <a:gd name="T12" fmla="*/ 64 w 67"/>
                <a:gd name="T13" fmla="*/ 19 h 56"/>
                <a:gd name="T14" fmla="*/ 48 w 67"/>
                <a:gd name="T15" fmla="*/ 31 h 56"/>
                <a:gd name="T16" fmla="*/ 27 w 67"/>
                <a:gd name="T17" fmla="*/ 53 h 56"/>
                <a:gd name="T18" fmla="*/ 1 w 67"/>
                <a:gd name="T19" fmla="*/ 53 h 56"/>
                <a:gd name="T20" fmla="*/ 17 w 67"/>
                <a:gd name="T21" fmla="*/ 3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56">
                  <a:moveTo>
                    <a:pt x="17" y="36"/>
                  </a:moveTo>
                  <a:cubicBezTo>
                    <a:pt x="17" y="36"/>
                    <a:pt x="13" y="40"/>
                    <a:pt x="14" y="41"/>
                  </a:cubicBezTo>
                  <a:cubicBezTo>
                    <a:pt x="15" y="42"/>
                    <a:pt x="21" y="41"/>
                    <a:pt x="22" y="41"/>
                  </a:cubicBezTo>
                  <a:cubicBezTo>
                    <a:pt x="36" y="33"/>
                    <a:pt x="53" y="16"/>
                    <a:pt x="57" y="11"/>
                  </a:cubicBezTo>
                  <a:cubicBezTo>
                    <a:pt x="60" y="6"/>
                    <a:pt x="61" y="0"/>
                    <a:pt x="61" y="0"/>
                  </a:cubicBezTo>
                  <a:cubicBezTo>
                    <a:pt x="62" y="0"/>
                    <a:pt x="67" y="8"/>
                    <a:pt x="66" y="14"/>
                  </a:cubicBezTo>
                  <a:cubicBezTo>
                    <a:pt x="66" y="15"/>
                    <a:pt x="65" y="19"/>
                    <a:pt x="64" y="19"/>
                  </a:cubicBezTo>
                  <a:cubicBezTo>
                    <a:pt x="61" y="23"/>
                    <a:pt x="51" y="29"/>
                    <a:pt x="48" y="31"/>
                  </a:cubicBezTo>
                  <a:cubicBezTo>
                    <a:pt x="42" y="35"/>
                    <a:pt x="33" y="51"/>
                    <a:pt x="27" y="53"/>
                  </a:cubicBezTo>
                  <a:cubicBezTo>
                    <a:pt x="22" y="55"/>
                    <a:pt x="2" y="56"/>
                    <a:pt x="1" y="53"/>
                  </a:cubicBezTo>
                  <a:cubicBezTo>
                    <a:pt x="0" y="51"/>
                    <a:pt x="11" y="41"/>
                    <a:pt x="17" y="36"/>
                  </a:cubicBezTo>
                  <a:close/>
                </a:path>
              </a:pathLst>
            </a:custGeom>
            <a:solidFill>
              <a:srgbClr val="032D37"/>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39">
              <a:extLst>
                <a:ext uri="{FF2B5EF4-FFF2-40B4-BE49-F238E27FC236}">
                  <a16:creationId xmlns:a16="http://schemas.microsoft.com/office/drawing/2014/main" id="{D7B9A7FA-26F6-48C2-BE37-FFD1BB815375}"/>
                </a:ext>
              </a:extLst>
            </p:cNvPr>
            <p:cNvSpPr>
              <a:spLocks/>
            </p:cNvSpPr>
            <p:nvPr/>
          </p:nvSpPr>
          <p:spPr bwMode="auto">
            <a:xfrm>
              <a:off x="3198813" y="5832475"/>
              <a:ext cx="115888" cy="168275"/>
            </a:xfrm>
            <a:custGeom>
              <a:avLst/>
              <a:gdLst>
                <a:gd name="T0" fmla="*/ 23 w 23"/>
                <a:gd name="T1" fmla="*/ 0 h 33"/>
                <a:gd name="T2" fmla="*/ 18 w 23"/>
                <a:gd name="T3" fmla="*/ 15 h 33"/>
                <a:gd name="T4" fmla="*/ 16 w 23"/>
                <a:gd name="T5" fmla="*/ 33 h 33"/>
                <a:gd name="T6" fmla="*/ 14 w 23"/>
                <a:gd name="T7" fmla="*/ 33 h 33"/>
                <a:gd name="T8" fmla="*/ 4 w 23"/>
                <a:gd name="T9" fmla="*/ 18 h 33"/>
                <a:gd name="T10" fmla="*/ 23 w 23"/>
                <a:gd name="T11" fmla="*/ 0 h 33"/>
              </a:gdLst>
              <a:ahLst/>
              <a:cxnLst>
                <a:cxn ang="0">
                  <a:pos x="T0" y="T1"/>
                </a:cxn>
                <a:cxn ang="0">
                  <a:pos x="T2" y="T3"/>
                </a:cxn>
                <a:cxn ang="0">
                  <a:pos x="T4" y="T5"/>
                </a:cxn>
                <a:cxn ang="0">
                  <a:pos x="T6" y="T7"/>
                </a:cxn>
                <a:cxn ang="0">
                  <a:pos x="T8" y="T9"/>
                </a:cxn>
                <a:cxn ang="0">
                  <a:pos x="T10" y="T11"/>
                </a:cxn>
              </a:cxnLst>
              <a:rect l="0" t="0" r="r" b="b"/>
              <a:pathLst>
                <a:path w="23" h="33">
                  <a:moveTo>
                    <a:pt x="23" y="0"/>
                  </a:moveTo>
                  <a:cubicBezTo>
                    <a:pt x="23" y="0"/>
                    <a:pt x="19" y="11"/>
                    <a:pt x="18" y="15"/>
                  </a:cubicBezTo>
                  <a:cubicBezTo>
                    <a:pt x="17" y="21"/>
                    <a:pt x="16" y="33"/>
                    <a:pt x="16" y="33"/>
                  </a:cubicBezTo>
                  <a:cubicBezTo>
                    <a:pt x="14" y="33"/>
                    <a:pt x="14" y="33"/>
                    <a:pt x="14" y="33"/>
                  </a:cubicBezTo>
                  <a:cubicBezTo>
                    <a:pt x="14" y="33"/>
                    <a:pt x="16" y="10"/>
                    <a:pt x="4" y="18"/>
                  </a:cubicBezTo>
                  <a:cubicBezTo>
                    <a:pt x="0" y="20"/>
                    <a:pt x="23" y="0"/>
                    <a:pt x="23" y="0"/>
                  </a:cubicBezTo>
                  <a:close/>
                </a:path>
              </a:pathLst>
            </a:custGeom>
            <a:solidFill>
              <a:srgbClr val="032D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40">
              <a:extLst>
                <a:ext uri="{FF2B5EF4-FFF2-40B4-BE49-F238E27FC236}">
                  <a16:creationId xmlns:a16="http://schemas.microsoft.com/office/drawing/2014/main" id="{104B1CAA-4FEB-4725-A7DB-E2DE34A3D2DC}"/>
                </a:ext>
              </a:extLst>
            </p:cNvPr>
            <p:cNvSpPr>
              <a:spLocks/>
            </p:cNvSpPr>
            <p:nvPr/>
          </p:nvSpPr>
          <p:spPr bwMode="auto">
            <a:xfrm>
              <a:off x="3090863" y="4800600"/>
              <a:ext cx="269875" cy="992188"/>
            </a:xfrm>
            <a:custGeom>
              <a:avLst/>
              <a:gdLst>
                <a:gd name="T0" fmla="*/ 34 w 53"/>
                <a:gd name="T1" fmla="*/ 18 h 195"/>
                <a:gd name="T2" fmla="*/ 53 w 53"/>
                <a:gd name="T3" fmla="*/ 88 h 195"/>
                <a:gd name="T4" fmla="*/ 34 w 53"/>
                <a:gd name="T5" fmla="*/ 189 h 195"/>
                <a:gd name="T6" fmla="*/ 14 w 53"/>
                <a:gd name="T7" fmla="*/ 188 h 195"/>
                <a:gd name="T8" fmla="*/ 6 w 53"/>
                <a:gd name="T9" fmla="*/ 67 h 195"/>
                <a:gd name="T10" fmla="*/ 0 w 53"/>
                <a:gd name="T11" fmla="*/ 19 h 195"/>
                <a:gd name="T12" fmla="*/ 34 w 53"/>
                <a:gd name="T13" fmla="*/ 18 h 195"/>
              </a:gdLst>
              <a:ahLst/>
              <a:cxnLst>
                <a:cxn ang="0">
                  <a:pos x="T0" y="T1"/>
                </a:cxn>
                <a:cxn ang="0">
                  <a:pos x="T2" y="T3"/>
                </a:cxn>
                <a:cxn ang="0">
                  <a:pos x="T4" y="T5"/>
                </a:cxn>
                <a:cxn ang="0">
                  <a:pos x="T6" y="T7"/>
                </a:cxn>
                <a:cxn ang="0">
                  <a:pos x="T8" y="T9"/>
                </a:cxn>
                <a:cxn ang="0">
                  <a:pos x="T10" y="T11"/>
                </a:cxn>
                <a:cxn ang="0">
                  <a:pos x="T12" y="T13"/>
                </a:cxn>
              </a:cxnLst>
              <a:rect l="0" t="0" r="r" b="b"/>
              <a:pathLst>
                <a:path w="53" h="195">
                  <a:moveTo>
                    <a:pt x="34" y="18"/>
                  </a:moveTo>
                  <a:cubicBezTo>
                    <a:pt x="50" y="33"/>
                    <a:pt x="53" y="73"/>
                    <a:pt x="53" y="88"/>
                  </a:cubicBezTo>
                  <a:cubicBezTo>
                    <a:pt x="52" y="104"/>
                    <a:pt x="34" y="184"/>
                    <a:pt x="34" y="189"/>
                  </a:cubicBezTo>
                  <a:cubicBezTo>
                    <a:pt x="35" y="195"/>
                    <a:pt x="14" y="191"/>
                    <a:pt x="14" y="188"/>
                  </a:cubicBezTo>
                  <a:cubicBezTo>
                    <a:pt x="16" y="157"/>
                    <a:pt x="7" y="75"/>
                    <a:pt x="6" y="67"/>
                  </a:cubicBezTo>
                  <a:cubicBezTo>
                    <a:pt x="5" y="59"/>
                    <a:pt x="0" y="22"/>
                    <a:pt x="0" y="19"/>
                  </a:cubicBezTo>
                  <a:cubicBezTo>
                    <a:pt x="0" y="0"/>
                    <a:pt x="25" y="9"/>
                    <a:pt x="34" y="18"/>
                  </a:cubicBezTo>
                  <a:close/>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41">
              <a:extLst>
                <a:ext uri="{FF2B5EF4-FFF2-40B4-BE49-F238E27FC236}">
                  <a16:creationId xmlns:a16="http://schemas.microsoft.com/office/drawing/2014/main" id="{5B5EC444-F53F-48BF-AE50-54CBF9B838E8}"/>
                </a:ext>
              </a:extLst>
            </p:cNvPr>
            <p:cNvSpPr>
              <a:spLocks/>
            </p:cNvSpPr>
            <p:nvPr/>
          </p:nvSpPr>
          <p:spPr bwMode="auto">
            <a:xfrm>
              <a:off x="3651251" y="5878513"/>
              <a:ext cx="147638" cy="219075"/>
            </a:xfrm>
            <a:custGeom>
              <a:avLst/>
              <a:gdLst>
                <a:gd name="T0" fmla="*/ 20 w 29"/>
                <a:gd name="T1" fmla="*/ 0 h 43"/>
                <a:gd name="T2" fmla="*/ 28 w 29"/>
                <a:gd name="T3" fmla="*/ 25 h 43"/>
                <a:gd name="T4" fmla="*/ 22 w 29"/>
                <a:gd name="T5" fmla="*/ 43 h 43"/>
                <a:gd name="T6" fmla="*/ 7 w 29"/>
                <a:gd name="T7" fmla="*/ 33 h 43"/>
                <a:gd name="T8" fmla="*/ 0 w 29"/>
                <a:gd name="T9" fmla="*/ 7 h 43"/>
                <a:gd name="T10" fmla="*/ 20 w 29"/>
                <a:gd name="T11" fmla="*/ 0 h 43"/>
              </a:gdLst>
              <a:ahLst/>
              <a:cxnLst>
                <a:cxn ang="0">
                  <a:pos x="T0" y="T1"/>
                </a:cxn>
                <a:cxn ang="0">
                  <a:pos x="T2" y="T3"/>
                </a:cxn>
                <a:cxn ang="0">
                  <a:pos x="T4" y="T5"/>
                </a:cxn>
                <a:cxn ang="0">
                  <a:pos x="T6" y="T7"/>
                </a:cxn>
                <a:cxn ang="0">
                  <a:pos x="T8" y="T9"/>
                </a:cxn>
                <a:cxn ang="0">
                  <a:pos x="T10" y="T11"/>
                </a:cxn>
              </a:cxnLst>
              <a:rect l="0" t="0" r="r" b="b"/>
              <a:pathLst>
                <a:path w="29" h="43">
                  <a:moveTo>
                    <a:pt x="20" y="0"/>
                  </a:moveTo>
                  <a:cubicBezTo>
                    <a:pt x="20" y="0"/>
                    <a:pt x="29" y="20"/>
                    <a:pt x="28" y="25"/>
                  </a:cubicBezTo>
                  <a:cubicBezTo>
                    <a:pt x="28" y="30"/>
                    <a:pt x="26" y="42"/>
                    <a:pt x="22" y="43"/>
                  </a:cubicBezTo>
                  <a:cubicBezTo>
                    <a:pt x="18" y="43"/>
                    <a:pt x="8" y="34"/>
                    <a:pt x="7" y="33"/>
                  </a:cubicBezTo>
                  <a:cubicBezTo>
                    <a:pt x="0" y="24"/>
                    <a:pt x="0" y="7"/>
                    <a:pt x="0" y="7"/>
                  </a:cubicBezTo>
                  <a:cubicBezTo>
                    <a:pt x="20" y="0"/>
                    <a:pt x="20" y="0"/>
                    <a:pt x="20" y="0"/>
                  </a:cubicBezTo>
                  <a:close/>
                </a:path>
              </a:pathLst>
            </a:custGeom>
            <a:solidFill>
              <a:srgbClr val="032D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42">
              <a:extLst>
                <a:ext uri="{FF2B5EF4-FFF2-40B4-BE49-F238E27FC236}">
                  <a16:creationId xmlns:a16="http://schemas.microsoft.com/office/drawing/2014/main" id="{EA28AA79-6073-40F7-A28A-260CEDF5F864}"/>
                </a:ext>
              </a:extLst>
            </p:cNvPr>
            <p:cNvSpPr>
              <a:spLocks/>
            </p:cNvSpPr>
            <p:nvPr/>
          </p:nvSpPr>
          <p:spPr bwMode="auto">
            <a:xfrm>
              <a:off x="3646488" y="5822950"/>
              <a:ext cx="127000" cy="207963"/>
            </a:xfrm>
            <a:custGeom>
              <a:avLst/>
              <a:gdLst>
                <a:gd name="T0" fmla="*/ 17 w 25"/>
                <a:gd name="T1" fmla="*/ 0 h 41"/>
                <a:gd name="T2" fmla="*/ 25 w 25"/>
                <a:gd name="T3" fmla="*/ 27 h 41"/>
                <a:gd name="T4" fmla="*/ 20 w 25"/>
                <a:gd name="T5" fmla="*/ 40 h 41"/>
                <a:gd name="T6" fmla="*/ 1 w 25"/>
                <a:gd name="T7" fmla="*/ 16 h 41"/>
                <a:gd name="T8" fmla="*/ 1 w 25"/>
                <a:gd name="T9" fmla="*/ 2 h 41"/>
                <a:gd name="T10" fmla="*/ 17 w 25"/>
                <a:gd name="T11" fmla="*/ 0 h 41"/>
              </a:gdLst>
              <a:ahLst/>
              <a:cxnLst>
                <a:cxn ang="0">
                  <a:pos x="T0" y="T1"/>
                </a:cxn>
                <a:cxn ang="0">
                  <a:pos x="T2" y="T3"/>
                </a:cxn>
                <a:cxn ang="0">
                  <a:pos x="T4" y="T5"/>
                </a:cxn>
                <a:cxn ang="0">
                  <a:pos x="T6" y="T7"/>
                </a:cxn>
                <a:cxn ang="0">
                  <a:pos x="T8" y="T9"/>
                </a:cxn>
                <a:cxn ang="0">
                  <a:pos x="T10" y="T11"/>
                </a:cxn>
              </a:cxnLst>
              <a:rect l="0" t="0" r="r" b="b"/>
              <a:pathLst>
                <a:path w="25" h="41">
                  <a:moveTo>
                    <a:pt x="17" y="0"/>
                  </a:moveTo>
                  <a:cubicBezTo>
                    <a:pt x="17" y="0"/>
                    <a:pt x="24" y="15"/>
                    <a:pt x="25" y="27"/>
                  </a:cubicBezTo>
                  <a:cubicBezTo>
                    <a:pt x="25" y="29"/>
                    <a:pt x="23" y="40"/>
                    <a:pt x="20" y="40"/>
                  </a:cubicBezTo>
                  <a:cubicBezTo>
                    <a:pt x="9" y="41"/>
                    <a:pt x="0" y="22"/>
                    <a:pt x="1" y="16"/>
                  </a:cubicBezTo>
                  <a:cubicBezTo>
                    <a:pt x="1" y="9"/>
                    <a:pt x="1" y="2"/>
                    <a:pt x="1" y="2"/>
                  </a:cubicBezTo>
                  <a:cubicBezTo>
                    <a:pt x="17" y="0"/>
                    <a:pt x="17" y="0"/>
                    <a:pt x="17" y="0"/>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43">
              <a:extLst>
                <a:ext uri="{FF2B5EF4-FFF2-40B4-BE49-F238E27FC236}">
                  <a16:creationId xmlns:a16="http://schemas.microsoft.com/office/drawing/2014/main" id="{0ED1A0D4-588A-494F-8E1F-54A47E603606}"/>
                </a:ext>
              </a:extLst>
            </p:cNvPr>
            <p:cNvSpPr>
              <a:spLocks/>
            </p:cNvSpPr>
            <p:nvPr/>
          </p:nvSpPr>
          <p:spPr bwMode="auto">
            <a:xfrm>
              <a:off x="3443288" y="4860925"/>
              <a:ext cx="309563" cy="1058863"/>
            </a:xfrm>
            <a:custGeom>
              <a:avLst/>
              <a:gdLst>
                <a:gd name="T0" fmla="*/ 18 w 61"/>
                <a:gd name="T1" fmla="*/ 4 h 208"/>
                <a:gd name="T2" fmla="*/ 7 w 61"/>
                <a:gd name="T3" fmla="*/ 57 h 208"/>
                <a:gd name="T4" fmla="*/ 41 w 61"/>
                <a:gd name="T5" fmla="*/ 191 h 208"/>
                <a:gd name="T6" fmla="*/ 44 w 61"/>
                <a:gd name="T7" fmla="*/ 208 h 208"/>
                <a:gd name="T8" fmla="*/ 61 w 61"/>
                <a:gd name="T9" fmla="*/ 199 h 208"/>
                <a:gd name="T10" fmla="*/ 56 w 61"/>
                <a:gd name="T11" fmla="*/ 185 h 208"/>
                <a:gd name="T12" fmla="*/ 54 w 61"/>
                <a:gd name="T13" fmla="*/ 60 h 208"/>
                <a:gd name="T14" fmla="*/ 18 w 61"/>
                <a:gd name="T15" fmla="*/ 4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208">
                  <a:moveTo>
                    <a:pt x="18" y="4"/>
                  </a:moveTo>
                  <a:cubicBezTo>
                    <a:pt x="4" y="7"/>
                    <a:pt x="0" y="16"/>
                    <a:pt x="7" y="57"/>
                  </a:cubicBezTo>
                  <a:cubicBezTo>
                    <a:pt x="12" y="88"/>
                    <a:pt x="32" y="159"/>
                    <a:pt x="41" y="191"/>
                  </a:cubicBezTo>
                  <a:cubicBezTo>
                    <a:pt x="44" y="202"/>
                    <a:pt x="43" y="208"/>
                    <a:pt x="44" y="208"/>
                  </a:cubicBezTo>
                  <a:cubicBezTo>
                    <a:pt x="48" y="208"/>
                    <a:pt x="60" y="208"/>
                    <a:pt x="61" y="199"/>
                  </a:cubicBezTo>
                  <a:cubicBezTo>
                    <a:pt x="61" y="197"/>
                    <a:pt x="57" y="190"/>
                    <a:pt x="56" y="185"/>
                  </a:cubicBezTo>
                  <a:cubicBezTo>
                    <a:pt x="56" y="153"/>
                    <a:pt x="56" y="71"/>
                    <a:pt x="54" y="60"/>
                  </a:cubicBezTo>
                  <a:cubicBezTo>
                    <a:pt x="52" y="47"/>
                    <a:pt x="40" y="0"/>
                    <a:pt x="18" y="4"/>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44">
              <a:extLst>
                <a:ext uri="{FF2B5EF4-FFF2-40B4-BE49-F238E27FC236}">
                  <a16:creationId xmlns:a16="http://schemas.microsoft.com/office/drawing/2014/main" id="{FB163470-7E07-40AD-8171-EF25B25D04CD}"/>
                </a:ext>
              </a:extLst>
            </p:cNvPr>
            <p:cNvSpPr>
              <a:spLocks/>
            </p:cNvSpPr>
            <p:nvPr/>
          </p:nvSpPr>
          <p:spPr bwMode="auto">
            <a:xfrm>
              <a:off x="2725738" y="3092450"/>
              <a:ext cx="427038" cy="685800"/>
            </a:xfrm>
            <a:custGeom>
              <a:avLst/>
              <a:gdLst>
                <a:gd name="T0" fmla="*/ 66 w 84"/>
                <a:gd name="T1" fmla="*/ 3 h 135"/>
                <a:gd name="T2" fmla="*/ 32 w 84"/>
                <a:gd name="T3" fmla="*/ 54 h 135"/>
                <a:gd name="T4" fmla="*/ 18 w 84"/>
                <a:gd name="T5" fmla="*/ 123 h 135"/>
                <a:gd name="T6" fmla="*/ 59 w 84"/>
                <a:gd name="T7" fmla="*/ 70 h 135"/>
                <a:gd name="T8" fmla="*/ 66 w 84"/>
                <a:gd name="T9" fmla="*/ 3 h 135"/>
              </a:gdLst>
              <a:ahLst/>
              <a:cxnLst>
                <a:cxn ang="0">
                  <a:pos x="T0" y="T1"/>
                </a:cxn>
                <a:cxn ang="0">
                  <a:pos x="T2" y="T3"/>
                </a:cxn>
                <a:cxn ang="0">
                  <a:pos x="T4" y="T5"/>
                </a:cxn>
                <a:cxn ang="0">
                  <a:pos x="T6" y="T7"/>
                </a:cxn>
                <a:cxn ang="0">
                  <a:pos x="T8" y="T9"/>
                </a:cxn>
              </a:cxnLst>
              <a:rect l="0" t="0" r="r" b="b"/>
              <a:pathLst>
                <a:path w="84" h="135">
                  <a:moveTo>
                    <a:pt x="66" y="3"/>
                  </a:moveTo>
                  <a:cubicBezTo>
                    <a:pt x="57" y="0"/>
                    <a:pt x="41" y="25"/>
                    <a:pt x="32" y="54"/>
                  </a:cubicBezTo>
                  <a:cubicBezTo>
                    <a:pt x="16" y="106"/>
                    <a:pt x="0" y="114"/>
                    <a:pt x="18" y="123"/>
                  </a:cubicBezTo>
                  <a:cubicBezTo>
                    <a:pt x="39" y="135"/>
                    <a:pt x="40" y="112"/>
                    <a:pt x="59" y="70"/>
                  </a:cubicBezTo>
                  <a:cubicBezTo>
                    <a:pt x="75" y="38"/>
                    <a:pt x="84" y="9"/>
                    <a:pt x="66" y="3"/>
                  </a:cubicBezTo>
                  <a:close/>
                </a:path>
              </a:pathLst>
            </a:custGeom>
            <a:solidFill>
              <a:srgbClr val="D0D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45">
              <a:extLst>
                <a:ext uri="{FF2B5EF4-FFF2-40B4-BE49-F238E27FC236}">
                  <a16:creationId xmlns:a16="http://schemas.microsoft.com/office/drawing/2014/main" id="{AA3D4001-8CE2-4BF0-BD99-1C1792BFD14B}"/>
                </a:ext>
              </a:extLst>
            </p:cNvPr>
            <p:cNvSpPr>
              <a:spLocks/>
            </p:cNvSpPr>
            <p:nvPr/>
          </p:nvSpPr>
          <p:spPr bwMode="auto">
            <a:xfrm>
              <a:off x="2979738" y="4043363"/>
              <a:ext cx="334963" cy="1046163"/>
            </a:xfrm>
            <a:custGeom>
              <a:avLst/>
              <a:gdLst>
                <a:gd name="T0" fmla="*/ 7 w 66"/>
                <a:gd name="T1" fmla="*/ 17 h 206"/>
                <a:gd name="T2" fmla="*/ 4 w 66"/>
                <a:gd name="T3" fmla="*/ 78 h 206"/>
                <a:gd name="T4" fmla="*/ 22 w 66"/>
                <a:gd name="T5" fmla="*/ 182 h 206"/>
                <a:gd name="T6" fmla="*/ 57 w 66"/>
                <a:gd name="T7" fmla="*/ 186 h 206"/>
                <a:gd name="T8" fmla="*/ 65 w 66"/>
                <a:gd name="T9" fmla="*/ 59 h 206"/>
                <a:gd name="T10" fmla="*/ 48 w 66"/>
                <a:gd name="T11" fmla="*/ 12 h 206"/>
                <a:gd name="T12" fmla="*/ 7 w 66"/>
                <a:gd name="T13" fmla="*/ 17 h 206"/>
              </a:gdLst>
              <a:ahLst/>
              <a:cxnLst>
                <a:cxn ang="0">
                  <a:pos x="T0" y="T1"/>
                </a:cxn>
                <a:cxn ang="0">
                  <a:pos x="T2" y="T3"/>
                </a:cxn>
                <a:cxn ang="0">
                  <a:pos x="T4" y="T5"/>
                </a:cxn>
                <a:cxn ang="0">
                  <a:pos x="T6" y="T7"/>
                </a:cxn>
                <a:cxn ang="0">
                  <a:pos x="T8" y="T9"/>
                </a:cxn>
                <a:cxn ang="0">
                  <a:pos x="T10" y="T11"/>
                </a:cxn>
                <a:cxn ang="0">
                  <a:pos x="T12" y="T13"/>
                </a:cxn>
              </a:cxnLst>
              <a:rect l="0" t="0" r="r" b="b"/>
              <a:pathLst>
                <a:path w="66" h="206">
                  <a:moveTo>
                    <a:pt x="7" y="17"/>
                  </a:moveTo>
                  <a:cubicBezTo>
                    <a:pt x="0" y="29"/>
                    <a:pt x="1" y="50"/>
                    <a:pt x="4" y="78"/>
                  </a:cubicBezTo>
                  <a:cubicBezTo>
                    <a:pt x="8" y="116"/>
                    <a:pt x="21" y="176"/>
                    <a:pt x="22" y="182"/>
                  </a:cubicBezTo>
                  <a:cubicBezTo>
                    <a:pt x="29" y="206"/>
                    <a:pt x="53" y="205"/>
                    <a:pt x="57" y="186"/>
                  </a:cubicBezTo>
                  <a:cubicBezTo>
                    <a:pt x="58" y="180"/>
                    <a:pt x="66" y="72"/>
                    <a:pt x="65" y="59"/>
                  </a:cubicBezTo>
                  <a:cubicBezTo>
                    <a:pt x="64" y="47"/>
                    <a:pt x="57" y="25"/>
                    <a:pt x="48" y="12"/>
                  </a:cubicBezTo>
                  <a:cubicBezTo>
                    <a:pt x="42" y="2"/>
                    <a:pt x="17" y="0"/>
                    <a:pt x="7" y="17"/>
                  </a:cubicBezTo>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46">
              <a:extLst>
                <a:ext uri="{FF2B5EF4-FFF2-40B4-BE49-F238E27FC236}">
                  <a16:creationId xmlns:a16="http://schemas.microsoft.com/office/drawing/2014/main" id="{27813EBE-BB62-4CA0-A675-8305212A7D9E}"/>
                </a:ext>
              </a:extLst>
            </p:cNvPr>
            <p:cNvSpPr>
              <a:spLocks/>
            </p:cNvSpPr>
            <p:nvPr/>
          </p:nvSpPr>
          <p:spPr bwMode="auto">
            <a:xfrm>
              <a:off x="3300413" y="4057650"/>
              <a:ext cx="371475" cy="1042988"/>
            </a:xfrm>
            <a:custGeom>
              <a:avLst/>
              <a:gdLst>
                <a:gd name="T0" fmla="*/ 54 w 73"/>
                <a:gd name="T1" fmla="*/ 15 h 205"/>
                <a:gd name="T2" fmla="*/ 69 w 73"/>
                <a:gd name="T3" fmla="*/ 74 h 205"/>
                <a:gd name="T4" fmla="*/ 71 w 73"/>
                <a:gd name="T5" fmla="*/ 175 h 205"/>
                <a:gd name="T6" fmla="*/ 33 w 73"/>
                <a:gd name="T7" fmla="*/ 186 h 205"/>
                <a:gd name="T8" fmla="*/ 4 w 73"/>
                <a:gd name="T9" fmla="*/ 64 h 205"/>
                <a:gd name="T10" fmla="*/ 6 w 73"/>
                <a:gd name="T11" fmla="*/ 15 h 205"/>
                <a:gd name="T12" fmla="*/ 54 w 73"/>
                <a:gd name="T13" fmla="*/ 15 h 205"/>
              </a:gdLst>
              <a:ahLst/>
              <a:cxnLst>
                <a:cxn ang="0">
                  <a:pos x="T0" y="T1"/>
                </a:cxn>
                <a:cxn ang="0">
                  <a:pos x="T2" y="T3"/>
                </a:cxn>
                <a:cxn ang="0">
                  <a:pos x="T4" y="T5"/>
                </a:cxn>
                <a:cxn ang="0">
                  <a:pos x="T6" y="T7"/>
                </a:cxn>
                <a:cxn ang="0">
                  <a:pos x="T8" y="T9"/>
                </a:cxn>
                <a:cxn ang="0">
                  <a:pos x="T10" y="T11"/>
                </a:cxn>
                <a:cxn ang="0">
                  <a:pos x="T12" y="T13"/>
                </a:cxn>
              </a:cxnLst>
              <a:rect l="0" t="0" r="r" b="b"/>
              <a:pathLst>
                <a:path w="73" h="205">
                  <a:moveTo>
                    <a:pt x="54" y="15"/>
                  </a:moveTo>
                  <a:cubicBezTo>
                    <a:pt x="63" y="25"/>
                    <a:pt x="67" y="46"/>
                    <a:pt x="69" y="74"/>
                  </a:cubicBezTo>
                  <a:cubicBezTo>
                    <a:pt x="73" y="112"/>
                    <a:pt x="71" y="169"/>
                    <a:pt x="71" y="175"/>
                  </a:cubicBezTo>
                  <a:cubicBezTo>
                    <a:pt x="69" y="200"/>
                    <a:pt x="40" y="205"/>
                    <a:pt x="33" y="186"/>
                  </a:cubicBezTo>
                  <a:cubicBezTo>
                    <a:pt x="30" y="181"/>
                    <a:pt x="5" y="76"/>
                    <a:pt x="4" y="64"/>
                  </a:cubicBezTo>
                  <a:cubicBezTo>
                    <a:pt x="3" y="52"/>
                    <a:pt x="0" y="30"/>
                    <a:pt x="6" y="15"/>
                  </a:cubicBezTo>
                  <a:cubicBezTo>
                    <a:pt x="10" y="4"/>
                    <a:pt x="41" y="0"/>
                    <a:pt x="54" y="15"/>
                  </a:cubicBezTo>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47">
              <a:extLst>
                <a:ext uri="{FF2B5EF4-FFF2-40B4-BE49-F238E27FC236}">
                  <a16:creationId xmlns:a16="http://schemas.microsoft.com/office/drawing/2014/main" id="{FBE2DFE5-EAF2-450F-8E01-F067B23CB887}"/>
                </a:ext>
              </a:extLst>
            </p:cNvPr>
            <p:cNvSpPr>
              <a:spLocks/>
            </p:cNvSpPr>
            <p:nvPr/>
          </p:nvSpPr>
          <p:spPr bwMode="auto">
            <a:xfrm>
              <a:off x="2994026" y="4043363"/>
              <a:ext cx="306388" cy="300038"/>
            </a:xfrm>
            <a:custGeom>
              <a:avLst/>
              <a:gdLst>
                <a:gd name="T0" fmla="*/ 8 w 60"/>
                <a:gd name="T1" fmla="*/ 0 h 59"/>
                <a:gd name="T2" fmla="*/ 2 w 60"/>
                <a:gd name="T3" fmla="*/ 28 h 59"/>
                <a:gd name="T4" fmla="*/ 57 w 60"/>
                <a:gd name="T5" fmla="*/ 59 h 59"/>
                <a:gd name="T6" fmla="*/ 60 w 60"/>
                <a:gd name="T7" fmla="*/ 59 h 59"/>
                <a:gd name="T8" fmla="*/ 60 w 60"/>
                <a:gd name="T9" fmla="*/ 4 h 59"/>
                <a:gd name="T10" fmla="*/ 8 w 60"/>
                <a:gd name="T11" fmla="*/ 0 h 59"/>
              </a:gdLst>
              <a:ahLst/>
              <a:cxnLst>
                <a:cxn ang="0">
                  <a:pos x="T0" y="T1"/>
                </a:cxn>
                <a:cxn ang="0">
                  <a:pos x="T2" y="T3"/>
                </a:cxn>
                <a:cxn ang="0">
                  <a:pos x="T4" y="T5"/>
                </a:cxn>
                <a:cxn ang="0">
                  <a:pos x="T6" y="T7"/>
                </a:cxn>
                <a:cxn ang="0">
                  <a:pos x="T8" y="T9"/>
                </a:cxn>
                <a:cxn ang="0">
                  <a:pos x="T10" y="T11"/>
                </a:cxn>
              </a:cxnLst>
              <a:rect l="0" t="0" r="r" b="b"/>
              <a:pathLst>
                <a:path w="60" h="59">
                  <a:moveTo>
                    <a:pt x="8" y="0"/>
                  </a:moveTo>
                  <a:cubicBezTo>
                    <a:pt x="3" y="11"/>
                    <a:pt x="0" y="22"/>
                    <a:pt x="2" y="28"/>
                  </a:cubicBezTo>
                  <a:cubicBezTo>
                    <a:pt x="6" y="45"/>
                    <a:pt x="57" y="59"/>
                    <a:pt x="57" y="59"/>
                  </a:cubicBezTo>
                  <a:cubicBezTo>
                    <a:pt x="60" y="59"/>
                    <a:pt x="60" y="59"/>
                    <a:pt x="60" y="59"/>
                  </a:cubicBezTo>
                  <a:cubicBezTo>
                    <a:pt x="60" y="4"/>
                    <a:pt x="60" y="4"/>
                    <a:pt x="60" y="4"/>
                  </a:cubicBezTo>
                  <a:cubicBezTo>
                    <a:pt x="41" y="4"/>
                    <a:pt x="27" y="0"/>
                    <a:pt x="8" y="0"/>
                  </a:cubicBezTo>
                  <a:close/>
                </a:path>
              </a:pathLst>
            </a:custGeom>
            <a:solidFill>
              <a:srgbClr val="2755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48">
              <a:extLst>
                <a:ext uri="{FF2B5EF4-FFF2-40B4-BE49-F238E27FC236}">
                  <a16:creationId xmlns:a16="http://schemas.microsoft.com/office/drawing/2014/main" id="{7AAEBF5C-F14E-4CF9-82B3-BF51C96C69B1}"/>
                </a:ext>
              </a:extLst>
            </p:cNvPr>
            <p:cNvSpPr>
              <a:spLocks/>
            </p:cNvSpPr>
            <p:nvPr/>
          </p:nvSpPr>
          <p:spPr bwMode="auto">
            <a:xfrm>
              <a:off x="2933701" y="3086100"/>
              <a:ext cx="712788" cy="976313"/>
            </a:xfrm>
            <a:custGeom>
              <a:avLst/>
              <a:gdLst>
                <a:gd name="T0" fmla="*/ 135 w 140"/>
                <a:gd name="T1" fmla="*/ 17 h 192"/>
                <a:gd name="T2" fmla="*/ 105 w 140"/>
                <a:gd name="T3" fmla="*/ 4 h 192"/>
                <a:gd name="T4" fmla="*/ 72 w 140"/>
                <a:gd name="T5" fmla="*/ 0 h 192"/>
                <a:gd name="T6" fmla="*/ 24 w 140"/>
                <a:gd name="T7" fmla="*/ 4 h 192"/>
                <a:gd name="T8" fmla="*/ 17 w 140"/>
                <a:gd name="T9" fmla="*/ 20 h 192"/>
                <a:gd name="T10" fmla="*/ 19 w 140"/>
                <a:gd name="T11" fmla="*/ 82 h 192"/>
                <a:gd name="T12" fmla="*/ 27 w 140"/>
                <a:gd name="T13" fmla="*/ 150 h 192"/>
                <a:gd name="T14" fmla="*/ 20 w 140"/>
                <a:gd name="T15" fmla="*/ 188 h 192"/>
                <a:gd name="T16" fmla="*/ 72 w 140"/>
                <a:gd name="T17" fmla="*/ 192 h 192"/>
                <a:gd name="T18" fmla="*/ 131 w 140"/>
                <a:gd name="T19" fmla="*/ 192 h 192"/>
                <a:gd name="T20" fmla="*/ 117 w 140"/>
                <a:gd name="T21" fmla="*/ 150 h 192"/>
                <a:gd name="T22" fmla="*/ 135 w 140"/>
                <a:gd name="T23" fmla="*/ 1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92">
                  <a:moveTo>
                    <a:pt x="135" y="17"/>
                  </a:moveTo>
                  <a:cubicBezTo>
                    <a:pt x="132" y="9"/>
                    <a:pt x="114" y="6"/>
                    <a:pt x="105" y="4"/>
                  </a:cubicBezTo>
                  <a:cubicBezTo>
                    <a:pt x="97" y="1"/>
                    <a:pt x="72" y="0"/>
                    <a:pt x="72" y="0"/>
                  </a:cubicBezTo>
                  <a:cubicBezTo>
                    <a:pt x="72" y="0"/>
                    <a:pt x="33" y="4"/>
                    <a:pt x="24" y="4"/>
                  </a:cubicBezTo>
                  <a:cubicBezTo>
                    <a:pt x="21" y="4"/>
                    <a:pt x="18" y="17"/>
                    <a:pt x="17" y="20"/>
                  </a:cubicBezTo>
                  <a:cubicBezTo>
                    <a:pt x="9" y="41"/>
                    <a:pt x="0" y="65"/>
                    <a:pt x="19" y="82"/>
                  </a:cubicBezTo>
                  <a:cubicBezTo>
                    <a:pt x="24" y="86"/>
                    <a:pt x="27" y="130"/>
                    <a:pt x="27" y="150"/>
                  </a:cubicBezTo>
                  <a:cubicBezTo>
                    <a:pt x="27" y="158"/>
                    <a:pt x="26" y="172"/>
                    <a:pt x="20" y="188"/>
                  </a:cubicBezTo>
                  <a:cubicBezTo>
                    <a:pt x="39" y="188"/>
                    <a:pt x="53" y="192"/>
                    <a:pt x="72" y="192"/>
                  </a:cubicBezTo>
                  <a:cubicBezTo>
                    <a:pt x="92" y="192"/>
                    <a:pt x="111" y="192"/>
                    <a:pt x="131" y="192"/>
                  </a:cubicBezTo>
                  <a:cubicBezTo>
                    <a:pt x="125" y="176"/>
                    <a:pt x="118" y="158"/>
                    <a:pt x="117" y="150"/>
                  </a:cubicBezTo>
                  <a:cubicBezTo>
                    <a:pt x="105" y="88"/>
                    <a:pt x="140" y="29"/>
                    <a:pt x="135" y="17"/>
                  </a:cubicBezTo>
                  <a:close/>
                </a:path>
              </a:pathLst>
            </a:custGeom>
            <a:solidFill>
              <a:srgbClr val="D0D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49">
              <a:extLst>
                <a:ext uri="{FF2B5EF4-FFF2-40B4-BE49-F238E27FC236}">
                  <a16:creationId xmlns:a16="http://schemas.microsoft.com/office/drawing/2014/main" id="{E236433C-322F-4880-9EF1-239C87134463}"/>
                </a:ext>
              </a:extLst>
            </p:cNvPr>
            <p:cNvSpPr>
              <a:spLocks/>
            </p:cNvSpPr>
            <p:nvPr/>
          </p:nvSpPr>
          <p:spPr bwMode="auto">
            <a:xfrm>
              <a:off x="3300413" y="4062413"/>
              <a:ext cx="341313" cy="280988"/>
            </a:xfrm>
            <a:custGeom>
              <a:avLst/>
              <a:gdLst>
                <a:gd name="T0" fmla="*/ 0 w 67"/>
                <a:gd name="T1" fmla="*/ 0 h 55"/>
                <a:gd name="T2" fmla="*/ 0 w 67"/>
                <a:gd name="T3" fmla="*/ 55 h 55"/>
                <a:gd name="T4" fmla="*/ 4 w 67"/>
                <a:gd name="T5" fmla="*/ 55 h 55"/>
                <a:gd name="T6" fmla="*/ 65 w 67"/>
                <a:gd name="T7" fmla="*/ 28 h 55"/>
                <a:gd name="T8" fmla="*/ 59 w 67"/>
                <a:gd name="T9" fmla="*/ 0 h 55"/>
                <a:gd name="T10" fmla="*/ 0 w 67"/>
                <a:gd name="T11" fmla="*/ 0 h 55"/>
              </a:gdLst>
              <a:ahLst/>
              <a:cxnLst>
                <a:cxn ang="0">
                  <a:pos x="T0" y="T1"/>
                </a:cxn>
                <a:cxn ang="0">
                  <a:pos x="T2" y="T3"/>
                </a:cxn>
                <a:cxn ang="0">
                  <a:pos x="T4" y="T5"/>
                </a:cxn>
                <a:cxn ang="0">
                  <a:pos x="T6" y="T7"/>
                </a:cxn>
                <a:cxn ang="0">
                  <a:pos x="T8" y="T9"/>
                </a:cxn>
                <a:cxn ang="0">
                  <a:pos x="T10" y="T11"/>
                </a:cxn>
              </a:cxnLst>
              <a:rect l="0" t="0" r="r" b="b"/>
              <a:pathLst>
                <a:path w="67" h="55">
                  <a:moveTo>
                    <a:pt x="0" y="0"/>
                  </a:moveTo>
                  <a:cubicBezTo>
                    <a:pt x="0" y="55"/>
                    <a:pt x="0" y="55"/>
                    <a:pt x="0" y="55"/>
                  </a:cubicBezTo>
                  <a:cubicBezTo>
                    <a:pt x="4" y="55"/>
                    <a:pt x="4" y="55"/>
                    <a:pt x="4" y="55"/>
                  </a:cubicBezTo>
                  <a:cubicBezTo>
                    <a:pt x="4" y="55"/>
                    <a:pt x="61" y="45"/>
                    <a:pt x="65" y="28"/>
                  </a:cubicBezTo>
                  <a:cubicBezTo>
                    <a:pt x="67" y="22"/>
                    <a:pt x="63" y="11"/>
                    <a:pt x="59" y="0"/>
                  </a:cubicBezTo>
                  <a:cubicBezTo>
                    <a:pt x="39" y="0"/>
                    <a:pt x="20" y="0"/>
                    <a:pt x="0" y="0"/>
                  </a:cubicBezTo>
                  <a:close/>
                </a:path>
              </a:pathLst>
            </a:custGeom>
            <a:solidFill>
              <a:srgbClr val="2755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50">
              <a:extLst>
                <a:ext uri="{FF2B5EF4-FFF2-40B4-BE49-F238E27FC236}">
                  <a16:creationId xmlns:a16="http://schemas.microsoft.com/office/drawing/2014/main" id="{5FEC4734-2343-443E-A362-D8C3463BAE37}"/>
                </a:ext>
              </a:extLst>
            </p:cNvPr>
            <p:cNvSpPr>
              <a:spLocks/>
            </p:cNvSpPr>
            <p:nvPr/>
          </p:nvSpPr>
          <p:spPr bwMode="auto">
            <a:xfrm>
              <a:off x="3148013" y="2862263"/>
              <a:ext cx="284163" cy="290513"/>
            </a:xfrm>
            <a:custGeom>
              <a:avLst/>
              <a:gdLst>
                <a:gd name="T0" fmla="*/ 48 w 56"/>
                <a:gd name="T1" fmla="*/ 31 h 57"/>
                <a:gd name="T2" fmla="*/ 46 w 56"/>
                <a:gd name="T3" fmla="*/ 0 h 57"/>
                <a:gd name="T4" fmla="*/ 30 w 56"/>
                <a:gd name="T5" fmla="*/ 0 h 57"/>
                <a:gd name="T6" fmla="*/ 14 w 56"/>
                <a:gd name="T7" fmla="*/ 0 h 57"/>
                <a:gd name="T8" fmla="*/ 12 w 56"/>
                <a:gd name="T9" fmla="*/ 31 h 57"/>
                <a:gd name="T10" fmla="*/ 0 w 56"/>
                <a:gd name="T11" fmla="*/ 46 h 57"/>
                <a:gd name="T12" fmla="*/ 23 w 56"/>
                <a:gd name="T13" fmla="*/ 57 h 57"/>
                <a:gd name="T14" fmla="*/ 56 w 56"/>
                <a:gd name="T15" fmla="*/ 44 h 57"/>
                <a:gd name="T16" fmla="*/ 48 w 56"/>
                <a:gd name="T17"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7">
                  <a:moveTo>
                    <a:pt x="48" y="31"/>
                  </a:moveTo>
                  <a:cubicBezTo>
                    <a:pt x="46" y="25"/>
                    <a:pt x="46" y="0"/>
                    <a:pt x="46" y="0"/>
                  </a:cubicBezTo>
                  <a:cubicBezTo>
                    <a:pt x="30" y="0"/>
                    <a:pt x="30" y="0"/>
                    <a:pt x="30" y="0"/>
                  </a:cubicBezTo>
                  <a:cubicBezTo>
                    <a:pt x="14" y="0"/>
                    <a:pt x="14" y="0"/>
                    <a:pt x="14" y="0"/>
                  </a:cubicBezTo>
                  <a:cubicBezTo>
                    <a:pt x="14" y="0"/>
                    <a:pt x="15" y="25"/>
                    <a:pt x="12" y="31"/>
                  </a:cubicBezTo>
                  <a:cubicBezTo>
                    <a:pt x="10" y="38"/>
                    <a:pt x="0" y="46"/>
                    <a:pt x="0" y="46"/>
                  </a:cubicBezTo>
                  <a:cubicBezTo>
                    <a:pt x="23" y="57"/>
                    <a:pt x="23" y="57"/>
                    <a:pt x="23" y="57"/>
                  </a:cubicBezTo>
                  <a:cubicBezTo>
                    <a:pt x="56" y="44"/>
                    <a:pt x="56" y="44"/>
                    <a:pt x="56" y="44"/>
                  </a:cubicBezTo>
                  <a:cubicBezTo>
                    <a:pt x="56" y="44"/>
                    <a:pt x="51" y="38"/>
                    <a:pt x="48" y="31"/>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1">
              <a:extLst>
                <a:ext uri="{FF2B5EF4-FFF2-40B4-BE49-F238E27FC236}">
                  <a16:creationId xmlns:a16="http://schemas.microsoft.com/office/drawing/2014/main" id="{6B9D797D-D4D3-404F-9F67-E4384C4607FB}"/>
                </a:ext>
              </a:extLst>
            </p:cNvPr>
            <p:cNvSpPr>
              <a:spLocks/>
            </p:cNvSpPr>
            <p:nvPr/>
          </p:nvSpPr>
          <p:spPr bwMode="auto">
            <a:xfrm>
              <a:off x="3132138" y="2862263"/>
              <a:ext cx="249238" cy="244475"/>
            </a:xfrm>
            <a:custGeom>
              <a:avLst/>
              <a:gdLst>
                <a:gd name="T0" fmla="*/ 49 w 49"/>
                <a:gd name="T1" fmla="*/ 12 h 48"/>
                <a:gd name="T2" fmla="*/ 49 w 49"/>
                <a:gd name="T3" fmla="*/ 0 h 48"/>
                <a:gd name="T4" fmla="*/ 33 w 49"/>
                <a:gd name="T5" fmla="*/ 0 h 48"/>
                <a:gd name="T6" fmla="*/ 17 w 49"/>
                <a:gd name="T7" fmla="*/ 0 h 48"/>
                <a:gd name="T8" fmla="*/ 15 w 49"/>
                <a:gd name="T9" fmla="*/ 31 h 48"/>
                <a:gd name="T10" fmla="*/ 0 w 49"/>
                <a:gd name="T11" fmla="*/ 48 h 48"/>
                <a:gd name="T12" fmla="*/ 49 w 49"/>
                <a:gd name="T13" fmla="*/ 12 h 48"/>
                <a:gd name="T14" fmla="*/ 49 w 49"/>
                <a:gd name="T15" fmla="*/ 12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8">
                  <a:moveTo>
                    <a:pt x="49" y="12"/>
                  </a:moveTo>
                  <a:cubicBezTo>
                    <a:pt x="49" y="6"/>
                    <a:pt x="49" y="0"/>
                    <a:pt x="49" y="0"/>
                  </a:cubicBezTo>
                  <a:cubicBezTo>
                    <a:pt x="33" y="0"/>
                    <a:pt x="33" y="0"/>
                    <a:pt x="33" y="0"/>
                  </a:cubicBezTo>
                  <a:cubicBezTo>
                    <a:pt x="17" y="0"/>
                    <a:pt x="17" y="0"/>
                    <a:pt x="17" y="0"/>
                  </a:cubicBezTo>
                  <a:cubicBezTo>
                    <a:pt x="17" y="0"/>
                    <a:pt x="18" y="25"/>
                    <a:pt x="15" y="31"/>
                  </a:cubicBezTo>
                  <a:cubicBezTo>
                    <a:pt x="13" y="38"/>
                    <a:pt x="0" y="48"/>
                    <a:pt x="0" y="48"/>
                  </a:cubicBezTo>
                  <a:cubicBezTo>
                    <a:pt x="49" y="12"/>
                    <a:pt x="49" y="12"/>
                    <a:pt x="49" y="12"/>
                  </a:cubicBezTo>
                  <a:cubicBezTo>
                    <a:pt x="49" y="12"/>
                    <a:pt x="49" y="12"/>
                    <a:pt x="49" y="12"/>
                  </a:cubicBezTo>
                  <a:close/>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52">
              <a:extLst>
                <a:ext uri="{FF2B5EF4-FFF2-40B4-BE49-F238E27FC236}">
                  <a16:creationId xmlns:a16="http://schemas.microsoft.com/office/drawing/2014/main" id="{D2C0986C-8878-4DCE-A7F6-9387769495BB}"/>
                </a:ext>
              </a:extLst>
            </p:cNvPr>
            <p:cNvSpPr>
              <a:spLocks/>
            </p:cNvSpPr>
            <p:nvPr/>
          </p:nvSpPr>
          <p:spPr bwMode="auto">
            <a:xfrm>
              <a:off x="3101976" y="2536825"/>
              <a:ext cx="376238" cy="463550"/>
            </a:xfrm>
            <a:custGeom>
              <a:avLst/>
              <a:gdLst>
                <a:gd name="T0" fmla="*/ 67 w 74"/>
                <a:gd name="T1" fmla="*/ 54 h 91"/>
                <a:gd name="T2" fmla="*/ 22 w 74"/>
                <a:gd name="T3" fmla="*/ 87 h 91"/>
                <a:gd name="T4" fmla="*/ 5 w 74"/>
                <a:gd name="T5" fmla="*/ 35 h 91"/>
                <a:gd name="T6" fmla="*/ 46 w 74"/>
                <a:gd name="T7" fmla="*/ 5 h 91"/>
                <a:gd name="T8" fmla="*/ 67 w 74"/>
                <a:gd name="T9" fmla="*/ 54 h 91"/>
              </a:gdLst>
              <a:ahLst/>
              <a:cxnLst>
                <a:cxn ang="0">
                  <a:pos x="T0" y="T1"/>
                </a:cxn>
                <a:cxn ang="0">
                  <a:pos x="T2" y="T3"/>
                </a:cxn>
                <a:cxn ang="0">
                  <a:pos x="T4" y="T5"/>
                </a:cxn>
                <a:cxn ang="0">
                  <a:pos x="T6" y="T7"/>
                </a:cxn>
                <a:cxn ang="0">
                  <a:pos x="T8" y="T9"/>
                </a:cxn>
              </a:cxnLst>
              <a:rect l="0" t="0" r="r" b="b"/>
              <a:pathLst>
                <a:path w="74" h="91">
                  <a:moveTo>
                    <a:pt x="67" y="54"/>
                  </a:moveTo>
                  <a:cubicBezTo>
                    <a:pt x="60" y="78"/>
                    <a:pt x="34" y="91"/>
                    <a:pt x="22" y="87"/>
                  </a:cubicBezTo>
                  <a:cubicBezTo>
                    <a:pt x="10" y="84"/>
                    <a:pt x="0" y="59"/>
                    <a:pt x="5" y="35"/>
                  </a:cubicBezTo>
                  <a:cubicBezTo>
                    <a:pt x="10" y="11"/>
                    <a:pt x="29" y="0"/>
                    <a:pt x="46" y="5"/>
                  </a:cubicBezTo>
                  <a:cubicBezTo>
                    <a:pt x="64" y="11"/>
                    <a:pt x="74" y="31"/>
                    <a:pt x="67" y="54"/>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53">
              <a:extLst>
                <a:ext uri="{FF2B5EF4-FFF2-40B4-BE49-F238E27FC236}">
                  <a16:creationId xmlns:a16="http://schemas.microsoft.com/office/drawing/2014/main" id="{691BEBE8-592C-4187-A98C-CEB23E5C7DBF}"/>
                </a:ext>
              </a:extLst>
            </p:cNvPr>
            <p:cNvSpPr>
              <a:spLocks/>
            </p:cNvSpPr>
            <p:nvPr/>
          </p:nvSpPr>
          <p:spPr bwMode="auto">
            <a:xfrm>
              <a:off x="3219451" y="2492375"/>
              <a:ext cx="309563" cy="406400"/>
            </a:xfrm>
            <a:custGeom>
              <a:avLst/>
              <a:gdLst>
                <a:gd name="T0" fmla="*/ 3 w 61"/>
                <a:gd name="T1" fmla="*/ 28 h 80"/>
                <a:gd name="T2" fmla="*/ 25 w 61"/>
                <a:gd name="T3" fmla="*/ 44 h 80"/>
                <a:gd name="T4" fmla="*/ 40 w 61"/>
                <a:gd name="T5" fmla="*/ 67 h 80"/>
                <a:gd name="T6" fmla="*/ 35 w 61"/>
                <a:gd name="T7" fmla="*/ 80 h 80"/>
                <a:gd name="T8" fmla="*/ 44 w 61"/>
                <a:gd name="T9" fmla="*/ 31 h 80"/>
                <a:gd name="T10" fmla="*/ 0 w 61"/>
                <a:gd name="T11" fmla="*/ 14 h 80"/>
                <a:gd name="T12" fmla="*/ 3 w 61"/>
                <a:gd name="T13" fmla="*/ 28 h 80"/>
              </a:gdLst>
              <a:ahLst/>
              <a:cxnLst>
                <a:cxn ang="0">
                  <a:pos x="T0" y="T1"/>
                </a:cxn>
                <a:cxn ang="0">
                  <a:pos x="T2" y="T3"/>
                </a:cxn>
                <a:cxn ang="0">
                  <a:pos x="T4" y="T5"/>
                </a:cxn>
                <a:cxn ang="0">
                  <a:pos x="T6" y="T7"/>
                </a:cxn>
                <a:cxn ang="0">
                  <a:pos x="T8" y="T9"/>
                </a:cxn>
                <a:cxn ang="0">
                  <a:pos x="T10" y="T11"/>
                </a:cxn>
                <a:cxn ang="0">
                  <a:pos x="T12" y="T13"/>
                </a:cxn>
              </a:cxnLst>
              <a:rect l="0" t="0" r="r" b="b"/>
              <a:pathLst>
                <a:path w="61" h="80">
                  <a:moveTo>
                    <a:pt x="3" y="28"/>
                  </a:moveTo>
                  <a:cubicBezTo>
                    <a:pt x="5" y="36"/>
                    <a:pt x="11" y="41"/>
                    <a:pt x="25" y="44"/>
                  </a:cubicBezTo>
                  <a:cubicBezTo>
                    <a:pt x="36" y="46"/>
                    <a:pt x="40" y="62"/>
                    <a:pt x="40" y="67"/>
                  </a:cubicBezTo>
                  <a:cubicBezTo>
                    <a:pt x="39" y="70"/>
                    <a:pt x="35" y="80"/>
                    <a:pt x="35" y="80"/>
                  </a:cubicBezTo>
                  <a:cubicBezTo>
                    <a:pt x="35" y="80"/>
                    <a:pt x="61" y="61"/>
                    <a:pt x="44" y="31"/>
                  </a:cubicBezTo>
                  <a:cubicBezTo>
                    <a:pt x="28" y="0"/>
                    <a:pt x="1" y="12"/>
                    <a:pt x="0" y="14"/>
                  </a:cubicBezTo>
                  <a:cubicBezTo>
                    <a:pt x="0" y="17"/>
                    <a:pt x="2" y="25"/>
                    <a:pt x="3" y="28"/>
                  </a:cubicBezTo>
                  <a:close/>
                </a:path>
              </a:pathLst>
            </a:custGeom>
            <a:solidFill>
              <a:schemeClr val="tx1">
                <a:lumMod val="95000"/>
                <a:lumOff val="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54">
              <a:extLst>
                <a:ext uri="{FF2B5EF4-FFF2-40B4-BE49-F238E27FC236}">
                  <a16:creationId xmlns:a16="http://schemas.microsoft.com/office/drawing/2014/main" id="{53B1A143-13D5-413E-854D-F908E41DC7AC}"/>
                </a:ext>
              </a:extLst>
            </p:cNvPr>
            <p:cNvSpPr>
              <a:spLocks/>
            </p:cNvSpPr>
            <p:nvPr/>
          </p:nvSpPr>
          <p:spPr bwMode="auto">
            <a:xfrm>
              <a:off x="3122613" y="2552700"/>
              <a:ext cx="187325" cy="147638"/>
            </a:xfrm>
            <a:custGeom>
              <a:avLst/>
              <a:gdLst>
                <a:gd name="T0" fmla="*/ 29 w 37"/>
                <a:gd name="T1" fmla="*/ 12 h 29"/>
                <a:gd name="T2" fmla="*/ 18 w 37"/>
                <a:gd name="T3" fmla="*/ 23 h 29"/>
                <a:gd name="T4" fmla="*/ 0 w 37"/>
                <a:gd name="T5" fmla="*/ 29 h 29"/>
                <a:gd name="T6" fmla="*/ 19 w 37"/>
                <a:gd name="T7" fmla="*/ 2 h 29"/>
                <a:gd name="T8" fmla="*/ 29 w 37"/>
                <a:gd name="T9" fmla="*/ 12 h 29"/>
              </a:gdLst>
              <a:ahLst/>
              <a:cxnLst>
                <a:cxn ang="0">
                  <a:pos x="T0" y="T1"/>
                </a:cxn>
                <a:cxn ang="0">
                  <a:pos x="T2" y="T3"/>
                </a:cxn>
                <a:cxn ang="0">
                  <a:pos x="T4" y="T5"/>
                </a:cxn>
                <a:cxn ang="0">
                  <a:pos x="T6" y="T7"/>
                </a:cxn>
                <a:cxn ang="0">
                  <a:pos x="T8" y="T9"/>
                </a:cxn>
              </a:cxnLst>
              <a:rect l="0" t="0" r="r" b="b"/>
              <a:pathLst>
                <a:path w="37" h="29">
                  <a:moveTo>
                    <a:pt x="29" y="12"/>
                  </a:moveTo>
                  <a:cubicBezTo>
                    <a:pt x="29" y="12"/>
                    <a:pt x="27" y="22"/>
                    <a:pt x="18" y="23"/>
                  </a:cubicBezTo>
                  <a:cubicBezTo>
                    <a:pt x="9" y="23"/>
                    <a:pt x="0" y="29"/>
                    <a:pt x="0" y="29"/>
                  </a:cubicBezTo>
                  <a:cubicBezTo>
                    <a:pt x="0" y="29"/>
                    <a:pt x="2" y="5"/>
                    <a:pt x="19" y="2"/>
                  </a:cubicBezTo>
                  <a:cubicBezTo>
                    <a:pt x="37" y="0"/>
                    <a:pt x="29" y="12"/>
                    <a:pt x="29" y="12"/>
                  </a:cubicBezTo>
                  <a:close/>
                </a:path>
              </a:pathLst>
            </a:custGeom>
            <a:solidFill>
              <a:schemeClr val="tx1">
                <a:lumMod val="95000"/>
                <a:lumOff val="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55">
              <a:extLst>
                <a:ext uri="{FF2B5EF4-FFF2-40B4-BE49-F238E27FC236}">
                  <a16:creationId xmlns:a16="http://schemas.microsoft.com/office/drawing/2014/main" id="{179F0055-B950-4B49-A4EA-CCBFFD04F56C}"/>
                </a:ext>
              </a:extLst>
            </p:cNvPr>
            <p:cNvSpPr>
              <a:spLocks/>
            </p:cNvSpPr>
            <p:nvPr/>
          </p:nvSpPr>
          <p:spPr bwMode="auto">
            <a:xfrm>
              <a:off x="2959101" y="3279775"/>
              <a:ext cx="585788" cy="773113"/>
            </a:xfrm>
            <a:custGeom>
              <a:avLst/>
              <a:gdLst>
                <a:gd name="T0" fmla="*/ 84 w 115"/>
                <a:gd name="T1" fmla="*/ 50 h 152"/>
                <a:gd name="T2" fmla="*/ 40 w 115"/>
                <a:gd name="T3" fmla="*/ 47 h 152"/>
                <a:gd name="T4" fmla="*/ 6 w 115"/>
                <a:gd name="T5" fmla="*/ 26 h 152"/>
                <a:gd name="T6" fmla="*/ 6 w 115"/>
                <a:gd name="T7" fmla="*/ 0 h 152"/>
                <a:gd name="T8" fmla="*/ 14 w 115"/>
                <a:gd name="T9" fmla="*/ 44 h 152"/>
                <a:gd name="T10" fmla="*/ 22 w 115"/>
                <a:gd name="T11" fmla="*/ 112 h 152"/>
                <a:gd name="T12" fmla="*/ 15 w 115"/>
                <a:gd name="T13" fmla="*/ 150 h 152"/>
                <a:gd name="T14" fmla="*/ 48 w 115"/>
                <a:gd name="T15" fmla="*/ 152 h 152"/>
                <a:gd name="T16" fmla="*/ 44 w 115"/>
                <a:gd name="T17" fmla="*/ 130 h 152"/>
                <a:gd name="T18" fmla="*/ 109 w 115"/>
                <a:gd name="T19" fmla="*/ 109 h 152"/>
                <a:gd name="T20" fmla="*/ 89 w 115"/>
                <a:gd name="T21" fmla="*/ 61 h 152"/>
                <a:gd name="T22" fmla="*/ 84 w 115"/>
                <a:gd name="T23" fmla="*/ 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5" h="152">
                  <a:moveTo>
                    <a:pt x="84" y="50"/>
                  </a:moveTo>
                  <a:cubicBezTo>
                    <a:pt x="79" y="47"/>
                    <a:pt x="67" y="48"/>
                    <a:pt x="40" y="47"/>
                  </a:cubicBezTo>
                  <a:cubicBezTo>
                    <a:pt x="13" y="45"/>
                    <a:pt x="10" y="32"/>
                    <a:pt x="6" y="26"/>
                  </a:cubicBezTo>
                  <a:cubicBezTo>
                    <a:pt x="2" y="20"/>
                    <a:pt x="5" y="1"/>
                    <a:pt x="6" y="0"/>
                  </a:cubicBezTo>
                  <a:cubicBezTo>
                    <a:pt x="1" y="16"/>
                    <a:pt x="0" y="32"/>
                    <a:pt x="14" y="44"/>
                  </a:cubicBezTo>
                  <a:cubicBezTo>
                    <a:pt x="19" y="48"/>
                    <a:pt x="22" y="92"/>
                    <a:pt x="22" y="112"/>
                  </a:cubicBezTo>
                  <a:cubicBezTo>
                    <a:pt x="22" y="120"/>
                    <a:pt x="21" y="134"/>
                    <a:pt x="15" y="150"/>
                  </a:cubicBezTo>
                  <a:cubicBezTo>
                    <a:pt x="27" y="150"/>
                    <a:pt x="37" y="151"/>
                    <a:pt x="48" y="152"/>
                  </a:cubicBezTo>
                  <a:cubicBezTo>
                    <a:pt x="48" y="152"/>
                    <a:pt x="44" y="138"/>
                    <a:pt x="44" y="130"/>
                  </a:cubicBezTo>
                  <a:cubicBezTo>
                    <a:pt x="44" y="101"/>
                    <a:pt x="102" y="121"/>
                    <a:pt x="109" y="109"/>
                  </a:cubicBezTo>
                  <a:cubicBezTo>
                    <a:pt x="115" y="96"/>
                    <a:pt x="86" y="66"/>
                    <a:pt x="89" y="61"/>
                  </a:cubicBezTo>
                  <a:cubicBezTo>
                    <a:pt x="92" y="57"/>
                    <a:pt x="89" y="52"/>
                    <a:pt x="84" y="50"/>
                  </a:cubicBezTo>
                  <a:close/>
                </a:path>
              </a:pathLst>
            </a:custGeom>
            <a:solidFill>
              <a:srgbClr val="BCD0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56">
              <a:extLst>
                <a:ext uri="{FF2B5EF4-FFF2-40B4-BE49-F238E27FC236}">
                  <a16:creationId xmlns:a16="http://schemas.microsoft.com/office/drawing/2014/main" id="{DAFD7CB3-62DF-4900-BF10-1D4E26A8CD5A}"/>
                </a:ext>
              </a:extLst>
            </p:cNvPr>
            <p:cNvSpPr>
              <a:spLocks/>
            </p:cNvSpPr>
            <p:nvPr/>
          </p:nvSpPr>
          <p:spPr bwMode="auto">
            <a:xfrm>
              <a:off x="3187701" y="3106738"/>
              <a:ext cx="76200" cy="46038"/>
            </a:xfrm>
            <a:custGeom>
              <a:avLst/>
              <a:gdLst>
                <a:gd name="T0" fmla="*/ 39 w 48"/>
                <a:gd name="T1" fmla="*/ 0 h 29"/>
                <a:gd name="T2" fmla="*/ 48 w 48"/>
                <a:gd name="T3" fmla="*/ 29 h 29"/>
                <a:gd name="T4" fmla="*/ 0 w 48"/>
                <a:gd name="T5" fmla="*/ 7 h 29"/>
                <a:gd name="T6" fmla="*/ 39 w 48"/>
                <a:gd name="T7" fmla="*/ 0 h 29"/>
                <a:gd name="T8" fmla="*/ 39 w 48"/>
                <a:gd name="T9" fmla="*/ 0 h 29"/>
              </a:gdLst>
              <a:ahLst/>
              <a:cxnLst>
                <a:cxn ang="0">
                  <a:pos x="T0" y="T1"/>
                </a:cxn>
                <a:cxn ang="0">
                  <a:pos x="T2" y="T3"/>
                </a:cxn>
                <a:cxn ang="0">
                  <a:pos x="T4" y="T5"/>
                </a:cxn>
                <a:cxn ang="0">
                  <a:pos x="T6" y="T7"/>
                </a:cxn>
                <a:cxn ang="0">
                  <a:pos x="T8" y="T9"/>
                </a:cxn>
              </a:cxnLst>
              <a:rect l="0" t="0" r="r" b="b"/>
              <a:pathLst>
                <a:path w="48" h="29">
                  <a:moveTo>
                    <a:pt x="39" y="0"/>
                  </a:moveTo>
                  <a:lnTo>
                    <a:pt x="48" y="29"/>
                  </a:lnTo>
                  <a:lnTo>
                    <a:pt x="0" y="7"/>
                  </a:lnTo>
                  <a:lnTo>
                    <a:pt x="39" y="0"/>
                  </a:lnTo>
                  <a:lnTo>
                    <a:pt x="39" y="0"/>
                  </a:lnTo>
                  <a:close/>
                </a:path>
              </a:pathLst>
            </a:custGeom>
            <a:solidFill>
              <a:srgbClr val="BCD0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57">
              <a:extLst>
                <a:ext uri="{FF2B5EF4-FFF2-40B4-BE49-F238E27FC236}">
                  <a16:creationId xmlns:a16="http://schemas.microsoft.com/office/drawing/2014/main" id="{E7EBBFBD-8505-4468-978B-B989D4538886}"/>
                </a:ext>
              </a:extLst>
            </p:cNvPr>
            <p:cNvSpPr>
              <a:spLocks/>
            </p:cNvSpPr>
            <p:nvPr/>
          </p:nvSpPr>
          <p:spPr bwMode="auto">
            <a:xfrm>
              <a:off x="3263901" y="3106738"/>
              <a:ext cx="61913" cy="46038"/>
            </a:xfrm>
            <a:custGeom>
              <a:avLst/>
              <a:gdLst>
                <a:gd name="T0" fmla="*/ 0 w 39"/>
                <a:gd name="T1" fmla="*/ 29 h 29"/>
                <a:gd name="T2" fmla="*/ 10 w 39"/>
                <a:gd name="T3" fmla="*/ 0 h 29"/>
                <a:gd name="T4" fmla="*/ 39 w 39"/>
                <a:gd name="T5" fmla="*/ 13 h 29"/>
                <a:gd name="T6" fmla="*/ 0 w 39"/>
                <a:gd name="T7" fmla="*/ 29 h 29"/>
                <a:gd name="T8" fmla="*/ 0 w 39"/>
                <a:gd name="T9" fmla="*/ 29 h 29"/>
              </a:gdLst>
              <a:ahLst/>
              <a:cxnLst>
                <a:cxn ang="0">
                  <a:pos x="T0" y="T1"/>
                </a:cxn>
                <a:cxn ang="0">
                  <a:pos x="T2" y="T3"/>
                </a:cxn>
                <a:cxn ang="0">
                  <a:pos x="T4" y="T5"/>
                </a:cxn>
                <a:cxn ang="0">
                  <a:pos x="T6" y="T7"/>
                </a:cxn>
                <a:cxn ang="0">
                  <a:pos x="T8" y="T9"/>
                </a:cxn>
              </a:cxnLst>
              <a:rect l="0" t="0" r="r" b="b"/>
              <a:pathLst>
                <a:path w="39" h="29">
                  <a:moveTo>
                    <a:pt x="0" y="29"/>
                  </a:moveTo>
                  <a:lnTo>
                    <a:pt x="10" y="0"/>
                  </a:lnTo>
                  <a:lnTo>
                    <a:pt x="39" y="13"/>
                  </a:lnTo>
                  <a:lnTo>
                    <a:pt x="0" y="29"/>
                  </a:lnTo>
                  <a:lnTo>
                    <a:pt x="0" y="29"/>
                  </a:lnTo>
                  <a:close/>
                </a:path>
              </a:pathLst>
            </a:custGeom>
            <a:solidFill>
              <a:srgbClr val="BCD0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58">
              <a:extLst>
                <a:ext uri="{FF2B5EF4-FFF2-40B4-BE49-F238E27FC236}">
                  <a16:creationId xmlns:a16="http://schemas.microsoft.com/office/drawing/2014/main" id="{A4E9AF51-F94C-4398-9BA0-B5B4281C49B1}"/>
                </a:ext>
              </a:extLst>
            </p:cNvPr>
            <p:cNvSpPr>
              <a:spLocks/>
            </p:cNvSpPr>
            <p:nvPr/>
          </p:nvSpPr>
          <p:spPr bwMode="auto">
            <a:xfrm>
              <a:off x="2974976" y="4043363"/>
              <a:ext cx="706438" cy="960438"/>
            </a:xfrm>
            <a:custGeom>
              <a:avLst/>
              <a:gdLst>
                <a:gd name="T0" fmla="*/ 12 w 139"/>
                <a:gd name="T1" fmla="*/ 0 h 189"/>
                <a:gd name="T2" fmla="*/ 1 w 139"/>
                <a:gd name="T3" fmla="*/ 40 h 189"/>
                <a:gd name="T4" fmla="*/ 18 w 139"/>
                <a:gd name="T5" fmla="*/ 186 h 189"/>
                <a:gd name="T6" fmla="*/ 70 w 139"/>
                <a:gd name="T7" fmla="*/ 189 h 189"/>
                <a:gd name="T8" fmla="*/ 139 w 139"/>
                <a:gd name="T9" fmla="*/ 184 h 189"/>
                <a:gd name="T10" fmla="*/ 134 w 139"/>
                <a:gd name="T11" fmla="*/ 41 h 189"/>
                <a:gd name="T12" fmla="*/ 122 w 139"/>
                <a:gd name="T13" fmla="*/ 0 h 189"/>
                <a:gd name="T14" fmla="*/ 59 w 139"/>
                <a:gd name="T15" fmla="*/ 3 h 189"/>
                <a:gd name="T16" fmla="*/ 12 w 139"/>
                <a:gd name="T1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189">
                  <a:moveTo>
                    <a:pt x="12" y="0"/>
                  </a:moveTo>
                  <a:cubicBezTo>
                    <a:pt x="12" y="0"/>
                    <a:pt x="3" y="14"/>
                    <a:pt x="1" y="40"/>
                  </a:cubicBezTo>
                  <a:cubicBezTo>
                    <a:pt x="0" y="66"/>
                    <a:pt x="18" y="186"/>
                    <a:pt x="18" y="186"/>
                  </a:cubicBezTo>
                  <a:cubicBezTo>
                    <a:pt x="70" y="189"/>
                    <a:pt x="70" y="189"/>
                    <a:pt x="70" y="189"/>
                  </a:cubicBezTo>
                  <a:cubicBezTo>
                    <a:pt x="139" y="184"/>
                    <a:pt x="139" y="184"/>
                    <a:pt x="139" y="184"/>
                  </a:cubicBezTo>
                  <a:cubicBezTo>
                    <a:pt x="139" y="184"/>
                    <a:pt x="137" y="74"/>
                    <a:pt x="134" y="41"/>
                  </a:cubicBezTo>
                  <a:cubicBezTo>
                    <a:pt x="131" y="9"/>
                    <a:pt x="122" y="0"/>
                    <a:pt x="122" y="0"/>
                  </a:cubicBezTo>
                  <a:cubicBezTo>
                    <a:pt x="59" y="3"/>
                    <a:pt x="59" y="3"/>
                    <a:pt x="59" y="3"/>
                  </a:cubicBezTo>
                  <a:cubicBezTo>
                    <a:pt x="12" y="0"/>
                    <a:pt x="12" y="0"/>
                    <a:pt x="12" y="0"/>
                  </a:cubicBezTo>
                </a:path>
              </a:pathLst>
            </a:custGeom>
            <a:solidFill>
              <a:srgbClr val="F57673"/>
            </a:solid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59">
              <a:extLst>
                <a:ext uri="{FF2B5EF4-FFF2-40B4-BE49-F238E27FC236}">
                  <a16:creationId xmlns:a16="http://schemas.microsoft.com/office/drawing/2014/main" id="{6C5F43DB-7D29-49DE-986D-77F2DEEB41D9}"/>
                </a:ext>
              </a:extLst>
            </p:cNvPr>
            <p:cNvSpPr>
              <a:spLocks/>
            </p:cNvSpPr>
            <p:nvPr/>
          </p:nvSpPr>
          <p:spPr bwMode="auto">
            <a:xfrm>
              <a:off x="3279776" y="3035300"/>
              <a:ext cx="188913" cy="147638"/>
            </a:xfrm>
            <a:custGeom>
              <a:avLst/>
              <a:gdLst>
                <a:gd name="T0" fmla="*/ 0 w 119"/>
                <a:gd name="T1" fmla="*/ 45 h 93"/>
                <a:gd name="T2" fmla="*/ 29 w 119"/>
                <a:gd name="T3" fmla="*/ 93 h 93"/>
                <a:gd name="T4" fmla="*/ 119 w 119"/>
                <a:gd name="T5" fmla="*/ 45 h 93"/>
                <a:gd name="T6" fmla="*/ 87 w 119"/>
                <a:gd name="T7" fmla="*/ 0 h 93"/>
                <a:gd name="T8" fmla="*/ 0 w 119"/>
                <a:gd name="T9" fmla="*/ 45 h 93"/>
                <a:gd name="T10" fmla="*/ 0 w 119"/>
                <a:gd name="T11" fmla="*/ 45 h 93"/>
              </a:gdLst>
              <a:ahLst/>
              <a:cxnLst>
                <a:cxn ang="0">
                  <a:pos x="T0" y="T1"/>
                </a:cxn>
                <a:cxn ang="0">
                  <a:pos x="T2" y="T3"/>
                </a:cxn>
                <a:cxn ang="0">
                  <a:pos x="T4" y="T5"/>
                </a:cxn>
                <a:cxn ang="0">
                  <a:pos x="T6" y="T7"/>
                </a:cxn>
                <a:cxn ang="0">
                  <a:pos x="T8" y="T9"/>
                </a:cxn>
                <a:cxn ang="0">
                  <a:pos x="T10" y="T11"/>
                </a:cxn>
              </a:cxnLst>
              <a:rect l="0" t="0" r="r" b="b"/>
              <a:pathLst>
                <a:path w="119" h="93">
                  <a:moveTo>
                    <a:pt x="0" y="45"/>
                  </a:moveTo>
                  <a:lnTo>
                    <a:pt x="29" y="93"/>
                  </a:lnTo>
                  <a:lnTo>
                    <a:pt x="119" y="45"/>
                  </a:lnTo>
                  <a:lnTo>
                    <a:pt x="87" y="0"/>
                  </a:lnTo>
                  <a:lnTo>
                    <a:pt x="0" y="45"/>
                  </a:lnTo>
                  <a:lnTo>
                    <a:pt x="0" y="45"/>
                  </a:lnTo>
                  <a:close/>
                </a:path>
              </a:pathLst>
            </a:custGeom>
            <a:solidFill>
              <a:srgbClr val="E1F2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60">
              <a:extLst>
                <a:ext uri="{FF2B5EF4-FFF2-40B4-BE49-F238E27FC236}">
                  <a16:creationId xmlns:a16="http://schemas.microsoft.com/office/drawing/2014/main" id="{4C7C7B27-F5BB-4EFD-A75A-BEC7AB18A1AD}"/>
                </a:ext>
              </a:extLst>
            </p:cNvPr>
            <p:cNvSpPr>
              <a:spLocks/>
            </p:cNvSpPr>
            <p:nvPr/>
          </p:nvSpPr>
          <p:spPr bwMode="auto">
            <a:xfrm>
              <a:off x="3111501" y="3046413"/>
              <a:ext cx="138113" cy="127000"/>
            </a:xfrm>
            <a:custGeom>
              <a:avLst/>
              <a:gdLst>
                <a:gd name="T0" fmla="*/ 0 w 87"/>
                <a:gd name="T1" fmla="*/ 38 h 80"/>
                <a:gd name="T2" fmla="*/ 39 w 87"/>
                <a:gd name="T3" fmla="*/ 0 h 80"/>
                <a:gd name="T4" fmla="*/ 87 w 87"/>
                <a:gd name="T5" fmla="*/ 38 h 80"/>
                <a:gd name="T6" fmla="*/ 51 w 87"/>
                <a:gd name="T7" fmla="*/ 80 h 80"/>
                <a:gd name="T8" fmla="*/ 0 w 87"/>
                <a:gd name="T9" fmla="*/ 38 h 80"/>
                <a:gd name="T10" fmla="*/ 0 w 87"/>
                <a:gd name="T11" fmla="*/ 38 h 80"/>
              </a:gdLst>
              <a:ahLst/>
              <a:cxnLst>
                <a:cxn ang="0">
                  <a:pos x="T0" y="T1"/>
                </a:cxn>
                <a:cxn ang="0">
                  <a:pos x="T2" y="T3"/>
                </a:cxn>
                <a:cxn ang="0">
                  <a:pos x="T4" y="T5"/>
                </a:cxn>
                <a:cxn ang="0">
                  <a:pos x="T6" y="T7"/>
                </a:cxn>
                <a:cxn ang="0">
                  <a:pos x="T8" y="T9"/>
                </a:cxn>
                <a:cxn ang="0">
                  <a:pos x="T10" y="T11"/>
                </a:cxn>
              </a:cxnLst>
              <a:rect l="0" t="0" r="r" b="b"/>
              <a:pathLst>
                <a:path w="87" h="80">
                  <a:moveTo>
                    <a:pt x="0" y="38"/>
                  </a:moveTo>
                  <a:lnTo>
                    <a:pt x="39" y="0"/>
                  </a:lnTo>
                  <a:lnTo>
                    <a:pt x="87" y="38"/>
                  </a:lnTo>
                  <a:lnTo>
                    <a:pt x="51" y="80"/>
                  </a:lnTo>
                  <a:lnTo>
                    <a:pt x="0" y="38"/>
                  </a:lnTo>
                  <a:lnTo>
                    <a:pt x="0" y="38"/>
                  </a:lnTo>
                  <a:close/>
                </a:path>
              </a:pathLst>
            </a:custGeom>
            <a:solidFill>
              <a:srgbClr val="E1F2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61">
              <a:extLst>
                <a:ext uri="{FF2B5EF4-FFF2-40B4-BE49-F238E27FC236}">
                  <a16:creationId xmlns:a16="http://schemas.microsoft.com/office/drawing/2014/main" id="{A8C03EA3-2320-45C6-878B-55B4E00F7EA3}"/>
                </a:ext>
              </a:extLst>
            </p:cNvPr>
            <p:cNvSpPr>
              <a:spLocks/>
            </p:cNvSpPr>
            <p:nvPr/>
          </p:nvSpPr>
          <p:spPr bwMode="auto">
            <a:xfrm>
              <a:off x="2974976" y="4043363"/>
              <a:ext cx="411163" cy="960438"/>
            </a:xfrm>
            <a:custGeom>
              <a:avLst/>
              <a:gdLst>
                <a:gd name="T0" fmla="*/ 57 w 81"/>
                <a:gd name="T1" fmla="*/ 111 h 189"/>
                <a:gd name="T2" fmla="*/ 49 w 81"/>
                <a:gd name="T3" fmla="*/ 154 h 189"/>
                <a:gd name="T4" fmla="*/ 29 w 81"/>
                <a:gd name="T5" fmla="*/ 149 h 189"/>
                <a:gd name="T6" fmla="*/ 21 w 81"/>
                <a:gd name="T7" fmla="*/ 27 h 189"/>
                <a:gd name="T8" fmla="*/ 45 w 81"/>
                <a:gd name="T9" fmla="*/ 2 h 189"/>
                <a:gd name="T10" fmla="*/ 43 w 81"/>
                <a:gd name="T11" fmla="*/ 2 h 189"/>
                <a:gd name="T12" fmla="*/ 12 w 81"/>
                <a:gd name="T13" fmla="*/ 0 h 189"/>
                <a:gd name="T14" fmla="*/ 1 w 81"/>
                <a:gd name="T15" fmla="*/ 40 h 189"/>
                <a:gd name="T16" fmla="*/ 18 w 81"/>
                <a:gd name="T17" fmla="*/ 186 h 189"/>
                <a:gd name="T18" fmla="*/ 70 w 81"/>
                <a:gd name="T19" fmla="*/ 189 h 189"/>
                <a:gd name="T20" fmla="*/ 81 w 81"/>
                <a:gd name="T21" fmla="*/ 189 h 189"/>
                <a:gd name="T22" fmla="*/ 67 w 81"/>
                <a:gd name="T23" fmla="*/ 175 h 189"/>
                <a:gd name="T24" fmla="*/ 57 w 81"/>
                <a:gd name="T25" fmla="*/ 11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89">
                  <a:moveTo>
                    <a:pt x="57" y="111"/>
                  </a:moveTo>
                  <a:cubicBezTo>
                    <a:pt x="53" y="115"/>
                    <a:pt x="54" y="148"/>
                    <a:pt x="49" y="154"/>
                  </a:cubicBezTo>
                  <a:cubicBezTo>
                    <a:pt x="43" y="161"/>
                    <a:pt x="34" y="160"/>
                    <a:pt x="29" y="149"/>
                  </a:cubicBezTo>
                  <a:cubicBezTo>
                    <a:pt x="24" y="137"/>
                    <a:pt x="10" y="56"/>
                    <a:pt x="21" y="27"/>
                  </a:cubicBezTo>
                  <a:cubicBezTo>
                    <a:pt x="29" y="7"/>
                    <a:pt x="45" y="2"/>
                    <a:pt x="45" y="2"/>
                  </a:cubicBezTo>
                  <a:cubicBezTo>
                    <a:pt x="43" y="2"/>
                    <a:pt x="43" y="2"/>
                    <a:pt x="43" y="2"/>
                  </a:cubicBezTo>
                  <a:cubicBezTo>
                    <a:pt x="12" y="0"/>
                    <a:pt x="12" y="0"/>
                    <a:pt x="12" y="0"/>
                  </a:cubicBezTo>
                  <a:cubicBezTo>
                    <a:pt x="12" y="0"/>
                    <a:pt x="3" y="14"/>
                    <a:pt x="1" y="40"/>
                  </a:cubicBezTo>
                  <a:cubicBezTo>
                    <a:pt x="0" y="66"/>
                    <a:pt x="18" y="186"/>
                    <a:pt x="18" y="186"/>
                  </a:cubicBezTo>
                  <a:cubicBezTo>
                    <a:pt x="70" y="189"/>
                    <a:pt x="70" y="189"/>
                    <a:pt x="70" y="189"/>
                  </a:cubicBezTo>
                  <a:cubicBezTo>
                    <a:pt x="81" y="189"/>
                    <a:pt x="81" y="189"/>
                    <a:pt x="81" y="189"/>
                  </a:cubicBezTo>
                  <a:cubicBezTo>
                    <a:pt x="81" y="189"/>
                    <a:pt x="69" y="186"/>
                    <a:pt x="67" y="175"/>
                  </a:cubicBezTo>
                  <a:cubicBezTo>
                    <a:pt x="63" y="152"/>
                    <a:pt x="60" y="107"/>
                    <a:pt x="57" y="111"/>
                  </a:cubicBezTo>
                </a:path>
              </a:pathLst>
            </a:custGeom>
            <a:solidFill>
              <a:srgbClr val="F25450"/>
            </a:solidFill>
            <a:ln>
              <a:noFill/>
            </a:ln>
          </p:spPr>
          <p:txBody>
            <a:bodyPr vert="horz" wrap="square" lIns="91440" tIns="45720" rIns="91440" bIns="45720" numCol="1" anchor="t" anchorCtr="0" compatLnSpc="1">
              <a:prstTxWarp prst="textNoShape">
                <a:avLst/>
              </a:prstTxWarp>
            </a:bodyPr>
            <a:lstStyle/>
            <a:p>
              <a:endParaRPr lang="en-US"/>
            </a:p>
          </p:txBody>
        </p:sp>
        <p:sp>
          <p:nvSpPr>
            <p:cNvPr id="89" name="Freeform 62">
              <a:extLst>
                <a:ext uri="{FF2B5EF4-FFF2-40B4-BE49-F238E27FC236}">
                  <a16:creationId xmlns:a16="http://schemas.microsoft.com/office/drawing/2014/main" id="{F4C34A6D-2E43-496E-85A6-8334CC2E3F40}"/>
                </a:ext>
              </a:extLst>
            </p:cNvPr>
            <p:cNvSpPr>
              <a:spLocks/>
            </p:cNvSpPr>
            <p:nvPr/>
          </p:nvSpPr>
          <p:spPr bwMode="auto">
            <a:xfrm>
              <a:off x="3452813" y="3132138"/>
              <a:ext cx="207963" cy="681038"/>
            </a:xfrm>
            <a:custGeom>
              <a:avLst/>
              <a:gdLst>
                <a:gd name="T0" fmla="*/ 26 w 41"/>
                <a:gd name="T1" fmla="*/ 2 h 134"/>
                <a:gd name="T2" fmla="*/ 37 w 41"/>
                <a:gd name="T3" fmla="*/ 63 h 134"/>
                <a:gd name="T4" fmla="*/ 17 w 41"/>
                <a:gd name="T5" fmla="*/ 133 h 134"/>
                <a:gd name="T6" fmla="*/ 1 w 41"/>
                <a:gd name="T7" fmla="*/ 65 h 134"/>
                <a:gd name="T8" fmla="*/ 26 w 41"/>
                <a:gd name="T9" fmla="*/ 2 h 134"/>
              </a:gdLst>
              <a:ahLst/>
              <a:cxnLst>
                <a:cxn ang="0">
                  <a:pos x="T0" y="T1"/>
                </a:cxn>
                <a:cxn ang="0">
                  <a:pos x="T2" y="T3"/>
                </a:cxn>
                <a:cxn ang="0">
                  <a:pos x="T4" y="T5"/>
                </a:cxn>
                <a:cxn ang="0">
                  <a:pos x="T6" y="T7"/>
                </a:cxn>
                <a:cxn ang="0">
                  <a:pos x="T8" y="T9"/>
                </a:cxn>
              </a:cxnLst>
              <a:rect l="0" t="0" r="r" b="b"/>
              <a:pathLst>
                <a:path w="41" h="134">
                  <a:moveTo>
                    <a:pt x="26" y="2"/>
                  </a:moveTo>
                  <a:cubicBezTo>
                    <a:pt x="37" y="4"/>
                    <a:pt x="41" y="33"/>
                    <a:pt x="37" y="63"/>
                  </a:cubicBezTo>
                  <a:cubicBezTo>
                    <a:pt x="29" y="116"/>
                    <a:pt x="36" y="134"/>
                    <a:pt x="17" y="133"/>
                  </a:cubicBezTo>
                  <a:cubicBezTo>
                    <a:pt x="0" y="132"/>
                    <a:pt x="2" y="111"/>
                    <a:pt x="1" y="65"/>
                  </a:cubicBezTo>
                  <a:cubicBezTo>
                    <a:pt x="1" y="30"/>
                    <a:pt x="5" y="0"/>
                    <a:pt x="26" y="2"/>
                  </a:cubicBezTo>
                  <a:close/>
                </a:path>
              </a:pathLst>
            </a:custGeom>
            <a:solidFill>
              <a:srgbClr val="D0D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63">
              <a:extLst>
                <a:ext uri="{FF2B5EF4-FFF2-40B4-BE49-F238E27FC236}">
                  <a16:creationId xmlns:a16="http://schemas.microsoft.com/office/drawing/2014/main" id="{66181F44-C6D2-4865-BBEC-F9CC68842A0E}"/>
                </a:ext>
              </a:extLst>
            </p:cNvPr>
            <p:cNvSpPr>
              <a:spLocks/>
            </p:cNvSpPr>
            <p:nvPr/>
          </p:nvSpPr>
          <p:spPr bwMode="auto">
            <a:xfrm>
              <a:off x="2994026" y="3265488"/>
              <a:ext cx="412750" cy="538163"/>
            </a:xfrm>
            <a:custGeom>
              <a:avLst/>
              <a:gdLst>
                <a:gd name="T0" fmla="*/ 260 w 260"/>
                <a:gd name="T1" fmla="*/ 336 h 339"/>
                <a:gd name="T2" fmla="*/ 7 w 260"/>
                <a:gd name="T3" fmla="*/ 339 h 339"/>
                <a:gd name="T4" fmla="*/ 0 w 260"/>
                <a:gd name="T5" fmla="*/ 3 h 339"/>
                <a:gd name="T6" fmla="*/ 254 w 260"/>
                <a:gd name="T7" fmla="*/ 0 h 339"/>
                <a:gd name="T8" fmla="*/ 260 w 260"/>
                <a:gd name="T9" fmla="*/ 336 h 339"/>
                <a:gd name="T10" fmla="*/ 260 w 260"/>
                <a:gd name="T11" fmla="*/ 336 h 339"/>
              </a:gdLst>
              <a:ahLst/>
              <a:cxnLst>
                <a:cxn ang="0">
                  <a:pos x="T0" y="T1"/>
                </a:cxn>
                <a:cxn ang="0">
                  <a:pos x="T2" y="T3"/>
                </a:cxn>
                <a:cxn ang="0">
                  <a:pos x="T4" y="T5"/>
                </a:cxn>
                <a:cxn ang="0">
                  <a:pos x="T6" y="T7"/>
                </a:cxn>
                <a:cxn ang="0">
                  <a:pos x="T8" y="T9"/>
                </a:cxn>
                <a:cxn ang="0">
                  <a:pos x="T10" y="T11"/>
                </a:cxn>
              </a:cxnLst>
              <a:rect l="0" t="0" r="r" b="b"/>
              <a:pathLst>
                <a:path w="260" h="339">
                  <a:moveTo>
                    <a:pt x="260" y="336"/>
                  </a:moveTo>
                  <a:lnTo>
                    <a:pt x="7" y="339"/>
                  </a:lnTo>
                  <a:lnTo>
                    <a:pt x="0" y="3"/>
                  </a:lnTo>
                  <a:lnTo>
                    <a:pt x="254" y="0"/>
                  </a:lnTo>
                  <a:lnTo>
                    <a:pt x="260" y="336"/>
                  </a:lnTo>
                  <a:lnTo>
                    <a:pt x="260" y="336"/>
                  </a:lnTo>
                  <a:close/>
                </a:path>
              </a:pathLst>
            </a:custGeom>
            <a:solidFill>
              <a:srgbClr val="032D37"/>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64">
              <a:extLst>
                <a:ext uri="{FF2B5EF4-FFF2-40B4-BE49-F238E27FC236}">
                  <a16:creationId xmlns:a16="http://schemas.microsoft.com/office/drawing/2014/main" id="{3471107F-55E8-4545-B35C-1928B8ABB64D}"/>
                </a:ext>
              </a:extLst>
            </p:cNvPr>
            <p:cNvSpPr>
              <a:spLocks/>
            </p:cNvSpPr>
            <p:nvPr/>
          </p:nvSpPr>
          <p:spPr bwMode="auto">
            <a:xfrm>
              <a:off x="2994026" y="3270250"/>
              <a:ext cx="412750" cy="533400"/>
            </a:xfrm>
            <a:custGeom>
              <a:avLst/>
              <a:gdLst>
                <a:gd name="T0" fmla="*/ 13 w 81"/>
                <a:gd name="T1" fmla="*/ 0 h 105"/>
                <a:gd name="T2" fmla="*/ 32 w 81"/>
                <a:gd name="T3" fmla="*/ 53 h 105"/>
                <a:gd name="T4" fmla="*/ 80 w 81"/>
                <a:gd name="T5" fmla="*/ 75 h 105"/>
                <a:gd name="T6" fmla="*/ 81 w 81"/>
                <a:gd name="T7" fmla="*/ 104 h 105"/>
                <a:gd name="T8" fmla="*/ 2 w 81"/>
                <a:gd name="T9" fmla="*/ 105 h 105"/>
                <a:gd name="T10" fmla="*/ 0 w 81"/>
                <a:gd name="T11" fmla="*/ 0 h 105"/>
                <a:gd name="T12" fmla="*/ 13 w 81"/>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81" h="105">
                  <a:moveTo>
                    <a:pt x="13" y="0"/>
                  </a:moveTo>
                  <a:cubicBezTo>
                    <a:pt x="13" y="0"/>
                    <a:pt x="18" y="36"/>
                    <a:pt x="32" y="53"/>
                  </a:cubicBezTo>
                  <a:cubicBezTo>
                    <a:pt x="45" y="70"/>
                    <a:pt x="80" y="75"/>
                    <a:pt x="80" y="75"/>
                  </a:cubicBezTo>
                  <a:cubicBezTo>
                    <a:pt x="81" y="104"/>
                    <a:pt x="81" y="104"/>
                    <a:pt x="81" y="104"/>
                  </a:cubicBezTo>
                  <a:cubicBezTo>
                    <a:pt x="2" y="105"/>
                    <a:pt x="2" y="105"/>
                    <a:pt x="2" y="105"/>
                  </a:cubicBezTo>
                  <a:cubicBezTo>
                    <a:pt x="0" y="0"/>
                    <a:pt x="0" y="0"/>
                    <a:pt x="0" y="0"/>
                  </a:cubicBezTo>
                  <a:cubicBezTo>
                    <a:pt x="13" y="0"/>
                    <a:pt x="13" y="0"/>
                    <a:pt x="13" y="0"/>
                  </a:cubicBezTo>
                  <a:close/>
                </a:path>
              </a:pathLst>
            </a:custGeom>
            <a:solidFill>
              <a:srgbClr val="02171C"/>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Freeform 65">
              <a:extLst>
                <a:ext uri="{FF2B5EF4-FFF2-40B4-BE49-F238E27FC236}">
                  <a16:creationId xmlns:a16="http://schemas.microsoft.com/office/drawing/2014/main" id="{361D661A-DC79-45A1-90AB-DFC14F722EDF}"/>
                </a:ext>
              </a:extLst>
            </p:cNvPr>
            <p:cNvSpPr>
              <a:spLocks/>
            </p:cNvSpPr>
            <p:nvPr/>
          </p:nvSpPr>
          <p:spPr bwMode="auto">
            <a:xfrm>
              <a:off x="2470151" y="3270250"/>
              <a:ext cx="468313" cy="498475"/>
            </a:xfrm>
            <a:custGeom>
              <a:avLst/>
              <a:gdLst>
                <a:gd name="T0" fmla="*/ 86 w 92"/>
                <a:gd name="T1" fmla="*/ 84 h 98"/>
                <a:gd name="T2" fmla="*/ 67 w 92"/>
                <a:gd name="T3" fmla="*/ 47 h 98"/>
                <a:gd name="T4" fmla="*/ 6 w 92"/>
                <a:gd name="T5" fmla="*/ 6 h 98"/>
                <a:gd name="T6" fmla="*/ 44 w 92"/>
                <a:gd name="T7" fmla="*/ 65 h 98"/>
                <a:gd name="T8" fmla="*/ 86 w 92"/>
                <a:gd name="T9" fmla="*/ 84 h 98"/>
              </a:gdLst>
              <a:ahLst/>
              <a:cxnLst>
                <a:cxn ang="0">
                  <a:pos x="T0" y="T1"/>
                </a:cxn>
                <a:cxn ang="0">
                  <a:pos x="T2" y="T3"/>
                </a:cxn>
                <a:cxn ang="0">
                  <a:pos x="T4" y="T5"/>
                </a:cxn>
                <a:cxn ang="0">
                  <a:pos x="T6" y="T7"/>
                </a:cxn>
                <a:cxn ang="0">
                  <a:pos x="T8" y="T9"/>
                </a:cxn>
              </a:cxnLst>
              <a:rect l="0" t="0" r="r" b="b"/>
              <a:pathLst>
                <a:path w="92" h="98">
                  <a:moveTo>
                    <a:pt x="86" y="84"/>
                  </a:moveTo>
                  <a:cubicBezTo>
                    <a:pt x="92" y="78"/>
                    <a:pt x="87" y="64"/>
                    <a:pt x="67" y="47"/>
                  </a:cubicBezTo>
                  <a:cubicBezTo>
                    <a:pt x="44" y="28"/>
                    <a:pt x="11" y="0"/>
                    <a:pt x="6" y="6"/>
                  </a:cubicBezTo>
                  <a:cubicBezTo>
                    <a:pt x="0" y="14"/>
                    <a:pt x="26" y="40"/>
                    <a:pt x="44" y="65"/>
                  </a:cubicBezTo>
                  <a:cubicBezTo>
                    <a:pt x="63" y="90"/>
                    <a:pt x="75" y="98"/>
                    <a:pt x="86" y="84"/>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66">
              <a:extLst>
                <a:ext uri="{FF2B5EF4-FFF2-40B4-BE49-F238E27FC236}">
                  <a16:creationId xmlns:a16="http://schemas.microsoft.com/office/drawing/2014/main" id="{20536161-F583-480B-B510-3A076786E372}"/>
                </a:ext>
              </a:extLst>
            </p:cNvPr>
            <p:cNvSpPr>
              <a:spLocks/>
            </p:cNvSpPr>
            <p:nvPr/>
          </p:nvSpPr>
          <p:spPr bwMode="auto">
            <a:xfrm>
              <a:off x="3051176" y="3519488"/>
              <a:ext cx="565150" cy="330200"/>
            </a:xfrm>
            <a:custGeom>
              <a:avLst/>
              <a:gdLst>
                <a:gd name="T0" fmla="*/ 109 w 111"/>
                <a:gd name="T1" fmla="*/ 48 h 65"/>
                <a:gd name="T2" fmla="*/ 71 w 111"/>
                <a:gd name="T3" fmla="*/ 19 h 65"/>
                <a:gd name="T4" fmla="*/ 2 w 111"/>
                <a:gd name="T5" fmla="*/ 7 h 65"/>
                <a:gd name="T6" fmla="*/ 59 w 111"/>
                <a:gd name="T7" fmla="*/ 44 h 65"/>
                <a:gd name="T8" fmla="*/ 109 w 111"/>
                <a:gd name="T9" fmla="*/ 48 h 65"/>
              </a:gdLst>
              <a:ahLst/>
              <a:cxnLst>
                <a:cxn ang="0">
                  <a:pos x="T0" y="T1"/>
                </a:cxn>
                <a:cxn ang="0">
                  <a:pos x="T2" y="T3"/>
                </a:cxn>
                <a:cxn ang="0">
                  <a:pos x="T4" y="T5"/>
                </a:cxn>
                <a:cxn ang="0">
                  <a:pos x="T6" y="T7"/>
                </a:cxn>
                <a:cxn ang="0">
                  <a:pos x="T8" y="T9"/>
                </a:cxn>
              </a:cxnLst>
              <a:rect l="0" t="0" r="r" b="b"/>
              <a:pathLst>
                <a:path w="111" h="65">
                  <a:moveTo>
                    <a:pt x="109" y="48"/>
                  </a:moveTo>
                  <a:cubicBezTo>
                    <a:pt x="111" y="40"/>
                    <a:pt x="96" y="26"/>
                    <a:pt x="71" y="19"/>
                  </a:cubicBezTo>
                  <a:cubicBezTo>
                    <a:pt x="44" y="12"/>
                    <a:pt x="4" y="0"/>
                    <a:pt x="2" y="7"/>
                  </a:cubicBezTo>
                  <a:cubicBezTo>
                    <a:pt x="0" y="17"/>
                    <a:pt x="34" y="30"/>
                    <a:pt x="59" y="44"/>
                  </a:cubicBezTo>
                  <a:cubicBezTo>
                    <a:pt x="85" y="59"/>
                    <a:pt x="105" y="65"/>
                    <a:pt x="109" y="48"/>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67">
              <a:extLst>
                <a:ext uri="{FF2B5EF4-FFF2-40B4-BE49-F238E27FC236}">
                  <a16:creationId xmlns:a16="http://schemas.microsoft.com/office/drawing/2014/main" id="{A088B69A-679D-4955-A3BE-B843A10AAC58}"/>
                </a:ext>
              </a:extLst>
            </p:cNvPr>
            <p:cNvSpPr>
              <a:spLocks/>
            </p:cNvSpPr>
            <p:nvPr/>
          </p:nvSpPr>
          <p:spPr bwMode="auto">
            <a:xfrm>
              <a:off x="2963863" y="3549650"/>
              <a:ext cx="82550" cy="46038"/>
            </a:xfrm>
            <a:custGeom>
              <a:avLst/>
              <a:gdLst>
                <a:gd name="T0" fmla="*/ 0 w 16"/>
                <a:gd name="T1" fmla="*/ 3 h 9"/>
                <a:gd name="T2" fmla="*/ 0 w 16"/>
                <a:gd name="T3" fmla="*/ 3 h 9"/>
                <a:gd name="T4" fmla="*/ 3 w 16"/>
                <a:gd name="T5" fmla="*/ 1 h 9"/>
                <a:gd name="T6" fmla="*/ 14 w 16"/>
                <a:gd name="T7" fmla="*/ 4 h 9"/>
                <a:gd name="T8" fmla="*/ 15 w 16"/>
                <a:gd name="T9" fmla="*/ 7 h 9"/>
                <a:gd name="T10" fmla="*/ 15 w 16"/>
                <a:gd name="T11" fmla="*/ 7 h 9"/>
                <a:gd name="T12" fmla="*/ 12 w 16"/>
                <a:gd name="T13" fmla="*/ 8 h 9"/>
                <a:gd name="T14" fmla="*/ 2 w 16"/>
                <a:gd name="T15" fmla="*/ 6 h 9"/>
                <a:gd name="T16" fmla="*/ 0 w 16"/>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0" y="3"/>
                  </a:moveTo>
                  <a:cubicBezTo>
                    <a:pt x="0" y="3"/>
                    <a:pt x="0" y="3"/>
                    <a:pt x="0" y="3"/>
                  </a:cubicBezTo>
                  <a:cubicBezTo>
                    <a:pt x="1" y="1"/>
                    <a:pt x="2" y="0"/>
                    <a:pt x="3" y="1"/>
                  </a:cubicBezTo>
                  <a:cubicBezTo>
                    <a:pt x="14" y="4"/>
                    <a:pt x="14" y="4"/>
                    <a:pt x="14" y="4"/>
                  </a:cubicBezTo>
                  <a:cubicBezTo>
                    <a:pt x="15" y="4"/>
                    <a:pt x="16" y="5"/>
                    <a:pt x="15" y="7"/>
                  </a:cubicBezTo>
                  <a:cubicBezTo>
                    <a:pt x="15" y="7"/>
                    <a:pt x="15" y="7"/>
                    <a:pt x="15" y="7"/>
                  </a:cubicBezTo>
                  <a:cubicBezTo>
                    <a:pt x="15" y="8"/>
                    <a:pt x="14" y="9"/>
                    <a:pt x="12" y="8"/>
                  </a:cubicBezTo>
                  <a:cubicBezTo>
                    <a:pt x="2" y="6"/>
                    <a:pt x="2" y="6"/>
                    <a:pt x="2" y="6"/>
                  </a:cubicBezTo>
                  <a:cubicBezTo>
                    <a:pt x="1" y="5"/>
                    <a:pt x="0" y="4"/>
                    <a:pt x="0" y="3"/>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68">
              <a:extLst>
                <a:ext uri="{FF2B5EF4-FFF2-40B4-BE49-F238E27FC236}">
                  <a16:creationId xmlns:a16="http://schemas.microsoft.com/office/drawing/2014/main" id="{6EF15B66-54F2-4396-B9F9-851705AA918F}"/>
                </a:ext>
              </a:extLst>
            </p:cNvPr>
            <p:cNvSpPr>
              <a:spLocks/>
            </p:cNvSpPr>
            <p:nvPr/>
          </p:nvSpPr>
          <p:spPr bwMode="auto">
            <a:xfrm>
              <a:off x="2968626" y="3529013"/>
              <a:ext cx="77788" cy="41275"/>
            </a:xfrm>
            <a:custGeom>
              <a:avLst/>
              <a:gdLst>
                <a:gd name="T0" fmla="*/ 0 w 15"/>
                <a:gd name="T1" fmla="*/ 2 h 8"/>
                <a:gd name="T2" fmla="*/ 0 w 15"/>
                <a:gd name="T3" fmla="*/ 2 h 8"/>
                <a:gd name="T4" fmla="*/ 3 w 15"/>
                <a:gd name="T5" fmla="*/ 0 h 8"/>
                <a:gd name="T6" fmla="*/ 13 w 15"/>
                <a:gd name="T7" fmla="*/ 3 h 8"/>
                <a:gd name="T8" fmla="*/ 15 w 15"/>
                <a:gd name="T9" fmla="*/ 6 h 8"/>
                <a:gd name="T10" fmla="*/ 15 w 15"/>
                <a:gd name="T11" fmla="*/ 6 h 8"/>
                <a:gd name="T12" fmla="*/ 12 w 15"/>
                <a:gd name="T13" fmla="*/ 8 h 8"/>
                <a:gd name="T14" fmla="*/ 2 w 15"/>
                <a:gd name="T15" fmla="*/ 5 h 8"/>
                <a:gd name="T16" fmla="*/ 0 w 15"/>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8">
                  <a:moveTo>
                    <a:pt x="0" y="2"/>
                  </a:moveTo>
                  <a:cubicBezTo>
                    <a:pt x="0" y="2"/>
                    <a:pt x="0" y="2"/>
                    <a:pt x="0" y="2"/>
                  </a:cubicBezTo>
                  <a:cubicBezTo>
                    <a:pt x="1" y="1"/>
                    <a:pt x="2" y="0"/>
                    <a:pt x="3" y="0"/>
                  </a:cubicBezTo>
                  <a:cubicBezTo>
                    <a:pt x="13" y="3"/>
                    <a:pt x="13" y="3"/>
                    <a:pt x="13" y="3"/>
                  </a:cubicBezTo>
                  <a:cubicBezTo>
                    <a:pt x="15" y="3"/>
                    <a:pt x="15" y="5"/>
                    <a:pt x="15" y="6"/>
                  </a:cubicBezTo>
                  <a:cubicBezTo>
                    <a:pt x="15" y="6"/>
                    <a:pt x="15" y="6"/>
                    <a:pt x="15" y="6"/>
                  </a:cubicBezTo>
                  <a:cubicBezTo>
                    <a:pt x="15" y="7"/>
                    <a:pt x="13" y="8"/>
                    <a:pt x="12" y="8"/>
                  </a:cubicBezTo>
                  <a:cubicBezTo>
                    <a:pt x="2" y="5"/>
                    <a:pt x="2" y="5"/>
                    <a:pt x="2" y="5"/>
                  </a:cubicBezTo>
                  <a:cubicBezTo>
                    <a:pt x="1" y="5"/>
                    <a:pt x="0" y="3"/>
                    <a:pt x="0" y="2"/>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69">
              <a:extLst>
                <a:ext uri="{FF2B5EF4-FFF2-40B4-BE49-F238E27FC236}">
                  <a16:creationId xmlns:a16="http://schemas.microsoft.com/office/drawing/2014/main" id="{1F4E64E1-EEAB-4AE4-B55C-3B2E01B19965}"/>
                </a:ext>
              </a:extLst>
            </p:cNvPr>
            <p:cNvSpPr>
              <a:spLocks/>
            </p:cNvSpPr>
            <p:nvPr/>
          </p:nvSpPr>
          <p:spPr bwMode="auto">
            <a:xfrm>
              <a:off x="2974976" y="3508375"/>
              <a:ext cx="76200" cy="41275"/>
            </a:xfrm>
            <a:custGeom>
              <a:avLst/>
              <a:gdLst>
                <a:gd name="T0" fmla="*/ 0 w 15"/>
                <a:gd name="T1" fmla="*/ 2 h 8"/>
                <a:gd name="T2" fmla="*/ 0 w 15"/>
                <a:gd name="T3" fmla="*/ 2 h 8"/>
                <a:gd name="T4" fmla="*/ 3 w 15"/>
                <a:gd name="T5" fmla="*/ 0 h 8"/>
                <a:gd name="T6" fmla="*/ 13 w 15"/>
                <a:gd name="T7" fmla="*/ 3 h 8"/>
                <a:gd name="T8" fmla="*/ 15 w 15"/>
                <a:gd name="T9" fmla="*/ 6 h 8"/>
                <a:gd name="T10" fmla="*/ 15 w 15"/>
                <a:gd name="T11" fmla="*/ 6 h 8"/>
                <a:gd name="T12" fmla="*/ 12 w 15"/>
                <a:gd name="T13" fmla="*/ 7 h 8"/>
                <a:gd name="T14" fmla="*/ 2 w 15"/>
                <a:gd name="T15" fmla="*/ 5 h 8"/>
                <a:gd name="T16" fmla="*/ 0 w 15"/>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8">
                  <a:moveTo>
                    <a:pt x="0" y="2"/>
                  </a:moveTo>
                  <a:cubicBezTo>
                    <a:pt x="0" y="2"/>
                    <a:pt x="0" y="2"/>
                    <a:pt x="0" y="2"/>
                  </a:cubicBezTo>
                  <a:cubicBezTo>
                    <a:pt x="1" y="0"/>
                    <a:pt x="2" y="0"/>
                    <a:pt x="3" y="0"/>
                  </a:cubicBezTo>
                  <a:cubicBezTo>
                    <a:pt x="13" y="3"/>
                    <a:pt x="13" y="3"/>
                    <a:pt x="13" y="3"/>
                  </a:cubicBezTo>
                  <a:cubicBezTo>
                    <a:pt x="15" y="3"/>
                    <a:pt x="15" y="4"/>
                    <a:pt x="15" y="6"/>
                  </a:cubicBezTo>
                  <a:cubicBezTo>
                    <a:pt x="15" y="6"/>
                    <a:pt x="15" y="6"/>
                    <a:pt x="15" y="6"/>
                  </a:cubicBezTo>
                  <a:cubicBezTo>
                    <a:pt x="15" y="7"/>
                    <a:pt x="13" y="8"/>
                    <a:pt x="12" y="7"/>
                  </a:cubicBezTo>
                  <a:cubicBezTo>
                    <a:pt x="2" y="5"/>
                    <a:pt x="2" y="5"/>
                    <a:pt x="2" y="5"/>
                  </a:cubicBezTo>
                  <a:cubicBezTo>
                    <a:pt x="1" y="4"/>
                    <a:pt x="0" y="3"/>
                    <a:pt x="0" y="2"/>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70">
              <a:extLst>
                <a:ext uri="{FF2B5EF4-FFF2-40B4-BE49-F238E27FC236}">
                  <a16:creationId xmlns:a16="http://schemas.microsoft.com/office/drawing/2014/main" id="{EBE7E523-327E-4087-826B-40FADC8DFFC8}"/>
                </a:ext>
              </a:extLst>
            </p:cNvPr>
            <p:cNvSpPr>
              <a:spLocks/>
            </p:cNvSpPr>
            <p:nvPr/>
          </p:nvSpPr>
          <p:spPr bwMode="auto">
            <a:xfrm>
              <a:off x="2979738" y="3482975"/>
              <a:ext cx="80963" cy="46038"/>
            </a:xfrm>
            <a:custGeom>
              <a:avLst/>
              <a:gdLst>
                <a:gd name="T0" fmla="*/ 1 w 16"/>
                <a:gd name="T1" fmla="*/ 2 h 9"/>
                <a:gd name="T2" fmla="*/ 1 w 16"/>
                <a:gd name="T3" fmla="*/ 2 h 9"/>
                <a:gd name="T4" fmla="*/ 4 w 16"/>
                <a:gd name="T5" fmla="*/ 1 h 9"/>
                <a:gd name="T6" fmla="*/ 14 w 16"/>
                <a:gd name="T7" fmla="*/ 3 h 9"/>
                <a:gd name="T8" fmla="*/ 16 w 16"/>
                <a:gd name="T9" fmla="*/ 7 h 9"/>
                <a:gd name="T10" fmla="*/ 16 w 16"/>
                <a:gd name="T11" fmla="*/ 7 h 9"/>
                <a:gd name="T12" fmla="*/ 13 w 16"/>
                <a:gd name="T13" fmla="*/ 8 h 9"/>
                <a:gd name="T14" fmla="*/ 2 w 16"/>
                <a:gd name="T15" fmla="*/ 5 h 9"/>
                <a:gd name="T16" fmla="*/ 1 w 16"/>
                <a:gd name="T1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1" y="2"/>
                  </a:moveTo>
                  <a:cubicBezTo>
                    <a:pt x="1" y="2"/>
                    <a:pt x="1" y="2"/>
                    <a:pt x="1" y="2"/>
                  </a:cubicBezTo>
                  <a:cubicBezTo>
                    <a:pt x="1" y="1"/>
                    <a:pt x="2" y="0"/>
                    <a:pt x="4" y="1"/>
                  </a:cubicBezTo>
                  <a:cubicBezTo>
                    <a:pt x="14" y="3"/>
                    <a:pt x="14" y="3"/>
                    <a:pt x="14" y="3"/>
                  </a:cubicBezTo>
                  <a:cubicBezTo>
                    <a:pt x="15" y="4"/>
                    <a:pt x="16" y="5"/>
                    <a:pt x="16" y="7"/>
                  </a:cubicBezTo>
                  <a:cubicBezTo>
                    <a:pt x="16" y="7"/>
                    <a:pt x="16" y="7"/>
                    <a:pt x="16" y="7"/>
                  </a:cubicBezTo>
                  <a:cubicBezTo>
                    <a:pt x="15" y="8"/>
                    <a:pt x="14" y="9"/>
                    <a:pt x="13" y="8"/>
                  </a:cubicBezTo>
                  <a:cubicBezTo>
                    <a:pt x="2" y="5"/>
                    <a:pt x="2" y="5"/>
                    <a:pt x="2" y="5"/>
                  </a:cubicBezTo>
                  <a:cubicBezTo>
                    <a:pt x="1" y="5"/>
                    <a:pt x="0" y="4"/>
                    <a:pt x="1" y="2"/>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71">
              <a:extLst>
                <a:ext uri="{FF2B5EF4-FFF2-40B4-BE49-F238E27FC236}">
                  <a16:creationId xmlns:a16="http://schemas.microsoft.com/office/drawing/2014/main" id="{8AB954EB-B3D4-45A0-A2DF-27B916C8942C}"/>
                </a:ext>
              </a:extLst>
            </p:cNvPr>
            <p:cNvSpPr>
              <a:spLocks/>
            </p:cNvSpPr>
            <p:nvPr/>
          </p:nvSpPr>
          <p:spPr bwMode="auto">
            <a:xfrm>
              <a:off x="2974976" y="3487738"/>
              <a:ext cx="177800" cy="133350"/>
            </a:xfrm>
            <a:custGeom>
              <a:avLst/>
              <a:gdLst>
                <a:gd name="T0" fmla="*/ 35 w 35"/>
                <a:gd name="T1" fmla="*/ 13 h 26"/>
                <a:gd name="T2" fmla="*/ 20 w 35"/>
                <a:gd name="T3" fmla="*/ 2 h 26"/>
                <a:gd name="T4" fmla="*/ 4 w 35"/>
                <a:gd name="T5" fmla="*/ 0 h 26"/>
                <a:gd name="T6" fmla="*/ 5 w 35"/>
                <a:gd name="T7" fmla="*/ 8 h 26"/>
                <a:gd name="T8" fmla="*/ 0 w 35"/>
                <a:gd name="T9" fmla="*/ 18 h 26"/>
                <a:gd name="T10" fmla="*/ 15 w 35"/>
                <a:gd name="T11" fmla="*/ 23 h 26"/>
                <a:gd name="T12" fmla="*/ 27 w 35"/>
                <a:gd name="T13" fmla="*/ 26 h 26"/>
                <a:gd name="T14" fmla="*/ 35 w 35"/>
                <a:gd name="T15" fmla="*/ 13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6">
                  <a:moveTo>
                    <a:pt x="35" y="13"/>
                  </a:moveTo>
                  <a:cubicBezTo>
                    <a:pt x="35" y="13"/>
                    <a:pt x="23" y="3"/>
                    <a:pt x="20" y="2"/>
                  </a:cubicBezTo>
                  <a:cubicBezTo>
                    <a:pt x="17" y="1"/>
                    <a:pt x="4" y="0"/>
                    <a:pt x="4" y="0"/>
                  </a:cubicBezTo>
                  <a:cubicBezTo>
                    <a:pt x="4" y="0"/>
                    <a:pt x="6" y="5"/>
                    <a:pt x="5" y="8"/>
                  </a:cubicBezTo>
                  <a:cubicBezTo>
                    <a:pt x="4" y="11"/>
                    <a:pt x="0" y="18"/>
                    <a:pt x="0" y="18"/>
                  </a:cubicBezTo>
                  <a:cubicBezTo>
                    <a:pt x="0" y="18"/>
                    <a:pt x="10" y="22"/>
                    <a:pt x="15" y="23"/>
                  </a:cubicBezTo>
                  <a:cubicBezTo>
                    <a:pt x="23" y="25"/>
                    <a:pt x="27" y="26"/>
                    <a:pt x="27" y="26"/>
                  </a:cubicBezTo>
                  <a:cubicBezTo>
                    <a:pt x="35" y="13"/>
                    <a:pt x="35" y="13"/>
                    <a:pt x="35" y="13"/>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72">
              <a:extLst>
                <a:ext uri="{FF2B5EF4-FFF2-40B4-BE49-F238E27FC236}">
                  <a16:creationId xmlns:a16="http://schemas.microsoft.com/office/drawing/2014/main" id="{0F143AB5-5FC1-4136-912D-F6A0015D09E5}"/>
                </a:ext>
              </a:extLst>
            </p:cNvPr>
            <p:cNvSpPr>
              <a:spLocks/>
            </p:cNvSpPr>
            <p:nvPr/>
          </p:nvSpPr>
          <p:spPr bwMode="auto">
            <a:xfrm>
              <a:off x="2236788" y="3270250"/>
              <a:ext cx="350838" cy="122238"/>
            </a:xfrm>
            <a:custGeom>
              <a:avLst/>
              <a:gdLst>
                <a:gd name="T0" fmla="*/ 69 w 69"/>
                <a:gd name="T1" fmla="*/ 13 h 24"/>
                <a:gd name="T2" fmla="*/ 54 w 69"/>
                <a:gd name="T3" fmla="*/ 0 h 24"/>
                <a:gd name="T4" fmla="*/ 35 w 69"/>
                <a:gd name="T5" fmla="*/ 10 h 24"/>
                <a:gd name="T6" fmla="*/ 6 w 69"/>
                <a:gd name="T7" fmla="*/ 14 h 24"/>
                <a:gd name="T8" fmla="*/ 3 w 69"/>
                <a:gd name="T9" fmla="*/ 21 h 24"/>
                <a:gd name="T10" fmla="*/ 32 w 69"/>
                <a:gd name="T11" fmla="*/ 22 h 24"/>
                <a:gd name="T12" fmla="*/ 61 w 69"/>
                <a:gd name="T13" fmla="*/ 23 h 24"/>
                <a:gd name="T14" fmla="*/ 69 w 69"/>
                <a:gd name="T15" fmla="*/ 1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24">
                  <a:moveTo>
                    <a:pt x="69" y="13"/>
                  </a:moveTo>
                  <a:cubicBezTo>
                    <a:pt x="69" y="13"/>
                    <a:pt x="63" y="0"/>
                    <a:pt x="54" y="0"/>
                  </a:cubicBezTo>
                  <a:cubicBezTo>
                    <a:pt x="45" y="0"/>
                    <a:pt x="37" y="9"/>
                    <a:pt x="35" y="10"/>
                  </a:cubicBezTo>
                  <a:cubicBezTo>
                    <a:pt x="26" y="16"/>
                    <a:pt x="12" y="12"/>
                    <a:pt x="6" y="14"/>
                  </a:cubicBezTo>
                  <a:cubicBezTo>
                    <a:pt x="0" y="17"/>
                    <a:pt x="1" y="21"/>
                    <a:pt x="3" y="21"/>
                  </a:cubicBezTo>
                  <a:cubicBezTo>
                    <a:pt x="17" y="20"/>
                    <a:pt x="26" y="24"/>
                    <a:pt x="32" y="22"/>
                  </a:cubicBezTo>
                  <a:cubicBezTo>
                    <a:pt x="38" y="21"/>
                    <a:pt x="61" y="23"/>
                    <a:pt x="61" y="23"/>
                  </a:cubicBezTo>
                  <a:cubicBezTo>
                    <a:pt x="69" y="13"/>
                    <a:pt x="69" y="13"/>
                    <a:pt x="69" y="13"/>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73">
              <a:extLst>
                <a:ext uri="{FF2B5EF4-FFF2-40B4-BE49-F238E27FC236}">
                  <a16:creationId xmlns:a16="http://schemas.microsoft.com/office/drawing/2014/main" id="{C57D3E9D-2586-4D0B-932F-A9A90C8AC3F9}"/>
                </a:ext>
              </a:extLst>
            </p:cNvPr>
            <p:cNvSpPr>
              <a:spLocks/>
            </p:cNvSpPr>
            <p:nvPr/>
          </p:nvSpPr>
          <p:spPr bwMode="auto">
            <a:xfrm>
              <a:off x="2379663" y="3254375"/>
              <a:ext cx="177800" cy="87313"/>
            </a:xfrm>
            <a:custGeom>
              <a:avLst/>
              <a:gdLst>
                <a:gd name="T0" fmla="*/ 35 w 35"/>
                <a:gd name="T1" fmla="*/ 8 h 17"/>
                <a:gd name="T2" fmla="*/ 22 w 35"/>
                <a:gd name="T3" fmla="*/ 0 h 17"/>
                <a:gd name="T4" fmla="*/ 5 w 35"/>
                <a:gd name="T5" fmla="*/ 6 h 17"/>
                <a:gd name="T6" fmla="*/ 2 w 35"/>
                <a:gd name="T7" fmla="*/ 9 h 17"/>
                <a:gd name="T8" fmla="*/ 12 w 35"/>
                <a:gd name="T9" fmla="*/ 10 h 17"/>
                <a:gd name="T10" fmla="*/ 35 w 35"/>
                <a:gd name="T11" fmla="*/ 8 h 17"/>
              </a:gdLst>
              <a:ahLst/>
              <a:cxnLst>
                <a:cxn ang="0">
                  <a:pos x="T0" y="T1"/>
                </a:cxn>
                <a:cxn ang="0">
                  <a:pos x="T2" y="T3"/>
                </a:cxn>
                <a:cxn ang="0">
                  <a:pos x="T4" y="T5"/>
                </a:cxn>
                <a:cxn ang="0">
                  <a:pos x="T6" y="T7"/>
                </a:cxn>
                <a:cxn ang="0">
                  <a:pos x="T8" y="T9"/>
                </a:cxn>
                <a:cxn ang="0">
                  <a:pos x="T10" y="T11"/>
                </a:cxn>
              </a:cxnLst>
              <a:rect l="0" t="0" r="r" b="b"/>
              <a:pathLst>
                <a:path w="35" h="17">
                  <a:moveTo>
                    <a:pt x="35" y="8"/>
                  </a:moveTo>
                  <a:cubicBezTo>
                    <a:pt x="35" y="8"/>
                    <a:pt x="28" y="1"/>
                    <a:pt x="22" y="0"/>
                  </a:cubicBezTo>
                  <a:cubicBezTo>
                    <a:pt x="16" y="0"/>
                    <a:pt x="10" y="6"/>
                    <a:pt x="5" y="6"/>
                  </a:cubicBezTo>
                  <a:cubicBezTo>
                    <a:pt x="0" y="6"/>
                    <a:pt x="2" y="9"/>
                    <a:pt x="2" y="9"/>
                  </a:cubicBezTo>
                  <a:cubicBezTo>
                    <a:pt x="3" y="10"/>
                    <a:pt x="9" y="10"/>
                    <a:pt x="12" y="10"/>
                  </a:cubicBezTo>
                  <a:cubicBezTo>
                    <a:pt x="15" y="10"/>
                    <a:pt x="27" y="17"/>
                    <a:pt x="35" y="8"/>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74">
              <a:extLst>
                <a:ext uri="{FF2B5EF4-FFF2-40B4-BE49-F238E27FC236}">
                  <a16:creationId xmlns:a16="http://schemas.microsoft.com/office/drawing/2014/main" id="{2A1ED8FB-76FA-4554-925A-202322A952F7}"/>
                </a:ext>
              </a:extLst>
            </p:cNvPr>
            <p:cNvSpPr>
              <a:spLocks/>
            </p:cNvSpPr>
            <p:nvPr/>
          </p:nvSpPr>
          <p:spPr bwMode="auto">
            <a:xfrm>
              <a:off x="1427163" y="3067050"/>
              <a:ext cx="401638" cy="655638"/>
            </a:xfrm>
            <a:custGeom>
              <a:avLst/>
              <a:gdLst>
                <a:gd name="T0" fmla="*/ 16 w 79"/>
                <a:gd name="T1" fmla="*/ 120 h 129"/>
                <a:gd name="T2" fmla="*/ 56 w 79"/>
                <a:gd name="T3" fmla="*/ 78 h 129"/>
                <a:gd name="T4" fmla="*/ 79 w 79"/>
                <a:gd name="T5" fmla="*/ 9 h 129"/>
                <a:gd name="T6" fmla="*/ 61 w 79"/>
                <a:gd name="T7" fmla="*/ 0 h 129"/>
                <a:gd name="T8" fmla="*/ 8 w 79"/>
                <a:gd name="T9" fmla="*/ 85 h 129"/>
                <a:gd name="T10" fmla="*/ 16 w 79"/>
                <a:gd name="T11" fmla="*/ 120 h 129"/>
              </a:gdLst>
              <a:ahLst/>
              <a:cxnLst>
                <a:cxn ang="0">
                  <a:pos x="T0" y="T1"/>
                </a:cxn>
                <a:cxn ang="0">
                  <a:pos x="T2" y="T3"/>
                </a:cxn>
                <a:cxn ang="0">
                  <a:pos x="T4" y="T5"/>
                </a:cxn>
                <a:cxn ang="0">
                  <a:pos x="T6" y="T7"/>
                </a:cxn>
                <a:cxn ang="0">
                  <a:pos x="T8" y="T9"/>
                </a:cxn>
                <a:cxn ang="0">
                  <a:pos x="T10" y="T11"/>
                </a:cxn>
              </a:cxnLst>
              <a:rect l="0" t="0" r="r" b="b"/>
              <a:pathLst>
                <a:path w="79" h="129">
                  <a:moveTo>
                    <a:pt x="16" y="120"/>
                  </a:moveTo>
                  <a:cubicBezTo>
                    <a:pt x="32" y="129"/>
                    <a:pt x="49" y="95"/>
                    <a:pt x="56" y="78"/>
                  </a:cubicBezTo>
                  <a:cubicBezTo>
                    <a:pt x="63" y="61"/>
                    <a:pt x="79" y="9"/>
                    <a:pt x="79" y="9"/>
                  </a:cubicBezTo>
                  <a:cubicBezTo>
                    <a:pt x="61" y="0"/>
                    <a:pt x="61" y="0"/>
                    <a:pt x="61" y="0"/>
                  </a:cubicBezTo>
                  <a:cubicBezTo>
                    <a:pt x="61" y="0"/>
                    <a:pt x="30" y="39"/>
                    <a:pt x="8" y="85"/>
                  </a:cubicBezTo>
                  <a:cubicBezTo>
                    <a:pt x="5" y="90"/>
                    <a:pt x="0" y="110"/>
                    <a:pt x="16" y="120"/>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75">
              <a:extLst>
                <a:ext uri="{FF2B5EF4-FFF2-40B4-BE49-F238E27FC236}">
                  <a16:creationId xmlns:a16="http://schemas.microsoft.com/office/drawing/2014/main" id="{B6D31711-8AE5-4473-A68C-ED0E5E93AE55}"/>
                </a:ext>
              </a:extLst>
            </p:cNvPr>
            <p:cNvSpPr>
              <a:spLocks/>
            </p:cNvSpPr>
            <p:nvPr/>
          </p:nvSpPr>
          <p:spPr bwMode="auto">
            <a:xfrm>
              <a:off x="449263" y="6086475"/>
              <a:ext cx="269875" cy="228600"/>
            </a:xfrm>
            <a:custGeom>
              <a:avLst/>
              <a:gdLst>
                <a:gd name="T0" fmla="*/ 41 w 53"/>
                <a:gd name="T1" fmla="*/ 8 h 45"/>
                <a:gd name="T2" fmla="*/ 51 w 53"/>
                <a:gd name="T3" fmla="*/ 34 h 45"/>
                <a:gd name="T4" fmla="*/ 29 w 53"/>
                <a:gd name="T5" fmla="*/ 43 h 45"/>
                <a:gd name="T6" fmla="*/ 5 w 53"/>
                <a:gd name="T7" fmla="*/ 29 h 45"/>
                <a:gd name="T8" fmla="*/ 6 w 53"/>
                <a:gd name="T9" fmla="*/ 0 h 45"/>
                <a:gd name="T10" fmla="*/ 41 w 53"/>
                <a:gd name="T11" fmla="*/ 8 h 45"/>
              </a:gdLst>
              <a:ahLst/>
              <a:cxnLst>
                <a:cxn ang="0">
                  <a:pos x="T0" y="T1"/>
                </a:cxn>
                <a:cxn ang="0">
                  <a:pos x="T2" y="T3"/>
                </a:cxn>
                <a:cxn ang="0">
                  <a:pos x="T4" y="T5"/>
                </a:cxn>
                <a:cxn ang="0">
                  <a:pos x="T6" y="T7"/>
                </a:cxn>
                <a:cxn ang="0">
                  <a:pos x="T8" y="T9"/>
                </a:cxn>
                <a:cxn ang="0">
                  <a:pos x="T10" y="T11"/>
                </a:cxn>
              </a:cxnLst>
              <a:rect l="0" t="0" r="r" b="b"/>
              <a:pathLst>
                <a:path w="53" h="45">
                  <a:moveTo>
                    <a:pt x="41" y="8"/>
                  </a:moveTo>
                  <a:cubicBezTo>
                    <a:pt x="41" y="8"/>
                    <a:pt x="53" y="29"/>
                    <a:pt x="51" y="34"/>
                  </a:cubicBezTo>
                  <a:cubicBezTo>
                    <a:pt x="50" y="36"/>
                    <a:pt x="41" y="45"/>
                    <a:pt x="29" y="43"/>
                  </a:cubicBezTo>
                  <a:cubicBezTo>
                    <a:pt x="20" y="41"/>
                    <a:pt x="8" y="30"/>
                    <a:pt x="5" y="29"/>
                  </a:cubicBezTo>
                  <a:cubicBezTo>
                    <a:pt x="0" y="28"/>
                    <a:pt x="6" y="0"/>
                    <a:pt x="6" y="0"/>
                  </a:cubicBezTo>
                  <a:cubicBezTo>
                    <a:pt x="41" y="8"/>
                    <a:pt x="41" y="8"/>
                    <a:pt x="41" y="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Freeform 76">
              <a:extLst>
                <a:ext uri="{FF2B5EF4-FFF2-40B4-BE49-F238E27FC236}">
                  <a16:creationId xmlns:a16="http://schemas.microsoft.com/office/drawing/2014/main" id="{6405F6AB-56E4-4C6E-A372-CC25175F3D92}"/>
                </a:ext>
              </a:extLst>
            </p:cNvPr>
            <p:cNvSpPr>
              <a:spLocks/>
            </p:cNvSpPr>
            <p:nvPr/>
          </p:nvSpPr>
          <p:spPr bwMode="auto">
            <a:xfrm>
              <a:off x="993776" y="3097213"/>
              <a:ext cx="622300" cy="579438"/>
            </a:xfrm>
            <a:custGeom>
              <a:avLst/>
              <a:gdLst>
                <a:gd name="T0" fmla="*/ 13 w 122"/>
                <a:gd name="T1" fmla="*/ 12 h 114"/>
                <a:gd name="T2" fmla="*/ 15 w 122"/>
                <a:gd name="T3" fmla="*/ 49 h 114"/>
                <a:gd name="T4" fmla="*/ 100 w 122"/>
                <a:gd name="T5" fmla="*/ 113 h 114"/>
                <a:gd name="T6" fmla="*/ 120 w 122"/>
                <a:gd name="T7" fmla="*/ 89 h 114"/>
                <a:gd name="T8" fmla="*/ 55 w 122"/>
                <a:gd name="T9" fmla="*/ 20 h 114"/>
                <a:gd name="T10" fmla="*/ 13 w 122"/>
                <a:gd name="T11" fmla="*/ 12 h 114"/>
              </a:gdLst>
              <a:ahLst/>
              <a:cxnLst>
                <a:cxn ang="0">
                  <a:pos x="T0" y="T1"/>
                </a:cxn>
                <a:cxn ang="0">
                  <a:pos x="T2" y="T3"/>
                </a:cxn>
                <a:cxn ang="0">
                  <a:pos x="T4" y="T5"/>
                </a:cxn>
                <a:cxn ang="0">
                  <a:pos x="T6" y="T7"/>
                </a:cxn>
                <a:cxn ang="0">
                  <a:pos x="T8" y="T9"/>
                </a:cxn>
                <a:cxn ang="0">
                  <a:pos x="T10" y="T11"/>
                </a:cxn>
              </a:cxnLst>
              <a:rect l="0" t="0" r="r" b="b"/>
              <a:pathLst>
                <a:path w="122" h="114">
                  <a:moveTo>
                    <a:pt x="13" y="12"/>
                  </a:moveTo>
                  <a:cubicBezTo>
                    <a:pt x="0" y="23"/>
                    <a:pt x="4" y="37"/>
                    <a:pt x="15" y="49"/>
                  </a:cubicBezTo>
                  <a:cubicBezTo>
                    <a:pt x="26" y="62"/>
                    <a:pt x="95" y="114"/>
                    <a:pt x="100" y="113"/>
                  </a:cubicBezTo>
                  <a:cubicBezTo>
                    <a:pt x="105" y="113"/>
                    <a:pt x="122" y="96"/>
                    <a:pt x="120" y="89"/>
                  </a:cubicBezTo>
                  <a:cubicBezTo>
                    <a:pt x="117" y="82"/>
                    <a:pt x="66" y="28"/>
                    <a:pt x="55" y="20"/>
                  </a:cubicBezTo>
                  <a:cubicBezTo>
                    <a:pt x="44" y="11"/>
                    <a:pt x="29" y="0"/>
                    <a:pt x="13" y="12"/>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77">
              <a:extLst>
                <a:ext uri="{FF2B5EF4-FFF2-40B4-BE49-F238E27FC236}">
                  <a16:creationId xmlns:a16="http://schemas.microsoft.com/office/drawing/2014/main" id="{15751AF6-F1B7-470E-8EDC-8581F2A56C4B}"/>
                </a:ext>
              </a:extLst>
            </p:cNvPr>
            <p:cNvSpPr>
              <a:spLocks/>
            </p:cNvSpPr>
            <p:nvPr/>
          </p:nvSpPr>
          <p:spPr bwMode="auto">
            <a:xfrm>
              <a:off x="1030288" y="3132138"/>
              <a:ext cx="482600" cy="468313"/>
            </a:xfrm>
            <a:custGeom>
              <a:avLst/>
              <a:gdLst>
                <a:gd name="T0" fmla="*/ 20 w 95"/>
                <a:gd name="T1" fmla="*/ 0 h 92"/>
                <a:gd name="T2" fmla="*/ 60 w 95"/>
                <a:gd name="T3" fmla="*/ 19 h 92"/>
                <a:gd name="T4" fmla="*/ 95 w 95"/>
                <a:gd name="T5" fmla="*/ 55 h 92"/>
                <a:gd name="T6" fmla="*/ 80 w 95"/>
                <a:gd name="T7" fmla="*/ 78 h 92"/>
                <a:gd name="T8" fmla="*/ 54 w 95"/>
                <a:gd name="T9" fmla="*/ 92 h 92"/>
                <a:gd name="T10" fmla="*/ 2 w 95"/>
                <a:gd name="T11" fmla="*/ 29 h 92"/>
                <a:gd name="T12" fmla="*/ 20 w 95"/>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95" h="92">
                  <a:moveTo>
                    <a:pt x="20" y="0"/>
                  </a:moveTo>
                  <a:cubicBezTo>
                    <a:pt x="26" y="0"/>
                    <a:pt x="42" y="1"/>
                    <a:pt x="60" y="19"/>
                  </a:cubicBezTo>
                  <a:cubicBezTo>
                    <a:pt x="72" y="32"/>
                    <a:pt x="95" y="55"/>
                    <a:pt x="95" y="55"/>
                  </a:cubicBezTo>
                  <a:cubicBezTo>
                    <a:pt x="95" y="55"/>
                    <a:pt x="91" y="68"/>
                    <a:pt x="80" y="78"/>
                  </a:cubicBezTo>
                  <a:cubicBezTo>
                    <a:pt x="66" y="90"/>
                    <a:pt x="54" y="92"/>
                    <a:pt x="54" y="92"/>
                  </a:cubicBezTo>
                  <a:cubicBezTo>
                    <a:pt x="54" y="92"/>
                    <a:pt x="5" y="43"/>
                    <a:pt x="2" y="29"/>
                  </a:cubicBezTo>
                  <a:cubicBezTo>
                    <a:pt x="0" y="25"/>
                    <a:pt x="2" y="1"/>
                    <a:pt x="20" y="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78">
              <a:extLst>
                <a:ext uri="{FF2B5EF4-FFF2-40B4-BE49-F238E27FC236}">
                  <a16:creationId xmlns:a16="http://schemas.microsoft.com/office/drawing/2014/main" id="{2C8C1A8E-5F7F-4F76-95F2-FF635094353E}"/>
                </a:ext>
              </a:extLst>
            </p:cNvPr>
            <p:cNvSpPr>
              <a:spLocks/>
            </p:cNvSpPr>
            <p:nvPr/>
          </p:nvSpPr>
          <p:spPr bwMode="auto">
            <a:xfrm>
              <a:off x="603251" y="2806700"/>
              <a:ext cx="727075" cy="1597025"/>
            </a:xfrm>
            <a:custGeom>
              <a:avLst/>
              <a:gdLst>
                <a:gd name="T0" fmla="*/ 58 w 143"/>
                <a:gd name="T1" fmla="*/ 0 h 314"/>
                <a:gd name="T2" fmla="*/ 53 w 143"/>
                <a:gd name="T3" fmla="*/ 50 h 314"/>
                <a:gd name="T4" fmla="*/ 7 w 143"/>
                <a:gd name="T5" fmla="*/ 77 h 314"/>
                <a:gd name="T6" fmla="*/ 44 w 143"/>
                <a:gd name="T7" fmla="*/ 184 h 314"/>
                <a:gd name="T8" fmla="*/ 35 w 143"/>
                <a:gd name="T9" fmla="*/ 264 h 314"/>
                <a:gd name="T10" fmla="*/ 104 w 143"/>
                <a:gd name="T11" fmla="*/ 314 h 314"/>
                <a:gd name="T12" fmla="*/ 134 w 143"/>
                <a:gd name="T13" fmla="*/ 286 h 314"/>
                <a:gd name="T14" fmla="*/ 134 w 143"/>
                <a:gd name="T15" fmla="*/ 206 h 314"/>
                <a:gd name="T16" fmla="*/ 138 w 143"/>
                <a:gd name="T17" fmla="*/ 137 h 314"/>
                <a:gd name="T18" fmla="*/ 136 w 143"/>
                <a:gd name="T19" fmla="*/ 92 h 314"/>
                <a:gd name="T20" fmla="*/ 133 w 143"/>
                <a:gd name="T21" fmla="*/ 76 h 314"/>
                <a:gd name="T22" fmla="*/ 102 w 143"/>
                <a:gd name="T23" fmla="*/ 59 h 314"/>
                <a:gd name="T24" fmla="*/ 98 w 143"/>
                <a:gd name="T25" fmla="*/ 14 h 314"/>
                <a:gd name="T26" fmla="*/ 58 w 143"/>
                <a:gd name="T2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3" h="314">
                  <a:moveTo>
                    <a:pt x="58" y="0"/>
                  </a:moveTo>
                  <a:cubicBezTo>
                    <a:pt x="58" y="0"/>
                    <a:pt x="56" y="48"/>
                    <a:pt x="53" y="50"/>
                  </a:cubicBezTo>
                  <a:cubicBezTo>
                    <a:pt x="45" y="58"/>
                    <a:pt x="13" y="64"/>
                    <a:pt x="7" y="77"/>
                  </a:cubicBezTo>
                  <a:cubicBezTo>
                    <a:pt x="0" y="92"/>
                    <a:pt x="39" y="161"/>
                    <a:pt x="44" y="184"/>
                  </a:cubicBezTo>
                  <a:cubicBezTo>
                    <a:pt x="49" y="207"/>
                    <a:pt x="38" y="242"/>
                    <a:pt x="35" y="264"/>
                  </a:cubicBezTo>
                  <a:cubicBezTo>
                    <a:pt x="31" y="287"/>
                    <a:pt x="102" y="314"/>
                    <a:pt x="104" y="314"/>
                  </a:cubicBezTo>
                  <a:cubicBezTo>
                    <a:pt x="107" y="314"/>
                    <a:pt x="130" y="293"/>
                    <a:pt x="134" y="286"/>
                  </a:cubicBezTo>
                  <a:cubicBezTo>
                    <a:pt x="138" y="278"/>
                    <a:pt x="134" y="221"/>
                    <a:pt x="134" y="206"/>
                  </a:cubicBezTo>
                  <a:cubicBezTo>
                    <a:pt x="134" y="192"/>
                    <a:pt x="138" y="140"/>
                    <a:pt x="138" y="137"/>
                  </a:cubicBezTo>
                  <a:cubicBezTo>
                    <a:pt x="143" y="115"/>
                    <a:pt x="137" y="97"/>
                    <a:pt x="136" y="92"/>
                  </a:cubicBezTo>
                  <a:cubicBezTo>
                    <a:pt x="135" y="87"/>
                    <a:pt x="136" y="80"/>
                    <a:pt x="133" y="76"/>
                  </a:cubicBezTo>
                  <a:cubicBezTo>
                    <a:pt x="129" y="70"/>
                    <a:pt x="102" y="62"/>
                    <a:pt x="102" y="59"/>
                  </a:cubicBezTo>
                  <a:cubicBezTo>
                    <a:pt x="101" y="56"/>
                    <a:pt x="98" y="14"/>
                    <a:pt x="98" y="14"/>
                  </a:cubicBezTo>
                  <a:cubicBezTo>
                    <a:pt x="58" y="0"/>
                    <a:pt x="58" y="0"/>
                    <a:pt x="58" y="0"/>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79">
              <a:extLst>
                <a:ext uri="{FF2B5EF4-FFF2-40B4-BE49-F238E27FC236}">
                  <a16:creationId xmlns:a16="http://schemas.microsoft.com/office/drawing/2014/main" id="{6718556E-E1AB-4A80-BB76-C1B531629D21}"/>
                </a:ext>
              </a:extLst>
            </p:cNvPr>
            <p:cNvSpPr>
              <a:spLocks/>
            </p:cNvSpPr>
            <p:nvPr/>
          </p:nvSpPr>
          <p:spPr bwMode="auto">
            <a:xfrm>
              <a:off x="617538" y="3060700"/>
              <a:ext cx="708025" cy="1022350"/>
            </a:xfrm>
            <a:custGeom>
              <a:avLst/>
              <a:gdLst>
                <a:gd name="T0" fmla="*/ 50 w 139"/>
                <a:gd name="T1" fmla="*/ 0 h 201"/>
                <a:gd name="T2" fmla="*/ 93 w 139"/>
                <a:gd name="T3" fmla="*/ 26 h 201"/>
                <a:gd name="T4" fmla="*/ 99 w 139"/>
                <a:gd name="T5" fmla="*/ 9 h 201"/>
                <a:gd name="T6" fmla="*/ 130 w 139"/>
                <a:gd name="T7" fmla="*/ 24 h 201"/>
                <a:gd name="T8" fmla="*/ 137 w 139"/>
                <a:gd name="T9" fmla="*/ 50 h 201"/>
                <a:gd name="T10" fmla="*/ 137 w 139"/>
                <a:gd name="T11" fmla="*/ 97 h 201"/>
                <a:gd name="T12" fmla="*/ 134 w 139"/>
                <a:gd name="T13" fmla="*/ 143 h 201"/>
                <a:gd name="T14" fmla="*/ 134 w 139"/>
                <a:gd name="T15" fmla="*/ 201 h 201"/>
                <a:gd name="T16" fmla="*/ 94 w 139"/>
                <a:gd name="T17" fmla="*/ 200 h 201"/>
                <a:gd name="T18" fmla="*/ 36 w 139"/>
                <a:gd name="T19" fmla="*/ 193 h 201"/>
                <a:gd name="T20" fmla="*/ 37 w 139"/>
                <a:gd name="T21" fmla="*/ 140 h 201"/>
                <a:gd name="T22" fmla="*/ 1 w 139"/>
                <a:gd name="T23" fmla="*/ 40 h 201"/>
                <a:gd name="T24" fmla="*/ 14 w 139"/>
                <a:gd name="T25" fmla="*/ 17 h 201"/>
                <a:gd name="T26" fmla="*/ 50 w 139"/>
                <a:gd name="T27"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201">
                  <a:moveTo>
                    <a:pt x="50" y="0"/>
                  </a:moveTo>
                  <a:cubicBezTo>
                    <a:pt x="93" y="26"/>
                    <a:pt x="93" y="26"/>
                    <a:pt x="93" y="26"/>
                  </a:cubicBezTo>
                  <a:cubicBezTo>
                    <a:pt x="99" y="9"/>
                    <a:pt x="99" y="9"/>
                    <a:pt x="99" y="9"/>
                  </a:cubicBezTo>
                  <a:cubicBezTo>
                    <a:pt x="99" y="9"/>
                    <a:pt x="127" y="18"/>
                    <a:pt x="130" y="24"/>
                  </a:cubicBezTo>
                  <a:cubicBezTo>
                    <a:pt x="134" y="30"/>
                    <a:pt x="136" y="46"/>
                    <a:pt x="137" y="50"/>
                  </a:cubicBezTo>
                  <a:cubicBezTo>
                    <a:pt x="138" y="55"/>
                    <a:pt x="139" y="78"/>
                    <a:pt x="137" y="97"/>
                  </a:cubicBezTo>
                  <a:cubicBezTo>
                    <a:pt x="136" y="109"/>
                    <a:pt x="136" y="124"/>
                    <a:pt x="134" y="143"/>
                  </a:cubicBezTo>
                  <a:cubicBezTo>
                    <a:pt x="133" y="159"/>
                    <a:pt x="134" y="201"/>
                    <a:pt x="134" y="201"/>
                  </a:cubicBezTo>
                  <a:cubicBezTo>
                    <a:pt x="134" y="201"/>
                    <a:pt x="118" y="201"/>
                    <a:pt x="94" y="200"/>
                  </a:cubicBezTo>
                  <a:cubicBezTo>
                    <a:pt x="66" y="199"/>
                    <a:pt x="37" y="194"/>
                    <a:pt x="36" y="193"/>
                  </a:cubicBezTo>
                  <a:cubicBezTo>
                    <a:pt x="30" y="189"/>
                    <a:pt x="38" y="145"/>
                    <a:pt x="37" y="140"/>
                  </a:cubicBezTo>
                  <a:cubicBezTo>
                    <a:pt x="36" y="135"/>
                    <a:pt x="1" y="51"/>
                    <a:pt x="1" y="40"/>
                  </a:cubicBezTo>
                  <a:cubicBezTo>
                    <a:pt x="0" y="29"/>
                    <a:pt x="6" y="21"/>
                    <a:pt x="14" y="17"/>
                  </a:cubicBezTo>
                  <a:cubicBezTo>
                    <a:pt x="22" y="13"/>
                    <a:pt x="50" y="0"/>
                    <a:pt x="50" y="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80">
              <a:extLst>
                <a:ext uri="{FF2B5EF4-FFF2-40B4-BE49-F238E27FC236}">
                  <a16:creationId xmlns:a16="http://schemas.microsoft.com/office/drawing/2014/main" id="{7E79CEB6-7E61-46B7-BB62-C6B5FAD4BA17}"/>
                </a:ext>
              </a:extLst>
            </p:cNvPr>
            <p:cNvSpPr>
              <a:spLocks/>
            </p:cNvSpPr>
            <p:nvPr/>
          </p:nvSpPr>
          <p:spPr bwMode="auto">
            <a:xfrm>
              <a:off x="571501" y="3136900"/>
              <a:ext cx="733425" cy="920750"/>
            </a:xfrm>
            <a:custGeom>
              <a:avLst/>
              <a:gdLst>
                <a:gd name="T0" fmla="*/ 27 w 144"/>
                <a:gd name="T1" fmla="*/ 0 h 181"/>
                <a:gd name="T2" fmla="*/ 27 w 144"/>
                <a:gd name="T3" fmla="*/ 37 h 181"/>
                <a:gd name="T4" fmla="*/ 106 w 144"/>
                <a:gd name="T5" fmla="*/ 63 h 181"/>
                <a:gd name="T6" fmla="*/ 81 w 144"/>
                <a:gd name="T7" fmla="*/ 166 h 181"/>
                <a:gd name="T8" fmla="*/ 76 w 144"/>
                <a:gd name="T9" fmla="*/ 181 h 181"/>
                <a:gd name="T10" fmla="*/ 40 w 144"/>
                <a:gd name="T11" fmla="*/ 177 h 181"/>
                <a:gd name="T12" fmla="*/ 41 w 144"/>
                <a:gd name="T13" fmla="*/ 113 h 181"/>
                <a:gd name="T14" fmla="*/ 10 w 144"/>
                <a:gd name="T15" fmla="*/ 25 h 181"/>
                <a:gd name="T16" fmla="*/ 27 w 144"/>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81">
                  <a:moveTo>
                    <a:pt x="27" y="0"/>
                  </a:moveTo>
                  <a:cubicBezTo>
                    <a:pt x="27" y="0"/>
                    <a:pt x="0" y="15"/>
                    <a:pt x="27" y="37"/>
                  </a:cubicBezTo>
                  <a:cubicBezTo>
                    <a:pt x="39" y="46"/>
                    <a:pt x="95" y="60"/>
                    <a:pt x="106" y="63"/>
                  </a:cubicBezTo>
                  <a:cubicBezTo>
                    <a:pt x="144" y="75"/>
                    <a:pt x="85" y="160"/>
                    <a:pt x="81" y="166"/>
                  </a:cubicBezTo>
                  <a:cubicBezTo>
                    <a:pt x="76" y="172"/>
                    <a:pt x="76" y="181"/>
                    <a:pt x="76" y="181"/>
                  </a:cubicBezTo>
                  <a:cubicBezTo>
                    <a:pt x="40" y="177"/>
                    <a:pt x="40" y="177"/>
                    <a:pt x="40" y="177"/>
                  </a:cubicBezTo>
                  <a:cubicBezTo>
                    <a:pt x="28" y="179"/>
                    <a:pt x="46" y="124"/>
                    <a:pt x="41" y="113"/>
                  </a:cubicBezTo>
                  <a:cubicBezTo>
                    <a:pt x="37" y="101"/>
                    <a:pt x="10" y="33"/>
                    <a:pt x="10" y="25"/>
                  </a:cubicBezTo>
                  <a:cubicBezTo>
                    <a:pt x="10" y="5"/>
                    <a:pt x="27" y="0"/>
                    <a:pt x="27" y="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8" name="Freeform 81">
              <a:extLst>
                <a:ext uri="{FF2B5EF4-FFF2-40B4-BE49-F238E27FC236}">
                  <a16:creationId xmlns:a16="http://schemas.microsoft.com/office/drawing/2014/main" id="{AC75ED40-38A1-4434-AF4C-4515DD45D762}"/>
                </a:ext>
              </a:extLst>
            </p:cNvPr>
            <p:cNvSpPr>
              <a:spLocks/>
            </p:cNvSpPr>
            <p:nvPr/>
          </p:nvSpPr>
          <p:spPr bwMode="auto">
            <a:xfrm>
              <a:off x="887413" y="2894013"/>
              <a:ext cx="223838" cy="173038"/>
            </a:xfrm>
            <a:custGeom>
              <a:avLst/>
              <a:gdLst>
                <a:gd name="T0" fmla="*/ 141 w 141"/>
                <a:gd name="T1" fmla="*/ 51 h 109"/>
                <a:gd name="T2" fmla="*/ 3 w 141"/>
                <a:gd name="T3" fmla="*/ 0 h 109"/>
                <a:gd name="T4" fmla="*/ 0 w 141"/>
                <a:gd name="T5" fmla="*/ 80 h 109"/>
                <a:gd name="T6" fmla="*/ 42 w 141"/>
                <a:gd name="T7" fmla="*/ 109 h 109"/>
                <a:gd name="T8" fmla="*/ 141 w 141"/>
                <a:gd name="T9" fmla="*/ 51 h 109"/>
                <a:gd name="T10" fmla="*/ 141 w 141"/>
                <a:gd name="T11" fmla="*/ 51 h 109"/>
              </a:gdLst>
              <a:ahLst/>
              <a:cxnLst>
                <a:cxn ang="0">
                  <a:pos x="T0" y="T1"/>
                </a:cxn>
                <a:cxn ang="0">
                  <a:pos x="T2" y="T3"/>
                </a:cxn>
                <a:cxn ang="0">
                  <a:pos x="T4" y="T5"/>
                </a:cxn>
                <a:cxn ang="0">
                  <a:pos x="T6" y="T7"/>
                </a:cxn>
                <a:cxn ang="0">
                  <a:pos x="T8" y="T9"/>
                </a:cxn>
                <a:cxn ang="0">
                  <a:pos x="T10" y="T11"/>
                </a:cxn>
              </a:cxnLst>
              <a:rect l="0" t="0" r="r" b="b"/>
              <a:pathLst>
                <a:path w="141" h="109">
                  <a:moveTo>
                    <a:pt x="141" y="51"/>
                  </a:moveTo>
                  <a:lnTo>
                    <a:pt x="3" y="0"/>
                  </a:lnTo>
                  <a:lnTo>
                    <a:pt x="0" y="80"/>
                  </a:lnTo>
                  <a:lnTo>
                    <a:pt x="42" y="109"/>
                  </a:lnTo>
                  <a:lnTo>
                    <a:pt x="141" y="51"/>
                  </a:lnTo>
                  <a:lnTo>
                    <a:pt x="141" y="51"/>
                  </a:lnTo>
                  <a:close/>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82">
              <a:extLst>
                <a:ext uri="{FF2B5EF4-FFF2-40B4-BE49-F238E27FC236}">
                  <a16:creationId xmlns:a16="http://schemas.microsoft.com/office/drawing/2014/main" id="{8573ED42-FA9F-4E6C-8C00-D6BADDC4725A}"/>
                </a:ext>
              </a:extLst>
            </p:cNvPr>
            <p:cNvSpPr>
              <a:spLocks/>
            </p:cNvSpPr>
            <p:nvPr/>
          </p:nvSpPr>
          <p:spPr bwMode="auto">
            <a:xfrm>
              <a:off x="785813" y="2471737"/>
              <a:ext cx="438150" cy="508000"/>
            </a:xfrm>
            <a:custGeom>
              <a:avLst/>
              <a:gdLst>
                <a:gd name="T0" fmla="*/ 73 w 86"/>
                <a:gd name="T1" fmla="*/ 17 h 100"/>
                <a:gd name="T2" fmla="*/ 15 w 86"/>
                <a:gd name="T3" fmla="*/ 21 h 100"/>
                <a:gd name="T4" fmla="*/ 17 w 86"/>
                <a:gd name="T5" fmla="*/ 75 h 100"/>
                <a:gd name="T6" fmla="*/ 43 w 86"/>
                <a:gd name="T7" fmla="*/ 96 h 100"/>
                <a:gd name="T8" fmla="*/ 74 w 86"/>
                <a:gd name="T9" fmla="*/ 98 h 100"/>
                <a:gd name="T10" fmla="*/ 79 w 86"/>
                <a:gd name="T11" fmla="*/ 73 h 100"/>
                <a:gd name="T12" fmla="*/ 83 w 86"/>
                <a:gd name="T13" fmla="*/ 70 h 100"/>
                <a:gd name="T14" fmla="*/ 80 w 86"/>
                <a:gd name="T15" fmla="*/ 49 h 100"/>
                <a:gd name="T16" fmla="*/ 73 w 86"/>
                <a:gd name="T17" fmla="*/ 1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00">
                  <a:moveTo>
                    <a:pt x="73" y="17"/>
                  </a:moveTo>
                  <a:cubicBezTo>
                    <a:pt x="62" y="7"/>
                    <a:pt x="29" y="0"/>
                    <a:pt x="15" y="21"/>
                  </a:cubicBezTo>
                  <a:cubicBezTo>
                    <a:pt x="0" y="43"/>
                    <a:pt x="8" y="63"/>
                    <a:pt x="17" y="75"/>
                  </a:cubicBezTo>
                  <a:cubicBezTo>
                    <a:pt x="23" y="85"/>
                    <a:pt x="30" y="90"/>
                    <a:pt x="43" y="96"/>
                  </a:cubicBezTo>
                  <a:cubicBezTo>
                    <a:pt x="46" y="97"/>
                    <a:pt x="69" y="100"/>
                    <a:pt x="74" y="98"/>
                  </a:cubicBezTo>
                  <a:cubicBezTo>
                    <a:pt x="77" y="97"/>
                    <a:pt x="78" y="73"/>
                    <a:pt x="79" y="73"/>
                  </a:cubicBezTo>
                  <a:cubicBezTo>
                    <a:pt x="80" y="74"/>
                    <a:pt x="83" y="72"/>
                    <a:pt x="83" y="70"/>
                  </a:cubicBezTo>
                  <a:cubicBezTo>
                    <a:pt x="83" y="67"/>
                    <a:pt x="79" y="51"/>
                    <a:pt x="80" y="49"/>
                  </a:cubicBezTo>
                  <a:cubicBezTo>
                    <a:pt x="81" y="47"/>
                    <a:pt x="86" y="28"/>
                    <a:pt x="73" y="17"/>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83">
              <a:extLst>
                <a:ext uri="{FF2B5EF4-FFF2-40B4-BE49-F238E27FC236}">
                  <a16:creationId xmlns:a16="http://schemas.microsoft.com/office/drawing/2014/main" id="{F89570B6-10A9-49BA-AD27-808A72924E3C}"/>
                </a:ext>
              </a:extLst>
            </p:cNvPr>
            <p:cNvSpPr>
              <a:spLocks/>
            </p:cNvSpPr>
            <p:nvPr/>
          </p:nvSpPr>
          <p:spPr bwMode="auto">
            <a:xfrm>
              <a:off x="785813" y="2492375"/>
              <a:ext cx="407988" cy="415925"/>
            </a:xfrm>
            <a:custGeom>
              <a:avLst/>
              <a:gdLst>
                <a:gd name="T0" fmla="*/ 80 w 80"/>
                <a:gd name="T1" fmla="*/ 23 h 82"/>
                <a:gd name="T2" fmla="*/ 40 w 80"/>
                <a:gd name="T3" fmla="*/ 35 h 82"/>
                <a:gd name="T4" fmla="*/ 44 w 80"/>
                <a:gd name="T5" fmla="*/ 59 h 82"/>
                <a:gd name="T6" fmla="*/ 27 w 80"/>
                <a:gd name="T7" fmla="*/ 48 h 82"/>
                <a:gd name="T8" fmla="*/ 25 w 80"/>
                <a:gd name="T9" fmla="*/ 82 h 82"/>
                <a:gd name="T10" fmla="*/ 8 w 80"/>
                <a:gd name="T11" fmla="*/ 28 h 82"/>
                <a:gd name="T12" fmla="*/ 49 w 80"/>
                <a:gd name="T13" fmla="*/ 1 h 82"/>
                <a:gd name="T14" fmla="*/ 80 w 80"/>
                <a:gd name="T15" fmla="*/ 23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82">
                  <a:moveTo>
                    <a:pt x="80" y="23"/>
                  </a:moveTo>
                  <a:cubicBezTo>
                    <a:pt x="80" y="23"/>
                    <a:pt x="61" y="14"/>
                    <a:pt x="40" y="35"/>
                  </a:cubicBezTo>
                  <a:cubicBezTo>
                    <a:pt x="36" y="39"/>
                    <a:pt x="45" y="57"/>
                    <a:pt x="44" y="59"/>
                  </a:cubicBezTo>
                  <a:cubicBezTo>
                    <a:pt x="43" y="61"/>
                    <a:pt x="26" y="46"/>
                    <a:pt x="27" y="48"/>
                  </a:cubicBezTo>
                  <a:cubicBezTo>
                    <a:pt x="34" y="70"/>
                    <a:pt x="27" y="82"/>
                    <a:pt x="25" y="82"/>
                  </a:cubicBezTo>
                  <a:cubicBezTo>
                    <a:pt x="20" y="82"/>
                    <a:pt x="0" y="53"/>
                    <a:pt x="8" y="28"/>
                  </a:cubicBezTo>
                  <a:cubicBezTo>
                    <a:pt x="16" y="3"/>
                    <a:pt x="42" y="0"/>
                    <a:pt x="49" y="1"/>
                  </a:cubicBezTo>
                  <a:cubicBezTo>
                    <a:pt x="55" y="2"/>
                    <a:pt x="74" y="3"/>
                    <a:pt x="80" y="23"/>
                  </a:cubicBezTo>
                  <a:close/>
                </a:path>
              </a:pathLst>
            </a:custGeom>
            <a:solidFill>
              <a:schemeClr val="tx1">
                <a:lumMod val="95000"/>
                <a:lumOff val="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1" name="Freeform 84">
              <a:extLst>
                <a:ext uri="{FF2B5EF4-FFF2-40B4-BE49-F238E27FC236}">
                  <a16:creationId xmlns:a16="http://schemas.microsoft.com/office/drawing/2014/main" id="{98F248D4-4A9D-4EDF-B4AE-480EFF1DCF56}"/>
                </a:ext>
              </a:extLst>
            </p:cNvPr>
            <p:cNvSpPr>
              <a:spLocks/>
            </p:cNvSpPr>
            <p:nvPr/>
          </p:nvSpPr>
          <p:spPr bwMode="auto">
            <a:xfrm>
              <a:off x="908051" y="2716213"/>
              <a:ext cx="85725" cy="136525"/>
            </a:xfrm>
            <a:custGeom>
              <a:avLst/>
              <a:gdLst>
                <a:gd name="T0" fmla="*/ 13 w 17"/>
                <a:gd name="T1" fmla="*/ 9 h 27"/>
                <a:gd name="T2" fmla="*/ 13 w 17"/>
                <a:gd name="T3" fmla="*/ 26 h 27"/>
                <a:gd name="T4" fmla="*/ 2 w 17"/>
                <a:gd name="T5" fmla="*/ 16 h 27"/>
                <a:gd name="T6" fmla="*/ 5 w 17"/>
                <a:gd name="T7" fmla="*/ 1 h 27"/>
                <a:gd name="T8" fmla="*/ 13 w 17"/>
                <a:gd name="T9" fmla="*/ 9 h 27"/>
              </a:gdLst>
              <a:ahLst/>
              <a:cxnLst>
                <a:cxn ang="0">
                  <a:pos x="T0" y="T1"/>
                </a:cxn>
                <a:cxn ang="0">
                  <a:pos x="T2" y="T3"/>
                </a:cxn>
                <a:cxn ang="0">
                  <a:pos x="T4" y="T5"/>
                </a:cxn>
                <a:cxn ang="0">
                  <a:pos x="T6" y="T7"/>
                </a:cxn>
                <a:cxn ang="0">
                  <a:pos x="T8" y="T9"/>
                </a:cxn>
              </a:cxnLst>
              <a:rect l="0" t="0" r="r" b="b"/>
              <a:pathLst>
                <a:path w="17" h="27">
                  <a:moveTo>
                    <a:pt x="13" y="9"/>
                  </a:moveTo>
                  <a:cubicBezTo>
                    <a:pt x="16" y="15"/>
                    <a:pt x="17" y="25"/>
                    <a:pt x="13" y="26"/>
                  </a:cubicBezTo>
                  <a:cubicBezTo>
                    <a:pt x="10" y="27"/>
                    <a:pt x="5" y="23"/>
                    <a:pt x="2" y="16"/>
                  </a:cubicBezTo>
                  <a:cubicBezTo>
                    <a:pt x="0" y="9"/>
                    <a:pt x="1" y="3"/>
                    <a:pt x="5" y="1"/>
                  </a:cubicBezTo>
                  <a:cubicBezTo>
                    <a:pt x="8" y="0"/>
                    <a:pt x="11" y="2"/>
                    <a:pt x="13" y="9"/>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85">
              <a:extLst>
                <a:ext uri="{FF2B5EF4-FFF2-40B4-BE49-F238E27FC236}">
                  <a16:creationId xmlns:a16="http://schemas.microsoft.com/office/drawing/2014/main" id="{F1EF96EE-F870-4A3F-A46B-9781204EA75F}"/>
                </a:ext>
              </a:extLst>
            </p:cNvPr>
            <p:cNvSpPr>
              <a:spLocks/>
            </p:cNvSpPr>
            <p:nvPr/>
          </p:nvSpPr>
          <p:spPr bwMode="auto">
            <a:xfrm>
              <a:off x="984251" y="6132513"/>
              <a:ext cx="142875" cy="30163"/>
            </a:xfrm>
            <a:custGeom>
              <a:avLst/>
              <a:gdLst>
                <a:gd name="T0" fmla="*/ 90 w 90"/>
                <a:gd name="T1" fmla="*/ 19 h 19"/>
                <a:gd name="T2" fmla="*/ 0 w 90"/>
                <a:gd name="T3" fmla="*/ 19 h 19"/>
                <a:gd name="T4" fmla="*/ 0 w 90"/>
                <a:gd name="T5" fmla="*/ 0 h 19"/>
                <a:gd name="T6" fmla="*/ 90 w 90"/>
                <a:gd name="T7" fmla="*/ 0 h 19"/>
                <a:gd name="T8" fmla="*/ 90 w 90"/>
                <a:gd name="T9" fmla="*/ 19 h 19"/>
                <a:gd name="T10" fmla="*/ 90 w 90"/>
                <a:gd name="T11" fmla="*/ 19 h 19"/>
              </a:gdLst>
              <a:ahLst/>
              <a:cxnLst>
                <a:cxn ang="0">
                  <a:pos x="T0" y="T1"/>
                </a:cxn>
                <a:cxn ang="0">
                  <a:pos x="T2" y="T3"/>
                </a:cxn>
                <a:cxn ang="0">
                  <a:pos x="T4" y="T5"/>
                </a:cxn>
                <a:cxn ang="0">
                  <a:pos x="T6" y="T7"/>
                </a:cxn>
                <a:cxn ang="0">
                  <a:pos x="T8" y="T9"/>
                </a:cxn>
                <a:cxn ang="0">
                  <a:pos x="T10" y="T11"/>
                </a:cxn>
              </a:cxnLst>
              <a:rect l="0" t="0" r="r" b="b"/>
              <a:pathLst>
                <a:path w="90" h="19">
                  <a:moveTo>
                    <a:pt x="90" y="19"/>
                  </a:moveTo>
                  <a:lnTo>
                    <a:pt x="0" y="19"/>
                  </a:lnTo>
                  <a:lnTo>
                    <a:pt x="0" y="0"/>
                  </a:lnTo>
                  <a:lnTo>
                    <a:pt x="90" y="0"/>
                  </a:lnTo>
                  <a:lnTo>
                    <a:pt x="90" y="19"/>
                  </a:lnTo>
                  <a:lnTo>
                    <a:pt x="90" y="19"/>
                  </a:lnTo>
                  <a:close/>
                </a:path>
              </a:pathLst>
            </a:custGeom>
            <a:solidFill>
              <a:srgbClr val="1818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86">
              <a:extLst>
                <a:ext uri="{FF2B5EF4-FFF2-40B4-BE49-F238E27FC236}">
                  <a16:creationId xmlns:a16="http://schemas.microsoft.com/office/drawing/2014/main" id="{D1241D4E-CE1B-4A92-B895-88C25FEA0510}"/>
                </a:ext>
              </a:extLst>
            </p:cNvPr>
            <p:cNvSpPr>
              <a:spLocks/>
            </p:cNvSpPr>
            <p:nvPr/>
          </p:nvSpPr>
          <p:spPr bwMode="auto">
            <a:xfrm>
              <a:off x="958851" y="5945188"/>
              <a:ext cx="528638" cy="238125"/>
            </a:xfrm>
            <a:custGeom>
              <a:avLst/>
              <a:gdLst>
                <a:gd name="T0" fmla="*/ 6 w 104"/>
                <a:gd name="T1" fmla="*/ 1 h 47"/>
                <a:gd name="T2" fmla="*/ 0 w 104"/>
                <a:gd name="T3" fmla="*/ 21 h 47"/>
                <a:gd name="T4" fmla="*/ 6 w 104"/>
                <a:gd name="T5" fmla="*/ 37 h 47"/>
                <a:gd name="T6" fmla="*/ 40 w 104"/>
                <a:gd name="T7" fmla="*/ 39 h 47"/>
                <a:gd name="T8" fmla="*/ 82 w 104"/>
                <a:gd name="T9" fmla="*/ 47 h 47"/>
                <a:gd name="T10" fmla="*/ 104 w 104"/>
                <a:gd name="T11" fmla="*/ 43 h 47"/>
                <a:gd name="T12" fmla="*/ 70 w 104"/>
                <a:gd name="T13" fmla="*/ 26 h 47"/>
                <a:gd name="T14" fmla="*/ 34 w 104"/>
                <a:gd name="T15" fmla="*/ 2 h 47"/>
                <a:gd name="T16" fmla="*/ 6 w 104"/>
                <a:gd name="T17"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47">
                  <a:moveTo>
                    <a:pt x="6" y="1"/>
                  </a:moveTo>
                  <a:cubicBezTo>
                    <a:pt x="3" y="6"/>
                    <a:pt x="0" y="16"/>
                    <a:pt x="0" y="21"/>
                  </a:cubicBezTo>
                  <a:cubicBezTo>
                    <a:pt x="0" y="26"/>
                    <a:pt x="3" y="37"/>
                    <a:pt x="6" y="37"/>
                  </a:cubicBezTo>
                  <a:cubicBezTo>
                    <a:pt x="17" y="37"/>
                    <a:pt x="29" y="38"/>
                    <a:pt x="40" y="39"/>
                  </a:cubicBezTo>
                  <a:cubicBezTo>
                    <a:pt x="51" y="41"/>
                    <a:pt x="55" y="47"/>
                    <a:pt x="82" y="47"/>
                  </a:cubicBezTo>
                  <a:cubicBezTo>
                    <a:pt x="90" y="47"/>
                    <a:pt x="104" y="46"/>
                    <a:pt x="104" y="43"/>
                  </a:cubicBezTo>
                  <a:cubicBezTo>
                    <a:pt x="104" y="29"/>
                    <a:pt x="78" y="34"/>
                    <a:pt x="70" y="26"/>
                  </a:cubicBezTo>
                  <a:cubicBezTo>
                    <a:pt x="48" y="7"/>
                    <a:pt x="34" y="2"/>
                    <a:pt x="34" y="2"/>
                  </a:cubicBezTo>
                  <a:cubicBezTo>
                    <a:pt x="34" y="2"/>
                    <a:pt x="7" y="0"/>
                    <a:pt x="6" y="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34" name="Freeform 87">
              <a:extLst>
                <a:ext uri="{FF2B5EF4-FFF2-40B4-BE49-F238E27FC236}">
                  <a16:creationId xmlns:a16="http://schemas.microsoft.com/office/drawing/2014/main" id="{F4044FB0-9658-4DD0-9D17-FC6F1894416D}"/>
                </a:ext>
              </a:extLst>
            </p:cNvPr>
            <p:cNvSpPr>
              <a:spLocks/>
            </p:cNvSpPr>
            <p:nvPr/>
          </p:nvSpPr>
          <p:spPr bwMode="auto">
            <a:xfrm>
              <a:off x="857251" y="4027488"/>
              <a:ext cx="463550" cy="1993900"/>
            </a:xfrm>
            <a:custGeom>
              <a:avLst/>
              <a:gdLst>
                <a:gd name="T0" fmla="*/ 40 w 91"/>
                <a:gd name="T1" fmla="*/ 4 h 392"/>
                <a:gd name="T2" fmla="*/ 1 w 91"/>
                <a:gd name="T3" fmla="*/ 57 h 392"/>
                <a:gd name="T4" fmla="*/ 20 w 91"/>
                <a:gd name="T5" fmla="*/ 164 h 392"/>
                <a:gd name="T6" fmla="*/ 28 w 91"/>
                <a:gd name="T7" fmla="*/ 221 h 392"/>
                <a:gd name="T8" fmla="*/ 16 w 91"/>
                <a:gd name="T9" fmla="*/ 295 h 392"/>
                <a:gd name="T10" fmla="*/ 15 w 91"/>
                <a:gd name="T11" fmla="*/ 386 h 392"/>
                <a:gd name="T12" fmla="*/ 44 w 91"/>
                <a:gd name="T13" fmla="*/ 392 h 392"/>
                <a:gd name="T14" fmla="*/ 68 w 91"/>
                <a:gd name="T15" fmla="*/ 382 h 392"/>
                <a:gd name="T16" fmla="*/ 78 w 91"/>
                <a:gd name="T17" fmla="*/ 217 h 392"/>
                <a:gd name="T18" fmla="*/ 90 w 91"/>
                <a:gd name="T19" fmla="*/ 79 h 392"/>
                <a:gd name="T20" fmla="*/ 87 w 91"/>
                <a:gd name="T21" fmla="*/ 0 h 392"/>
                <a:gd name="T22" fmla="*/ 40 w 91"/>
                <a:gd name="T23" fmla="*/ 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392">
                  <a:moveTo>
                    <a:pt x="40" y="4"/>
                  </a:moveTo>
                  <a:cubicBezTo>
                    <a:pt x="40" y="4"/>
                    <a:pt x="3" y="41"/>
                    <a:pt x="1" y="57"/>
                  </a:cubicBezTo>
                  <a:cubicBezTo>
                    <a:pt x="0" y="73"/>
                    <a:pt x="15" y="124"/>
                    <a:pt x="20" y="164"/>
                  </a:cubicBezTo>
                  <a:cubicBezTo>
                    <a:pt x="26" y="204"/>
                    <a:pt x="29" y="212"/>
                    <a:pt x="28" y="221"/>
                  </a:cubicBezTo>
                  <a:cubicBezTo>
                    <a:pt x="27" y="231"/>
                    <a:pt x="16" y="269"/>
                    <a:pt x="16" y="295"/>
                  </a:cubicBezTo>
                  <a:cubicBezTo>
                    <a:pt x="17" y="325"/>
                    <a:pt x="15" y="386"/>
                    <a:pt x="15" y="386"/>
                  </a:cubicBezTo>
                  <a:cubicBezTo>
                    <a:pt x="15" y="386"/>
                    <a:pt x="23" y="392"/>
                    <a:pt x="44" y="392"/>
                  </a:cubicBezTo>
                  <a:cubicBezTo>
                    <a:pt x="57" y="392"/>
                    <a:pt x="68" y="382"/>
                    <a:pt x="68" y="382"/>
                  </a:cubicBezTo>
                  <a:cubicBezTo>
                    <a:pt x="68" y="382"/>
                    <a:pt x="76" y="233"/>
                    <a:pt x="78" y="217"/>
                  </a:cubicBezTo>
                  <a:cubicBezTo>
                    <a:pt x="79" y="207"/>
                    <a:pt x="87" y="136"/>
                    <a:pt x="90" y="79"/>
                  </a:cubicBezTo>
                  <a:cubicBezTo>
                    <a:pt x="91" y="61"/>
                    <a:pt x="87" y="8"/>
                    <a:pt x="87" y="0"/>
                  </a:cubicBezTo>
                  <a:cubicBezTo>
                    <a:pt x="40" y="4"/>
                    <a:pt x="40" y="4"/>
                    <a:pt x="40" y="4"/>
                  </a:cubicBezTo>
                </a:path>
              </a:pathLst>
            </a:custGeom>
            <a:solidFill>
              <a:srgbClr val="032D37"/>
            </a:solidFill>
            <a:ln>
              <a:noFill/>
            </a:ln>
          </p:spPr>
          <p:txBody>
            <a:bodyPr vert="horz" wrap="square" lIns="91440" tIns="45720" rIns="91440" bIns="45720" numCol="1" anchor="t" anchorCtr="0" compatLnSpc="1">
              <a:prstTxWarp prst="textNoShape">
                <a:avLst/>
              </a:prstTxWarp>
            </a:bodyPr>
            <a:lstStyle/>
            <a:p>
              <a:endParaRPr lang="en-US"/>
            </a:p>
          </p:txBody>
        </p:sp>
        <p:sp>
          <p:nvSpPr>
            <p:cNvPr id="135" name="Freeform 88">
              <a:extLst>
                <a:ext uri="{FF2B5EF4-FFF2-40B4-BE49-F238E27FC236}">
                  <a16:creationId xmlns:a16="http://schemas.microsoft.com/office/drawing/2014/main" id="{B305BAD2-0B9B-40CB-B711-B62082CF25C5}"/>
                </a:ext>
              </a:extLst>
            </p:cNvPr>
            <p:cNvSpPr>
              <a:spLocks/>
            </p:cNvSpPr>
            <p:nvPr/>
          </p:nvSpPr>
          <p:spPr bwMode="auto">
            <a:xfrm>
              <a:off x="974726" y="3127375"/>
              <a:ext cx="115888" cy="66675"/>
            </a:xfrm>
            <a:custGeom>
              <a:avLst/>
              <a:gdLst>
                <a:gd name="T0" fmla="*/ 67 w 73"/>
                <a:gd name="T1" fmla="*/ 10 h 42"/>
                <a:gd name="T2" fmla="*/ 73 w 73"/>
                <a:gd name="T3" fmla="*/ 42 h 42"/>
                <a:gd name="T4" fmla="*/ 0 w 73"/>
                <a:gd name="T5" fmla="*/ 0 h 42"/>
                <a:gd name="T6" fmla="*/ 67 w 73"/>
                <a:gd name="T7" fmla="*/ 10 h 42"/>
                <a:gd name="T8" fmla="*/ 67 w 73"/>
                <a:gd name="T9" fmla="*/ 10 h 42"/>
              </a:gdLst>
              <a:ahLst/>
              <a:cxnLst>
                <a:cxn ang="0">
                  <a:pos x="T0" y="T1"/>
                </a:cxn>
                <a:cxn ang="0">
                  <a:pos x="T2" y="T3"/>
                </a:cxn>
                <a:cxn ang="0">
                  <a:pos x="T4" y="T5"/>
                </a:cxn>
                <a:cxn ang="0">
                  <a:pos x="T6" y="T7"/>
                </a:cxn>
                <a:cxn ang="0">
                  <a:pos x="T8" y="T9"/>
                </a:cxn>
              </a:cxnLst>
              <a:rect l="0" t="0" r="r" b="b"/>
              <a:pathLst>
                <a:path w="73" h="42">
                  <a:moveTo>
                    <a:pt x="67" y="10"/>
                  </a:moveTo>
                  <a:lnTo>
                    <a:pt x="73" y="42"/>
                  </a:lnTo>
                  <a:lnTo>
                    <a:pt x="0" y="0"/>
                  </a:lnTo>
                  <a:lnTo>
                    <a:pt x="67" y="10"/>
                  </a:lnTo>
                  <a:lnTo>
                    <a:pt x="67" y="10"/>
                  </a:lnTo>
                  <a:close/>
                </a:path>
              </a:pathLst>
            </a:custGeom>
            <a:solidFill>
              <a:srgbClr val="BFBFBF"/>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Freeform 89">
              <a:extLst>
                <a:ext uri="{FF2B5EF4-FFF2-40B4-BE49-F238E27FC236}">
                  <a16:creationId xmlns:a16="http://schemas.microsoft.com/office/drawing/2014/main" id="{F4CF6DFD-3760-4B68-BBFE-5F635FEB4321}"/>
                </a:ext>
              </a:extLst>
            </p:cNvPr>
            <p:cNvSpPr>
              <a:spLocks/>
            </p:cNvSpPr>
            <p:nvPr/>
          </p:nvSpPr>
          <p:spPr bwMode="auto">
            <a:xfrm>
              <a:off x="1090613" y="3127375"/>
              <a:ext cx="46038" cy="66675"/>
            </a:xfrm>
            <a:custGeom>
              <a:avLst/>
              <a:gdLst>
                <a:gd name="T0" fmla="*/ 0 w 29"/>
                <a:gd name="T1" fmla="*/ 42 h 42"/>
                <a:gd name="T2" fmla="*/ 10 w 29"/>
                <a:gd name="T3" fmla="*/ 0 h 42"/>
                <a:gd name="T4" fmla="*/ 29 w 29"/>
                <a:gd name="T5" fmla="*/ 16 h 42"/>
                <a:gd name="T6" fmla="*/ 0 w 29"/>
                <a:gd name="T7" fmla="*/ 42 h 42"/>
                <a:gd name="T8" fmla="*/ 0 w 29"/>
                <a:gd name="T9" fmla="*/ 42 h 42"/>
              </a:gdLst>
              <a:ahLst/>
              <a:cxnLst>
                <a:cxn ang="0">
                  <a:pos x="T0" y="T1"/>
                </a:cxn>
                <a:cxn ang="0">
                  <a:pos x="T2" y="T3"/>
                </a:cxn>
                <a:cxn ang="0">
                  <a:pos x="T4" y="T5"/>
                </a:cxn>
                <a:cxn ang="0">
                  <a:pos x="T6" y="T7"/>
                </a:cxn>
                <a:cxn ang="0">
                  <a:pos x="T8" y="T9"/>
                </a:cxn>
              </a:cxnLst>
              <a:rect l="0" t="0" r="r" b="b"/>
              <a:pathLst>
                <a:path w="29" h="42">
                  <a:moveTo>
                    <a:pt x="0" y="42"/>
                  </a:moveTo>
                  <a:lnTo>
                    <a:pt x="10" y="0"/>
                  </a:lnTo>
                  <a:lnTo>
                    <a:pt x="29" y="16"/>
                  </a:lnTo>
                  <a:lnTo>
                    <a:pt x="0" y="42"/>
                  </a:lnTo>
                  <a:lnTo>
                    <a:pt x="0" y="42"/>
                  </a:lnTo>
                  <a:close/>
                </a:path>
              </a:pathLst>
            </a:custGeom>
            <a:solidFill>
              <a:srgbClr val="BFBFBF"/>
            </a:solidFill>
            <a:ln>
              <a:noFill/>
            </a:ln>
          </p:spPr>
          <p:txBody>
            <a:bodyPr vert="horz" wrap="square" lIns="91440" tIns="45720" rIns="91440" bIns="45720" numCol="1" anchor="t" anchorCtr="0" compatLnSpc="1">
              <a:prstTxWarp prst="textNoShape">
                <a:avLst/>
              </a:prstTxWarp>
            </a:bodyPr>
            <a:lstStyle/>
            <a:p>
              <a:endParaRPr lang="en-US"/>
            </a:p>
          </p:txBody>
        </p:sp>
        <p:sp>
          <p:nvSpPr>
            <p:cNvPr id="137" name="Freeform 90">
              <a:extLst>
                <a:ext uri="{FF2B5EF4-FFF2-40B4-BE49-F238E27FC236}">
                  <a16:creationId xmlns:a16="http://schemas.microsoft.com/office/drawing/2014/main" id="{88E1BFB0-1E14-449E-A18D-FF47796B8225}"/>
                </a:ext>
              </a:extLst>
            </p:cNvPr>
            <p:cNvSpPr>
              <a:spLocks/>
            </p:cNvSpPr>
            <p:nvPr/>
          </p:nvSpPr>
          <p:spPr bwMode="auto">
            <a:xfrm>
              <a:off x="465138" y="4037013"/>
              <a:ext cx="666750" cy="2111375"/>
            </a:xfrm>
            <a:custGeom>
              <a:avLst/>
              <a:gdLst>
                <a:gd name="T0" fmla="*/ 60 w 131"/>
                <a:gd name="T1" fmla="*/ 0 h 415"/>
                <a:gd name="T2" fmla="*/ 39 w 131"/>
                <a:gd name="T3" fmla="*/ 59 h 415"/>
                <a:gd name="T4" fmla="*/ 24 w 131"/>
                <a:gd name="T5" fmla="*/ 219 h 415"/>
                <a:gd name="T6" fmla="*/ 9 w 131"/>
                <a:gd name="T7" fmla="*/ 302 h 415"/>
                <a:gd name="T8" fmla="*/ 0 w 131"/>
                <a:gd name="T9" fmla="*/ 408 h 415"/>
                <a:gd name="T10" fmla="*/ 45 w 131"/>
                <a:gd name="T11" fmla="*/ 415 h 415"/>
                <a:gd name="T12" fmla="*/ 77 w 131"/>
                <a:gd name="T13" fmla="*/ 243 h 415"/>
                <a:gd name="T14" fmla="*/ 126 w 131"/>
                <a:gd name="T15" fmla="*/ 54 h 415"/>
                <a:gd name="T16" fmla="*/ 131 w 131"/>
                <a:gd name="T17" fmla="*/ 1 h 415"/>
                <a:gd name="T18" fmla="*/ 60 w 131"/>
                <a:gd name="T19"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415">
                  <a:moveTo>
                    <a:pt x="60" y="0"/>
                  </a:moveTo>
                  <a:cubicBezTo>
                    <a:pt x="60" y="0"/>
                    <a:pt x="45" y="35"/>
                    <a:pt x="39" y="59"/>
                  </a:cubicBezTo>
                  <a:cubicBezTo>
                    <a:pt x="33" y="83"/>
                    <a:pt x="26" y="207"/>
                    <a:pt x="24" y="219"/>
                  </a:cubicBezTo>
                  <a:cubicBezTo>
                    <a:pt x="22" y="231"/>
                    <a:pt x="15" y="266"/>
                    <a:pt x="9" y="302"/>
                  </a:cubicBezTo>
                  <a:cubicBezTo>
                    <a:pt x="4" y="337"/>
                    <a:pt x="0" y="408"/>
                    <a:pt x="0" y="408"/>
                  </a:cubicBezTo>
                  <a:cubicBezTo>
                    <a:pt x="45" y="415"/>
                    <a:pt x="45" y="415"/>
                    <a:pt x="45" y="415"/>
                  </a:cubicBezTo>
                  <a:cubicBezTo>
                    <a:pt x="45" y="415"/>
                    <a:pt x="72" y="266"/>
                    <a:pt x="77" y="243"/>
                  </a:cubicBezTo>
                  <a:cubicBezTo>
                    <a:pt x="81" y="220"/>
                    <a:pt x="126" y="54"/>
                    <a:pt x="126" y="54"/>
                  </a:cubicBezTo>
                  <a:cubicBezTo>
                    <a:pt x="131" y="1"/>
                    <a:pt x="131" y="1"/>
                    <a:pt x="131" y="1"/>
                  </a:cubicBezTo>
                  <a:cubicBezTo>
                    <a:pt x="60" y="0"/>
                    <a:pt x="60" y="0"/>
                    <a:pt x="60" y="0"/>
                  </a:cubicBezTo>
                  <a:close/>
                </a:path>
              </a:pathLst>
            </a:custGeom>
            <a:solidFill>
              <a:srgbClr val="032D37"/>
            </a:solidFill>
            <a:ln>
              <a:noFill/>
            </a:ln>
          </p:spPr>
          <p:txBody>
            <a:bodyPr vert="horz" wrap="square" lIns="91440" tIns="45720" rIns="91440" bIns="45720" numCol="1" anchor="t" anchorCtr="0" compatLnSpc="1">
              <a:prstTxWarp prst="textNoShape">
                <a:avLst/>
              </a:prstTxWarp>
            </a:bodyPr>
            <a:lstStyle/>
            <a:p>
              <a:endParaRPr lang="en-US"/>
            </a:p>
          </p:txBody>
        </p:sp>
        <p:sp>
          <p:nvSpPr>
            <p:cNvPr id="138" name="Freeform 91">
              <a:extLst>
                <a:ext uri="{FF2B5EF4-FFF2-40B4-BE49-F238E27FC236}">
                  <a16:creationId xmlns:a16="http://schemas.microsoft.com/office/drawing/2014/main" id="{C329E5FF-5365-43F2-9C35-1642EE01CE6D}"/>
                </a:ext>
              </a:extLst>
            </p:cNvPr>
            <p:cNvSpPr>
              <a:spLocks/>
            </p:cNvSpPr>
            <p:nvPr/>
          </p:nvSpPr>
          <p:spPr bwMode="auto">
            <a:xfrm>
              <a:off x="465138" y="4037013"/>
              <a:ext cx="503238" cy="2085975"/>
            </a:xfrm>
            <a:custGeom>
              <a:avLst/>
              <a:gdLst>
                <a:gd name="T0" fmla="*/ 61 w 99"/>
                <a:gd name="T1" fmla="*/ 101 h 410"/>
                <a:gd name="T2" fmla="*/ 45 w 99"/>
                <a:gd name="T3" fmla="*/ 231 h 410"/>
                <a:gd name="T4" fmla="*/ 15 w 99"/>
                <a:gd name="T5" fmla="*/ 410 h 410"/>
                <a:gd name="T6" fmla="*/ 0 w 99"/>
                <a:gd name="T7" fmla="*/ 408 h 410"/>
                <a:gd name="T8" fmla="*/ 9 w 99"/>
                <a:gd name="T9" fmla="*/ 302 h 410"/>
                <a:gd name="T10" fmla="*/ 24 w 99"/>
                <a:gd name="T11" fmla="*/ 219 h 410"/>
                <a:gd name="T12" fmla="*/ 39 w 99"/>
                <a:gd name="T13" fmla="*/ 59 h 410"/>
                <a:gd name="T14" fmla="*/ 60 w 99"/>
                <a:gd name="T15" fmla="*/ 0 h 410"/>
                <a:gd name="T16" fmla="*/ 99 w 99"/>
                <a:gd name="T17" fmla="*/ 1 h 410"/>
                <a:gd name="T18" fmla="*/ 61 w 99"/>
                <a:gd name="T19" fmla="*/ 101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410">
                  <a:moveTo>
                    <a:pt x="61" y="101"/>
                  </a:moveTo>
                  <a:cubicBezTo>
                    <a:pt x="57" y="117"/>
                    <a:pt x="46" y="225"/>
                    <a:pt x="45" y="231"/>
                  </a:cubicBezTo>
                  <a:cubicBezTo>
                    <a:pt x="44" y="237"/>
                    <a:pt x="16" y="402"/>
                    <a:pt x="15" y="410"/>
                  </a:cubicBezTo>
                  <a:cubicBezTo>
                    <a:pt x="0" y="408"/>
                    <a:pt x="0" y="408"/>
                    <a:pt x="0" y="408"/>
                  </a:cubicBezTo>
                  <a:cubicBezTo>
                    <a:pt x="0" y="408"/>
                    <a:pt x="4" y="337"/>
                    <a:pt x="9" y="302"/>
                  </a:cubicBezTo>
                  <a:cubicBezTo>
                    <a:pt x="15" y="266"/>
                    <a:pt x="22" y="231"/>
                    <a:pt x="24" y="219"/>
                  </a:cubicBezTo>
                  <a:cubicBezTo>
                    <a:pt x="26" y="207"/>
                    <a:pt x="33" y="83"/>
                    <a:pt x="39" y="59"/>
                  </a:cubicBezTo>
                  <a:cubicBezTo>
                    <a:pt x="45" y="35"/>
                    <a:pt x="60" y="0"/>
                    <a:pt x="60" y="0"/>
                  </a:cubicBezTo>
                  <a:cubicBezTo>
                    <a:pt x="99" y="1"/>
                    <a:pt x="99" y="1"/>
                    <a:pt x="99" y="1"/>
                  </a:cubicBezTo>
                  <a:cubicBezTo>
                    <a:pt x="99" y="1"/>
                    <a:pt x="65" y="85"/>
                    <a:pt x="61" y="101"/>
                  </a:cubicBezTo>
                  <a:close/>
                </a:path>
              </a:pathLst>
            </a:custGeom>
            <a:solidFill>
              <a:srgbClr val="02171C"/>
            </a:solidFill>
            <a:ln>
              <a:noFill/>
            </a:ln>
          </p:spPr>
          <p:txBody>
            <a:bodyPr vert="horz" wrap="square" lIns="91440" tIns="45720" rIns="91440" bIns="45720" numCol="1" anchor="t" anchorCtr="0" compatLnSpc="1">
              <a:prstTxWarp prst="textNoShape">
                <a:avLst/>
              </a:prstTxWarp>
            </a:bodyPr>
            <a:lstStyle/>
            <a:p>
              <a:endParaRPr lang="en-US"/>
            </a:p>
          </p:txBody>
        </p:sp>
        <p:sp>
          <p:nvSpPr>
            <p:cNvPr id="139" name="Freeform 92">
              <a:extLst>
                <a:ext uri="{FF2B5EF4-FFF2-40B4-BE49-F238E27FC236}">
                  <a16:creationId xmlns:a16="http://schemas.microsoft.com/office/drawing/2014/main" id="{56DF3B3F-646F-4216-AEBF-DF213E78D68F}"/>
                </a:ext>
              </a:extLst>
            </p:cNvPr>
            <p:cNvSpPr>
              <a:spLocks/>
            </p:cNvSpPr>
            <p:nvPr/>
          </p:nvSpPr>
          <p:spPr bwMode="auto">
            <a:xfrm>
              <a:off x="750888" y="4027488"/>
              <a:ext cx="549275" cy="66675"/>
            </a:xfrm>
            <a:custGeom>
              <a:avLst/>
              <a:gdLst>
                <a:gd name="T0" fmla="*/ 3 w 108"/>
                <a:gd name="T1" fmla="*/ 2 h 13"/>
                <a:gd name="T2" fmla="*/ 76 w 108"/>
                <a:gd name="T3" fmla="*/ 3 h 13"/>
                <a:gd name="T4" fmla="*/ 108 w 108"/>
                <a:gd name="T5" fmla="*/ 0 h 13"/>
                <a:gd name="T6" fmla="*/ 108 w 108"/>
                <a:gd name="T7" fmla="*/ 11 h 13"/>
                <a:gd name="T8" fmla="*/ 69 w 108"/>
                <a:gd name="T9" fmla="*/ 13 h 13"/>
                <a:gd name="T10" fmla="*/ 0 w 108"/>
                <a:gd name="T11" fmla="*/ 11 h 13"/>
                <a:gd name="T12" fmla="*/ 3 w 108"/>
                <a:gd name="T13" fmla="*/ 2 h 13"/>
              </a:gdLst>
              <a:ahLst/>
              <a:cxnLst>
                <a:cxn ang="0">
                  <a:pos x="T0" y="T1"/>
                </a:cxn>
                <a:cxn ang="0">
                  <a:pos x="T2" y="T3"/>
                </a:cxn>
                <a:cxn ang="0">
                  <a:pos x="T4" y="T5"/>
                </a:cxn>
                <a:cxn ang="0">
                  <a:pos x="T6" y="T7"/>
                </a:cxn>
                <a:cxn ang="0">
                  <a:pos x="T8" y="T9"/>
                </a:cxn>
                <a:cxn ang="0">
                  <a:pos x="T10" y="T11"/>
                </a:cxn>
                <a:cxn ang="0">
                  <a:pos x="T12" y="T13"/>
                </a:cxn>
              </a:cxnLst>
              <a:rect l="0" t="0" r="r" b="b"/>
              <a:pathLst>
                <a:path w="108" h="13">
                  <a:moveTo>
                    <a:pt x="3" y="2"/>
                  </a:moveTo>
                  <a:cubicBezTo>
                    <a:pt x="3" y="2"/>
                    <a:pt x="72" y="3"/>
                    <a:pt x="76" y="3"/>
                  </a:cubicBezTo>
                  <a:cubicBezTo>
                    <a:pt x="80" y="3"/>
                    <a:pt x="108" y="0"/>
                    <a:pt x="108" y="0"/>
                  </a:cubicBezTo>
                  <a:cubicBezTo>
                    <a:pt x="108" y="11"/>
                    <a:pt x="108" y="11"/>
                    <a:pt x="108" y="11"/>
                  </a:cubicBezTo>
                  <a:cubicBezTo>
                    <a:pt x="108" y="11"/>
                    <a:pt x="82" y="13"/>
                    <a:pt x="69" y="13"/>
                  </a:cubicBezTo>
                  <a:cubicBezTo>
                    <a:pt x="56" y="13"/>
                    <a:pt x="0" y="11"/>
                    <a:pt x="0" y="11"/>
                  </a:cubicBezTo>
                  <a:cubicBezTo>
                    <a:pt x="3" y="2"/>
                    <a:pt x="3" y="2"/>
                    <a:pt x="3" y="2"/>
                  </a:cubicBezTo>
                  <a:close/>
                </a:path>
              </a:pathLst>
            </a:custGeom>
            <a:solidFill>
              <a:srgbClr val="3B1B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93">
              <a:extLst>
                <a:ext uri="{FF2B5EF4-FFF2-40B4-BE49-F238E27FC236}">
                  <a16:creationId xmlns:a16="http://schemas.microsoft.com/office/drawing/2014/main" id="{644C8BFF-E736-413A-9B48-536CA0ACE96F}"/>
                </a:ext>
              </a:extLst>
            </p:cNvPr>
            <p:cNvSpPr>
              <a:spLocks/>
            </p:cNvSpPr>
            <p:nvPr/>
          </p:nvSpPr>
          <p:spPr bwMode="auto">
            <a:xfrm>
              <a:off x="1096963" y="4037013"/>
              <a:ext cx="90488" cy="66675"/>
            </a:xfrm>
            <a:custGeom>
              <a:avLst/>
              <a:gdLst>
                <a:gd name="T0" fmla="*/ 12 w 18"/>
                <a:gd name="T1" fmla="*/ 13 h 13"/>
                <a:gd name="T2" fmla="*/ 6 w 18"/>
                <a:gd name="T3" fmla="*/ 13 h 13"/>
                <a:gd name="T4" fmla="*/ 0 w 18"/>
                <a:gd name="T5" fmla="*/ 7 h 13"/>
                <a:gd name="T6" fmla="*/ 0 w 18"/>
                <a:gd name="T7" fmla="*/ 6 h 13"/>
                <a:gd name="T8" fmla="*/ 6 w 18"/>
                <a:gd name="T9" fmla="*/ 0 h 13"/>
                <a:gd name="T10" fmla="*/ 12 w 18"/>
                <a:gd name="T11" fmla="*/ 0 h 13"/>
                <a:gd name="T12" fmla="*/ 18 w 18"/>
                <a:gd name="T13" fmla="*/ 6 h 13"/>
                <a:gd name="T14" fmla="*/ 18 w 18"/>
                <a:gd name="T15" fmla="*/ 7 h 13"/>
                <a:gd name="T16" fmla="*/ 12 w 18"/>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3">
                  <a:moveTo>
                    <a:pt x="12" y="13"/>
                  </a:moveTo>
                  <a:cubicBezTo>
                    <a:pt x="6" y="13"/>
                    <a:pt x="6" y="13"/>
                    <a:pt x="6" y="13"/>
                  </a:cubicBezTo>
                  <a:cubicBezTo>
                    <a:pt x="3" y="13"/>
                    <a:pt x="0" y="10"/>
                    <a:pt x="0" y="7"/>
                  </a:cubicBezTo>
                  <a:cubicBezTo>
                    <a:pt x="0" y="6"/>
                    <a:pt x="0" y="6"/>
                    <a:pt x="0" y="6"/>
                  </a:cubicBezTo>
                  <a:cubicBezTo>
                    <a:pt x="0" y="3"/>
                    <a:pt x="3" y="0"/>
                    <a:pt x="6" y="0"/>
                  </a:cubicBezTo>
                  <a:cubicBezTo>
                    <a:pt x="12" y="0"/>
                    <a:pt x="12" y="0"/>
                    <a:pt x="12" y="0"/>
                  </a:cubicBezTo>
                  <a:cubicBezTo>
                    <a:pt x="15" y="0"/>
                    <a:pt x="18" y="3"/>
                    <a:pt x="18" y="6"/>
                  </a:cubicBezTo>
                  <a:cubicBezTo>
                    <a:pt x="18" y="7"/>
                    <a:pt x="18" y="7"/>
                    <a:pt x="18" y="7"/>
                  </a:cubicBezTo>
                  <a:cubicBezTo>
                    <a:pt x="18" y="10"/>
                    <a:pt x="15" y="13"/>
                    <a:pt x="12" y="13"/>
                  </a:cubicBezTo>
                  <a:close/>
                </a:path>
              </a:pathLst>
            </a:custGeom>
            <a:solidFill>
              <a:srgbClr val="722C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94">
              <a:extLst>
                <a:ext uri="{FF2B5EF4-FFF2-40B4-BE49-F238E27FC236}">
                  <a16:creationId xmlns:a16="http://schemas.microsoft.com/office/drawing/2014/main" id="{9FA3CC5F-65F8-45DE-AE62-26DC4198AC85}"/>
                </a:ext>
              </a:extLst>
            </p:cNvPr>
            <p:cNvSpPr>
              <a:spLocks/>
            </p:cNvSpPr>
            <p:nvPr/>
          </p:nvSpPr>
          <p:spPr bwMode="auto">
            <a:xfrm>
              <a:off x="846138" y="3021013"/>
              <a:ext cx="234950" cy="192088"/>
            </a:xfrm>
            <a:custGeom>
              <a:avLst/>
              <a:gdLst>
                <a:gd name="T0" fmla="*/ 0 w 148"/>
                <a:gd name="T1" fmla="*/ 35 h 121"/>
                <a:gd name="T2" fmla="*/ 26 w 148"/>
                <a:gd name="T3" fmla="*/ 0 h 121"/>
                <a:gd name="T4" fmla="*/ 148 w 148"/>
                <a:gd name="T5" fmla="*/ 77 h 121"/>
                <a:gd name="T6" fmla="*/ 129 w 148"/>
                <a:gd name="T7" fmla="*/ 121 h 121"/>
                <a:gd name="T8" fmla="*/ 0 w 148"/>
                <a:gd name="T9" fmla="*/ 35 h 121"/>
                <a:gd name="T10" fmla="*/ 0 w 148"/>
                <a:gd name="T11" fmla="*/ 35 h 121"/>
              </a:gdLst>
              <a:ahLst/>
              <a:cxnLst>
                <a:cxn ang="0">
                  <a:pos x="T0" y="T1"/>
                </a:cxn>
                <a:cxn ang="0">
                  <a:pos x="T2" y="T3"/>
                </a:cxn>
                <a:cxn ang="0">
                  <a:pos x="T4" y="T5"/>
                </a:cxn>
                <a:cxn ang="0">
                  <a:pos x="T6" y="T7"/>
                </a:cxn>
                <a:cxn ang="0">
                  <a:pos x="T8" y="T9"/>
                </a:cxn>
                <a:cxn ang="0">
                  <a:pos x="T10" y="T11"/>
                </a:cxn>
              </a:cxnLst>
              <a:rect l="0" t="0" r="r" b="b"/>
              <a:pathLst>
                <a:path w="148" h="121">
                  <a:moveTo>
                    <a:pt x="0" y="35"/>
                  </a:moveTo>
                  <a:lnTo>
                    <a:pt x="26" y="0"/>
                  </a:lnTo>
                  <a:lnTo>
                    <a:pt x="148" y="77"/>
                  </a:lnTo>
                  <a:lnTo>
                    <a:pt x="129" y="121"/>
                  </a:lnTo>
                  <a:lnTo>
                    <a:pt x="0" y="35"/>
                  </a:lnTo>
                  <a:lnTo>
                    <a:pt x="0" y="35"/>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2" name="Freeform 95">
              <a:extLst>
                <a:ext uri="{FF2B5EF4-FFF2-40B4-BE49-F238E27FC236}">
                  <a16:creationId xmlns:a16="http://schemas.microsoft.com/office/drawing/2014/main" id="{950EA987-C781-4677-B679-51404835DADD}"/>
                </a:ext>
              </a:extLst>
            </p:cNvPr>
            <p:cNvSpPr>
              <a:spLocks/>
            </p:cNvSpPr>
            <p:nvPr/>
          </p:nvSpPr>
          <p:spPr bwMode="auto">
            <a:xfrm>
              <a:off x="1106488" y="3086100"/>
              <a:ext cx="55563" cy="96838"/>
            </a:xfrm>
            <a:custGeom>
              <a:avLst/>
              <a:gdLst>
                <a:gd name="T0" fmla="*/ 0 w 35"/>
                <a:gd name="T1" fmla="*/ 26 h 61"/>
                <a:gd name="T2" fmla="*/ 29 w 35"/>
                <a:gd name="T3" fmla="*/ 61 h 61"/>
                <a:gd name="T4" fmla="*/ 35 w 35"/>
                <a:gd name="T5" fmla="*/ 26 h 61"/>
                <a:gd name="T6" fmla="*/ 10 w 35"/>
                <a:gd name="T7" fmla="*/ 0 h 61"/>
                <a:gd name="T8" fmla="*/ 0 w 35"/>
                <a:gd name="T9" fmla="*/ 26 h 61"/>
                <a:gd name="T10" fmla="*/ 0 w 35"/>
                <a:gd name="T11" fmla="*/ 26 h 61"/>
              </a:gdLst>
              <a:ahLst/>
              <a:cxnLst>
                <a:cxn ang="0">
                  <a:pos x="T0" y="T1"/>
                </a:cxn>
                <a:cxn ang="0">
                  <a:pos x="T2" y="T3"/>
                </a:cxn>
                <a:cxn ang="0">
                  <a:pos x="T4" y="T5"/>
                </a:cxn>
                <a:cxn ang="0">
                  <a:pos x="T6" y="T7"/>
                </a:cxn>
                <a:cxn ang="0">
                  <a:pos x="T8" y="T9"/>
                </a:cxn>
                <a:cxn ang="0">
                  <a:pos x="T10" y="T11"/>
                </a:cxn>
              </a:cxnLst>
              <a:rect l="0" t="0" r="r" b="b"/>
              <a:pathLst>
                <a:path w="35" h="61">
                  <a:moveTo>
                    <a:pt x="0" y="26"/>
                  </a:moveTo>
                  <a:lnTo>
                    <a:pt x="29" y="61"/>
                  </a:lnTo>
                  <a:lnTo>
                    <a:pt x="35" y="26"/>
                  </a:lnTo>
                  <a:lnTo>
                    <a:pt x="10" y="0"/>
                  </a:lnTo>
                  <a:lnTo>
                    <a:pt x="0" y="26"/>
                  </a:lnTo>
                  <a:lnTo>
                    <a:pt x="0" y="26"/>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Freeform 96">
              <a:extLst>
                <a:ext uri="{FF2B5EF4-FFF2-40B4-BE49-F238E27FC236}">
                  <a16:creationId xmlns:a16="http://schemas.microsoft.com/office/drawing/2014/main" id="{ED8FC1E5-7BCD-4B0E-89EF-2C5AA298E489}"/>
                </a:ext>
              </a:extLst>
            </p:cNvPr>
            <p:cNvSpPr>
              <a:spLocks/>
            </p:cNvSpPr>
            <p:nvPr/>
          </p:nvSpPr>
          <p:spPr bwMode="auto">
            <a:xfrm>
              <a:off x="603251" y="3162300"/>
              <a:ext cx="427038" cy="728663"/>
            </a:xfrm>
            <a:custGeom>
              <a:avLst/>
              <a:gdLst>
                <a:gd name="T0" fmla="*/ 18 w 84"/>
                <a:gd name="T1" fmla="*/ 3 h 143"/>
                <a:gd name="T2" fmla="*/ 3 w 84"/>
                <a:gd name="T3" fmla="*/ 36 h 143"/>
                <a:gd name="T4" fmla="*/ 54 w 84"/>
                <a:gd name="T5" fmla="*/ 141 h 143"/>
                <a:gd name="T6" fmla="*/ 83 w 84"/>
                <a:gd name="T7" fmla="*/ 128 h 143"/>
                <a:gd name="T8" fmla="*/ 52 w 84"/>
                <a:gd name="T9" fmla="*/ 28 h 143"/>
                <a:gd name="T10" fmla="*/ 18 w 84"/>
                <a:gd name="T11" fmla="*/ 3 h 143"/>
              </a:gdLst>
              <a:ahLst/>
              <a:cxnLst>
                <a:cxn ang="0">
                  <a:pos x="T0" y="T1"/>
                </a:cxn>
                <a:cxn ang="0">
                  <a:pos x="T2" y="T3"/>
                </a:cxn>
                <a:cxn ang="0">
                  <a:pos x="T4" y="T5"/>
                </a:cxn>
                <a:cxn ang="0">
                  <a:pos x="T6" y="T7"/>
                </a:cxn>
                <a:cxn ang="0">
                  <a:pos x="T8" y="T9"/>
                </a:cxn>
                <a:cxn ang="0">
                  <a:pos x="T10" y="T11"/>
                </a:cxn>
              </a:cxnLst>
              <a:rect l="0" t="0" r="r" b="b"/>
              <a:pathLst>
                <a:path w="84" h="143">
                  <a:moveTo>
                    <a:pt x="18" y="3"/>
                  </a:moveTo>
                  <a:cubicBezTo>
                    <a:pt x="2" y="7"/>
                    <a:pt x="0" y="21"/>
                    <a:pt x="3" y="36"/>
                  </a:cubicBezTo>
                  <a:cubicBezTo>
                    <a:pt x="7" y="52"/>
                    <a:pt x="49" y="139"/>
                    <a:pt x="54" y="141"/>
                  </a:cubicBezTo>
                  <a:cubicBezTo>
                    <a:pt x="59" y="143"/>
                    <a:pt x="82" y="136"/>
                    <a:pt x="83" y="128"/>
                  </a:cubicBezTo>
                  <a:cubicBezTo>
                    <a:pt x="84" y="121"/>
                    <a:pt x="58" y="40"/>
                    <a:pt x="52" y="28"/>
                  </a:cubicBezTo>
                  <a:cubicBezTo>
                    <a:pt x="47" y="16"/>
                    <a:pt x="38" y="0"/>
                    <a:pt x="18" y="3"/>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97">
              <a:extLst>
                <a:ext uri="{FF2B5EF4-FFF2-40B4-BE49-F238E27FC236}">
                  <a16:creationId xmlns:a16="http://schemas.microsoft.com/office/drawing/2014/main" id="{255F576C-2434-486B-AD40-6435BCDE4771}"/>
                </a:ext>
              </a:extLst>
            </p:cNvPr>
            <p:cNvSpPr>
              <a:spLocks/>
            </p:cNvSpPr>
            <p:nvPr/>
          </p:nvSpPr>
          <p:spPr bwMode="auto">
            <a:xfrm>
              <a:off x="603251" y="3148013"/>
              <a:ext cx="371475" cy="538163"/>
            </a:xfrm>
            <a:custGeom>
              <a:avLst/>
              <a:gdLst>
                <a:gd name="T0" fmla="*/ 33 w 73"/>
                <a:gd name="T1" fmla="*/ 6 h 106"/>
                <a:gd name="T2" fmla="*/ 55 w 73"/>
                <a:gd name="T3" fmla="*/ 29 h 106"/>
                <a:gd name="T4" fmla="*/ 73 w 73"/>
                <a:gd name="T5" fmla="*/ 88 h 106"/>
                <a:gd name="T6" fmla="*/ 49 w 73"/>
                <a:gd name="T7" fmla="*/ 102 h 106"/>
                <a:gd name="T8" fmla="*/ 20 w 73"/>
                <a:gd name="T9" fmla="*/ 102 h 106"/>
                <a:gd name="T10" fmla="*/ 1 w 73"/>
                <a:gd name="T11" fmla="*/ 23 h 106"/>
                <a:gd name="T12" fmla="*/ 33 w 73"/>
                <a:gd name="T13" fmla="*/ 6 h 106"/>
              </a:gdLst>
              <a:ahLst/>
              <a:cxnLst>
                <a:cxn ang="0">
                  <a:pos x="T0" y="T1"/>
                </a:cxn>
                <a:cxn ang="0">
                  <a:pos x="T2" y="T3"/>
                </a:cxn>
                <a:cxn ang="0">
                  <a:pos x="T4" y="T5"/>
                </a:cxn>
                <a:cxn ang="0">
                  <a:pos x="T6" y="T7"/>
                </a:cxn>
                <a:cxn ang="0">
                  <a:pos x="T8" y="T9"/>
                </a:cxn>
                <a:cxn ang="0">
                  <a:pos x="T10" y="T11"/>
                </a:cxn>
                <a:cxn ang="0">
                  <a:pos x="T12" y="T13"/>
                </a:cxn>
              </a:cxnLst>
              <a:rect l="0" t="0" r="r" b="b"/>
              <a:pathLst>
                <a:path w="73" h="106">
                  <a:moveTo>
                    <a:pt x="33" y="6"/>
                  </a:moveTo>
                  <a:cubicBezTo>
                    <a:pt x="39" y="9"/>
                    <a:pt x="52" y="17"/>
                    <a:pt x="55" y="29"/>
                  </a:cubicBezTo>
                  <a:cubicBezTo>
                    <a:pt x="59" y="45"/>
                    <a:pt x="73" y="88"/>
                    <a:pt x="73" y="88"/>
                  </a:cubicBezTo>
                  <a:cubicBezTo>
                    <a:pt x="73" y="88"/>
                    <a:pt x="64" y="98"/>
                    <a:pt x="49" y="102"/>
                  </a:cubicBezTo>
                  <a:cubicBezTo>
                    <a:pt x="32" y="106"/>
                    <a:pt x="20" y="102"/>
                    <a:pt x="20" y="102"/>
                  </a:cubicBezTo>
                  <a:cubicBezTo>
                    <a:pt x="20" y="102"/>
                    <a:pt x="0" y="37"/>
                    <a:pt x="1" y="23"/>
                  </a:cubicBezTo>
                  <a:cubicBezTo>
                    <a:pt x="2" y="12"/>
                    <a:pt x="17" y="0"/>
                    <a:pt x="33" y="6"/>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5" name="Freeform 98">
              <a:extLst>
                <a:ext uri="{FF2B5EF4-FFF2-40B4-BE49-F238E27FC236}">
                  <a16:creationId xmlns:a16="http://schemas.microsoft.com/office/drawing/2014/main" id="{9DD51D0F-8F73-43FC-A329-C049834EE532}"/>
                </a:ext>
              </a:extLst>
            </p:cNvPr>
            <p:cNvSpPr>
              <a:spLocks/>
            </p:cNvSpPr>
            <p:nvPr/>
          </p:nvSpPr>
          <p:spPr bwMode="auto">
            <a:xfrm>
              <a:off x="790576" y="3697288"/>
              <a:ext cx="544513" cy="569913"/>
            </a:xfrm>
            <a:custGeom>
              <a:avLst/>
              <a:gdLst>
                <a:gd name="T0" fmla="*/ 15 w 107"/>
                <a:gd name="T1" fmla="*/ 11 h 112"/>
                <a:gd name="T2" fmla="*/ 38 w 107"/>
                <a:gd name="T3" fmla="*/ 64 h 112"/>
                <a:gd name="T4" fmla="*/ 92 w 107"/>
                <a:gd name="T5" fmla="*/ 112 h 112"/>
                <a:gd name="T6" fmla="*/ 107 w 107"/>
                <a:gd name="T7" fmla="*/ 100 h 112"/>
                <a:gd name="T8" fmla="*/ 51 w 107"/>
                <a:gd name="T9" fmla="*/ 17 h 112"/>
                <a:gd name="T10" fmla="*/ 15 w 107"/>
                <a:gd name="T11" fmla="*/ 11 h 112"/>
              </a:gdLst>
              <a:ahLst/>
              <a:cxnLst>
                <a:cxn ang="0">
                  <a:pos x="T0" y="T1"/>
                </a:cxn>
                <a:cxn ang="0">
                  <a:pos x="T2" y="T3"/>
                </a:cxn>
                <a:cxn ang="0">
                  <a:pos x="T4" y="T5"/>
                </a:cxn>
                <a:cxn ang="0">
                  <a:pos x="T6" y="T7"/>
                </a:cxn>
                <a:cxn ang="0">
                  <a:pos x="T8" y="T9"/>
                </a:cxn>
                <a:cxn ang="0">
                  <a:pos x="T10" y="T11"/>
                </a:cxn>
              </a:cxnLst>
              <a:rect l="0" t="0" r="r" b="b"/>
              <a:pathLst>
                <a:path w="107" h="112">
                  <a:moveTo>
                    <a:pt x="15" y="11"/>
                  </a:moveTo>
                  <a:cubicBezTo>
                    <a:pt x="0" y="22"/>
                    <a:pt x="25" y="50"/>
                    <a:pt x="38" y="64"/>
                  </a:cubicBezTo>
                  <a:cubicBezTo>
                    <a:pt x="51" y="77"/>
                    <a:pt x="92" y="112"/>
                    <a:pt x="92" y="112"/>
                  </a:cubicBezTo>
                  <a:cubicBezTo>
                    <a:pt x="107" y="100"/>
                    <a:pt x="107" y="100"/>
                    <a:pt x="107" y="100"/>
                  </a:cubicBezTo>
                  <a:cubicBezTo>
                    <a:pt x="107" y="100"/>
                    <a:pt x="84" y="56"/>
                    <a:pt x="51" y="17"/>
                  </a:cubicBezTo>
                  <a:cubicBezTo>
                    <a:pt x="48" y="13"/>
                    <a:pt x="30" y="0"/>
                    <a:pt x="15" y="11"/>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99">
              <a:extLst>
                <a:ext uri="{FF2B5EF4-FFF2-40B4-BE49-F238E27FC236}">
                  <a16:creationId xmlns:a16="http://schemas.microsoft.com/office/drawing/2014/main" id="{48CE39E1-7669-4EAE-805F-60934C4B49CC}"/>
                </a:ext>
              </a:extLst>
            </p:cNvPr>
            <p:cNvSpPr>
              <a:spLocks/>
            </p:cNvSpPr>
            <p:nvPr/>
          </p:nvSpPr>
          <p:spPr bwMode="auto">
            <a:xfrm>
              <a:off x="1712913" y="2792413"/>
              <a:ext cx="187325" cy="339725"/>
            </a:xfrm>
            <a:custGeom>
              <a:avLst/>
              <a:gdLst>
                <a:gd name="T0" fmla="*/ 0 w 37"/>
                <a:gd name="T1" fmla="*/ 49 h 67"/>
                <a:gd name="T2" fmla="*/ 7 w 37"/>
                <a:gd name="T3" fmla="*/ 29 h 67"/>
                <a:gd name="T4" fmla="*/ 24 w 37"/>
                <a:gd name="T5" fmla="*/ 3 h 67"/>
                <a:gd name="T6" fmla="*/ 18 w 37"/>
                <a:gd name="T7" fmla="*/ 29 h 67"/>
                <a:gd name="T8" fmla="*/ 34 w 37"/>
                <a:gd name="T9" fmla="*/ 37 h 67"/>
                <a:gd name="T10" fmla="*/ 22 w 37"/>
                <a:gd name="T11" fmla="*/ 64 h 67"/>
                <a:gd name="T12" fmla="*/ 5 w 37"/>
                <a:gd name="T13" fmla="*/ 67 h 67"/>
                <a:gd name="T14" fmla="*/ 0 w 37"/>
                <a:gd name="T15" fmla="*/ 49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67">
                  <a:moveTo>
                    <a:pt x="0" y="49"/>
                  </a:moveTo>
                  <a:cubicBezTo>
                    <a:pt x="0" y="49"/>
                    <a:pt x="4" y="32"/>
                    <a:pt x="7" y="29"/>
                  </a:cubicBezTo>
                  <a:cubicBezTo>
                    <a:pt x="9" y="26"/>
                    <a:pt x="22" y="0"/>
                    <a:pt x="24" y="3"/>
                  </a:cubicBezTo>
                  <a:cubicBezTo>
                    <a:pt x="26" y="7"/>
                    <a:pt x="17" y="28"/>
                    <a:pt x="18" y="29"/>
                  </a:cubicBezTo>
                  <a:cubicBezTo>
                    <a:pt x="18" y="29"/>
                    <a:pt x="30" y="34"/>
                    <a:pt x="34" y="37"/>
                  </a:cubicBezTo>
                  <a:cubicBezTo>
                    <a:pt x="37" y="41"/>
                    <a:pt x="22" y="64"/>
                    <a:pt x="22" y="64"/>
                  </a:cubicBezTo>
                  <a:cubicBezTo>
                    <a:pt x="5" y="67"/>
                    <a:pt x="5" y="67"/>
                    <a:pt x="5" y="67"/>
                  </a:cubicBezTo>
                  <a:cubicBezTo>
                    <a:pt x="0" y="49"/>
                    <a:pt x="0" y="49"/>
                    <a:pt x="0" y="49"/>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00">
              <a:extLst>
                <a:ext uri="{FF2B5EF4-FFF2-40B4-BE49-F238E27FC236}">
                  <a16:creationId xmlns:a16="http://schemas.microsoft.com/office/drawing/2014/main" id="{EABB03D3-96E4-4CFC-8D32-E8B371900FFE}"/>
                </a:ext>
              </a:extLst>
            </p:cNvPr>
            <p:cNvSpPr>
              <a:spLocks/>
            </p:cNvSpPr>
            <p:nvPr/>
          </p:nvSpPr>
          <p:spPr bwMode="auto">
            <a:xfrm>
              <a:off x="1570038" y="4159250"/>
              <a:ext cx="39688" cy="30163"/>
            </a:xfrm>
            <a:custGeom>
              <a:avLst/>
              <a:gdLst>
                <a:gd name="T0" fmla="*/ 1 w 8"/>
                <a:gd name="T1" fmla="*/ 3 h 6"/>
                <a:gd name="T2" fmla="*/ 5 w 8"/>
                <a:gd name="T3" fmla="*/ 0 h 6"/>
                <a:gd name="T4" fmla="*/ 8 w 8"/>
                <a:gd name="T5" fmla="*/ 1 h 6"/>
                <a:gd name="T6" fmla="*/ 7 w 8"/>
                <a:gd name="T7" fmla="*/ 3 h 6"/>
                <a:gd name="T8" fmla="*/ 3 w 8"/>
                <a:gd name="T9" fmla="*/ 6 h 6"/>
                <a:gd name="T10" fmla="*/ 1 w 8"/>
                <a:gd name="T11" fmla="*/ 5 h 6"/>
                <a:gd name="T12" fmla="*/ 1 w 8"/>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1" y="3"/>
                  </a:moveTo>
                  <a:cubicBezTo>
                    <a:pt x="5" y="0"/>
                    <a:pt x="5" y="0"/>
                    <a:pt x="5" y="0"/>
                  </a:cubicBezTo>
                  <a:cubicBezTo>
                    <a:pt x="6" y="0"/>
                    <a:pt x="7" y="0"/>
                    <a:pt x="8" y="1"/>
                  </a:cubicBezTo>
                  <a:cubicBezTo>
                    <a:pt x="8" y="2"/>
                    <a:pt x="8" y="3"/>
                    <a:pt x="7" y="3"/>
                  </a:cubicBezTo>
                  <a:cubicBezTo>
                    <a:pt x="3" y="6"/>
                    <a:pt x="3" y="6"/>
                    <a:pt x="3" y="6"/>
                  </a:cubicBezTo>
                  <a:cubicBezTo>
                    <a:pt x="2" y="6"/>
                    <a:pt x="1" y="6"/>
                    <a:pt x="1" y="5"/>
                  </a:cubicBezTo>
                  <a:cubicBezTo>
                    <a:pt x="0" y="4"/>
                    <a:pt x="0" y="3"/>
                    <a:pt x="1" y="3"/>
                  </a:cubicBezTo>
                  <a:close/>
                </a:path>
              </a:pathLst>
            </a:custGeom>
            <a:solidFill>
              <a:srgbClr val="8FA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01">
              <a:extLst>
                <a:ext uri="{FF2B5EF4-FFF2-40B4-BE49-F238E27FC236}">
                  <a16:creationId xmlns:a16="http://schemas.microsoft.com/office/drawing/2014/main" id="{2B719997-006B-44C7-AA00-D0165987F722}"/>
                </a:ext>
              </a:extLst>
            </p:cNvPr>
            <p:cNvSpPr>
              <a:spLocks/>
            </p:cNvSpPr>
            <p:nvPr/>
          </p:nvSpPr>
          <p:spPr bwMode="auto">
            <a:xfrm>
              <a:off x="1289051" y="4164013"/>
              <a:ext cx="306388" cy="219075"/>
            </a:xfrm>
            <a:custGeom>
              <a:avLst/>
              <a:gdLst>
                <a:gd name="T0" fmla="*/ 1 w 60"/>
                <a:gd name="T1" fmla="*/ 42 h 43"/>
                <a:gd name="T2" fmla="*/ 1 w 60"/>
                <a:gd name="T3" fmla="*/ 42 h 43"/>
                <a:gd name="T4" fmla="*/ 8 w 60"/>
                <a:gd name="T5" fmla="*/ 33 h 43"/>
                <a:gd name="T6" fmla="*/ 55 w 60"/>
                <a:gd name="T7" fmla="*/ 1 h 43"/>
                <a:gd name="T8" fmla="*/ 59 w 60"/>
                <a:gd name="T9" fmla="*/ 2 h 43"/>
                <a:gd name="T10" fmla="*/ 58 w 60"/>
                <a:gd name="T11" fmla="*/ 7 h 43"/>
                <a:gd name="T12" fmla="*/ 12 w 60"/>
                <a:gd name="T13" fmla="*/ 39 h 43"/>
                <a:gd name="T14" fmla="*/ 1 w 60"/>
                <a:gd name="T15" fmla="*/ 4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43">
                  <a:moveTo>
                    <a:pt x="1" y="42"/>
                  </a:moveTo>
                  <a:cubicBezTo>
                    <a:pt x="1" y="42"/>
                    <a:pt x="1" y="42"/>
                    <a:pt x="1" y="42"/>
                  </a:cubicBezTo>
                  <a:cubicBezTo>
                    <a:pt x="0" y="40"/>
                    <a:pt x="6" y="34"/>
                    <a:pt x="8" y="33"/>
                  </a:cubicBezTo>
                  <a:cubicBezTo>
                    <a:pt x="55" y="1"/>
                    <a:pt x="55" y="1"/>
                    <a:pt x="55" y="1"/>
                  </a:cubicBezTo>
                  <a:cubicBezTo>
                    <a:pt x="56" y="0"/>
                    <a:pt x="58" y="1"/>
                    <a:pt x="59" y="2"/>
                  </a:cubicBezTo>
                  <a:cubicBezTo>
                    <a:pt x="60" y="4"/>
                    <a:pt x="60" y="6"/>
                    <a:pt x="58" y="7"/>
                  </a:cubicBezTo>
                  <a:cubicBezTo>
                    <a:pt x="12" y="39"/>
                    <a:pt x="12" y="39"/>
                    <a:pt x="12" y="39"/>
                  </a:cubicBezTo>
                  <a:cubicBezTo>
                    <a:pt x="10" y="40"/>
                    <a:pt x="2" y="43"/>
                    <a:pt x="1" y="42"/>
                  </a:cubicBezTo>
                  <a:close/>
                </a:path>
              </a:pathLst>
            </a:custGeom>
            <a:solidFill>
              <a:srgbClr val="4B5C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02">
              <a:extLst>
                <a:ext uri="{FF2B5EF4-FFF2-40B4-BE49-F238E27FC236}">
                  <a16:creationId xmlns:a16="http://schemas.microsoft.com/office/drawing/2014/main" id="{416915A3-42EB-47E7-AC7A-A3FAFC4E223D}"/>
                </a:ext>
              </a:extLst>
            </p:cNvPr>
            <p:cNvSpPr>
              <a:spLocks/>
            </p:cNvSpPr>
            <p:nvPr/>
          </p:nvSpPr>
          <p:spPr bwMode="auto">
            <a:xfrm>
              <a:off x="1539876" y="4179888"/>
              <a:ext cx="34925" cy="41275"/>
            </a:xfrm>
            <a:custGeom>
              <a:avLst/>
              <a:gdLst>
                <a:gd name="T0" fmla="*/ 12 w 22"/>
                <a:gd name="T1" fmla="*/ 26 h 26"/>
                <a:gd name="T2" fmla="*/ 0 w 22"/>
                <a:gd name="T3" fmla="*/ 6 h 26"/>
                <a:gd name="T4" fmla="*/ 9 w 22"/>
                <a:gd name="T5" fmla="*/ 0 h 26"/>
                <a:gd name="T6" fmla="*/ 22 w 22"/>
                <a:gd name="T7" fmla="*/ 19 h 26"/>
                <a:gd name="T8" fmla="*/ 12 w 22"/>
                <a:gd name="T9" fmla="*/ 26 h 26"/>
                <a:gd name="T10" fmla="*/ 12 w 22"/>
                <a:gd name="T11" fmla="*/ 26 h 26"/>
              </a:gdLst>
              <a:ahLst/>
              <a:cxnLst>
                <a:cxn ang="0">
                  <a:pos x="T0" y="T1"/>
                </a:cxn>
                <a:cxn ang="0">
                  <a:pos x="T2" y="T3"/>
                </a:cxn>
                <a:cxn ang="0">
                  <a:pos x="T4" y="T5"/>
                </a:cxn>
                <a:cxn ang="0">
                  <a:pos x="T6" y="T7"/>
                </a:cxn>
                <a:cxn ang="0">
                  <a:pos x="T8" y="T9"/>
                </a:cxn>
                <a:cxn ang="0">
                  <a:pos x="T10" y="T11"/>
                </a:cxn>
              </a:cxnLst>
              <a:rect l="0" t="0" r="r" b="b"/>
              <a:pathLst>
                <a:path w="22" h="26">
                  <a:moveTo>
                    <a:pt x="12" y="26"/>
                  </a:moveTo>
                  <a:lnTo>
                    <a:pt x="0" y="6"/>
                  </a:lnTo>
                  <a:lnTo>
                    <a:pt x="9" y="0"/>
                  </a:lnTo>
                  <a:lnTo>
                    <a:pt x="22" y="19"/>
                  </a:lnTo>
                  <a:lnTo>
                    <a:pt x="12" y="26"/>
                  </a:lnTo>
                  <a:lnTo>
                    <a:pt x="12" y="26"/>
                  </a:lnTo>
                  <a:close/>
                </a:path>
              </a:pathLst>
            </a:custGeom>
            <a:solidFill>
              <a:srgbClr val="8FA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03">
              <a:extLst>
                <a:ext uri="{FF2B5EF4-FFF2-40B4-BE49-F238E27FC236}">
                  <a16:creationId xmlns:a16="http://schemas.microsoft.com/office/drawing/2014/main" id="{74AC2981-CD50-4612-AA31-479BC1F239CE}"/>
                </a:ext>
              </a:extLst>
            </p:cNvPr>
            <p:cNvSpPr>
              <a:spLocks/>
            </p:cNvSpPr>
            <p:nvPr/>
          </p:nvSpPr>
          <p:spPr bwMode="auto">
            <a:xfrm>
              <a:off x="1482726" y="4189413"/>
              <a:ext cx="87313" cy="61913"/>
            </a:xfrm>
            <a:custGeom>
              <a:avLst/>
              <a:gdLst>
                <a:gd name="T0" fmla="*/ 0 w 55"/>
                <a:gd name="T1" fmla="*/ 39 h 39"/>
                <a:gd name="T2" fmla="*/ 0 w 55"/>
                <a:gd name="T3" fmla="*/ 39 h 39"/>
                <a:gd name="T4" fmla="*/ 0 w 55"/>
                <a:gd name="T5" fmla="*/ 36 h 39"/>
                <a:gd name="T6" fmla="*/ 52 w 55"/>
                <a:gd name="T7" fmla="*/ 0 h 39"/>
                <a:gd name="T8" fmla="*/ 55 w 55"/>
                <a:gd name="T9" fmla="*/ 0 h 39"/>
                <a:gd name="T10" fmla="*/ 55 w 55"/>
                <a:gd name="T11" fmla="*/ 7 h 39"/>
                <a:gd name="T12" fmla="*/ 7 w 55"/>
                <a:gd name="T13" fmla="*/ 39 h 39"/>
                <a:gd name="T14" fmla="*/ 0 w 55"/>
                <a:gd name="T15" fmla="*/ 39 h 39"/>
                <a:gd name="T16" fmla="*/ 0 w 55"/>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39">
                  <a:moveTo>
                    <a:pt x="0" y="39"/>
                  </a:moveTo>
                  <a:lnTo>
                    <a:pt x="0" y="39"/>
                  </a:lnTo>
                  <a:lnTo>
                    <a:pt x="0" y="36"/>
                  </a:lnTo>
                  <a:lnTo>
                    <a:pt x="52" y="0"/>
                  </a:lnTo>
                  <a:lnTo>
                    <a:pt x="55" y="0"/>
                  </a:lnTo>
                  <a:lnTo>
                    <a:pt x="55" y="7"/>
                  </a:lnTo>
                  <a:lnTo>
                    <a:pt x="7" y="39"/>
                  </a:lnTo>
                  <a:lnTo>
                    <a:pt x="0" y="39"/>
                  </a:lnTo>
                  <a:lnTo>
                    <a:pt x="0" y="39"/>
                  </a:lnTo>
                  <a:close/>
                </a:path>
              </a:pathLst>
            </a:custGeom>
            <a:solidFill>
              <a:srgbClr val="C9DA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04">
              <a:extLst>
                <a:ext uri="{FF2B5EF4-FFF2-40B4-BE49-F238E27FC236}">
                  <a16:creationId xmlns:a16="http://schemas.microsoft.com/office/drawing/2014/main" id="{E780681C-5CEC-4EC3-84F0-B5DB9718A18F}"/>
                </a:ext>
              </a:extLst>
            </p:cNvPr>
            <p:cNvSpPr>
              <a:spLocks/>
            </p:cNvSpPr>
            <p:nvPr/>
          </p:nvSpPr>
          <p:spPr bwMode="auto">
            <a:xfrm>
              <a:off x="1289051" y="4318000"/>
              <a:ext cx="82550" cy="106363"/>
            </a:xfrm>
            <a:custGeom>
              <a:avLst/>
              <a:gdLst>
                <a:gd name="T0" fmla="*/ 14 w 16"/>
                <a:gd name="T1" fmla="*/ 20 h 21"/>
                <a:gd name="T2" fmla="*/ 14 w 16"/>
                <a:gd name="T3" fmla="*/ 20 h 21"/>
                <a:gd name="T4" fmla="*/ 15 w 16"/>
                <a:gd name="T5" fmla="*/ 15 h 21"/>
                <a:gd name="T6" fmla="*/ 7 w 16"/>
                <a:gd name="T7" fmla="*/ 2 h 21"/>
                <a:gd name="T8" fmla="*/ 3 w 16"/>
                <a:gd name="T9" fmla="*/ 1 h 21"/>
                <a:gd name="T10" fmla="*/ 3 w 16"/>
                <a:gd name="T11" fmla="*/ 1 h 21"/>
                <a:gd name="T12" fmla="*/ 1 w 16"/>
                <a:gd name="T13" fmla="*/ 6 h 21"/>
                <a:gd name="T14" fmla="*/ 9 w 16"/>
                <a:gd name="T15" fmla="*/ 19 h 21"/>
                <a:gd name="T16" fmla="*/ 14 w 16"/>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1">
                  <a:moveTo>
                    <a:pt x="14" y="20"/>
                  </a:moveTo>
                  <a:cubicBezTo>
                    <a:pt x="14" y="20"/>
                    <a:pt x="14" y="20"/>
                    <a:pt x="14" y="20"/>
                  </a:cubicBezTo>
                  <a:cubicBezTo>
                    <a:pt x="15" y="19"/>
                    <a:pt x="16" y="17"/>
                    <a:pt x="15" y="15"/>
                  </a:cubicBezTo>
                  <a:cubicBezTo>
                    <a:pt x="7" y="2"/>
                    <a:pt x="7" y="2"/>
                    <a:pt x="7" y="2"/>
                  </a:cubicBezTo>
                  <a:cubicBezTo>
                    <a:pt x="7" y="0"/>
                    <a:pt x="4" y="0"/>
                    <a:pt x="3" y="1"/>
                  </a:cubicBezTo>
                  <a:cubicBezTo>
                    <a:pt x="3" y="1"/>
                    <a:pt x="3" y="1"/>
                    <a:pt x="3" y="1"/>
                  </a:cubicBezTo>
                  <a:cubicBezTo>
                    <a:pt x="1" y="2"/>
                    <a:pt x="0" y="4"/>
                    <a:pt x="1" y="6"/>
                  </a:cubicBezTo>
                  <a:cubicBezTo>
                    <a:pt x="9" y="19"/>
                    <a:pt x="9" y="19"/>
                    <a:pt x="9" y="19"/>
                  </a:cubicBezTo>
                  <a:cubicBezTo>
                    <a:pt x="10" y="20"/>
                    <a:pt x="12" y="21"/>
                    <a:pt x="14" y="20"/>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05">
              <a:extLst>
                <a:ext uri="{FF2B5EF4-FFF2-40B4-BE49-F238E27FC236}">
                  <a16:creationId xmlns:a16="http://schemas.microsoft.com/office/drawing/2014/main" id="{6D9231CA-183D-49EB-AD54-05591627AF83}"/>
                </a:ext>
              </a:extLst>
            </p:cNvPr>
            <p:cNvSpPr>
              <a:spLocks/>
            </p:cNvSpPr>
            <p:nvPr/>
          </p:nvSpPr>
          <p:spPr bwMode="auto">
            <a:xfrm>
              <a:off x="1320801" y="4302125"/>
              <a:ext cx="80963" cy="106363"/>
            </a:xfrm>
            <a:custGeom>
              <a:avLst/>
              <a:gdLst>
                <a:gd name="T0" fmla="*/ 14 w 16"/>
                <a:gd name="T1" fmla="*/ 20 h 21"/>
                <a:gd name="T2" fmla="*/ 14 w 16"/>
                <a:gd name="T3" fmla="*/ 20 h 21"/>
                <a:gd name="T4" fmla="*/ 15 w 16"/>
                <a:gd name="T5" fmla="*/ 15 h 21"/>
                <a:gd name="T6" fmla="*/ 8 w 16"/>
                <a:gd name="T7" fmla="*/ 2 h 21"/>
                <a:gd name="T8" fmla="*/ 3 w 16"/>
                <a:gd name="T9" fmla="*/ 1 h 21"/>
                <a:gd name="T10" fmla="*/ 3 w 16"/>
                <a:gd name="T11" fmla="*/ 1 h 21"/>
                <a:gd name="T12" fmla="*/ 1 w 16"/>
                <a:gd name="T13" fmla="*/ 6 h 21"/>
                <a:gd name="T14" fmla="*/ 9 w 16"/>
                <a:gd name="T15" fmla="*/ 19 h 21"/>
                <a:gd name="T16" fmla="*/ 14 w 16"/>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1">
                  <a:moveTo>
                    <a:pt x="14" y="20"/>
                  </a:moveTo>
                  <a:cubicBezTo>
                    <a:pt x="14" y="20"/>
                    <a:pt x="14" y="20"/>
                    <a:pt x="14" y="20"/>
                  </a:cubicBezTo>
                  <a:cubicBezTo>
                    <a:pt x="15" y="19"/>
                    <a:pt x="16" y="17"/>
                    <a:pt x="15" y="15"/>
                  </a:cubicBezTo>
                  <a:cubicBezTo>
                    <a:pt x="8" y="2"/>
                    <a:pt x="8" y="2"/>
                    <a:pt x="8" y="2"/>
                  </a:cubicBezTo>
                  <a:cubicBezTo>
                    <a:pt x="7" y="1"/>
                    <a:pt x="4" y="0"/>
                    <a:pt x="3" y="1"/>
                  </a:cubicBezTo>
                  <a:cubicBezTo>
                    <a:pt x="3" y="1"/>
                    <a:pt x="3" y="1"/>
                    <a:pt x="3" y="1"/>
                  </a:cubicBezTo>
                  <a:cubicBezTo>
                    <a:pt x="1" y="2"/>
                    <a:pt x="0" y="4"/>
                    <a:pt x="1" y="6"/>
                  </a:cubicBezTo>
                  <a:cubicBezTo>
                    <a:pt x="9" y="19"/>
                    <a:pt x="9" y="19"/>
                    <a:pt x="9" y="19"/>
                  </a:cubicBezTo>
                  <a:cubicBezTo>
                    <a:pt x="10" y="21"/>
                    <a:pt x="12" y="21"/>
                    <a:pt x="14" y="20"/>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06">
              <a:extLst>
                <a:ext uri="{FF2B5EF4-FFF2-40B4-BE49-F238E27FC236}">
                  <a16:creationId xmlns:a16="http://schemas.microsoft.com/office/drawing/2014/main" id="{297CE69B-6D08-46FB-B5C8-D9C56029D706}"/>
                </a:ext>
              </a:extLst>
            </p:cNvPr>
            <p:cNvSpPr>
              <a:spLocks/>
            </p:cNvSpPr>
            <p:nvPr/>
          </p:nvSpPr>
          <p:spPr bwMode="auto">
            <a:xfrm>
              <a:off x="1350963" y="4286250"/>
              <a:ext cx="80963" cy="107950"/>
            </a:xfrm>
            <a:custGeom>
              <a:avLst/>
              <a:gdLst>
                <a:gd name="T0" fmla="*/ 14 w 16"/>
                <a:gd name="T1" fmla="*/ 20 h 21"/>
                <a:gd name="T2" fmla="*/ 14 w 16"/>
                <a:gd name="T3" fmla="*/ 20 h 21"/>
                <a:gd name="T4" fmla="*/ 15 w 16"/>
                <a:gd name="T5" fmla="*/ 15 h 21"/>
                <a:gd name="T6" fmla="*/ 7 w 16"/>
                <a:gd name="T7" fmla="*/ 2 h 21"/>
                <a:gd name="T8" fmla="*/ 2 w 16"/>
                <a:gd name="T9" fmla="*/ 1 h 21"/>
                <a:gd name="T10" fmla="*/ 2 w 16"/>
                <a:gd name="T11" fmla="*/ 1 h 21"/>
                <a:gd name="T12" fmla="*/ 1 w 16"/>
                <a:gd name="T13" fmla="*/ 6 h 21"/>
                <a:gd name="T14" fmla="*/ 9 w 16"/>
                <a:gd name="T15" fmla="*/ 19 h 21"/>
                <a:gd name="T16" fmla="*/ 14 w 16"/>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1">
                  <a:moveTo>
                    <a:pt x="14" y="20"/>
                  </a:moveTo>
                  <a:cubicBezTo>
                    <a:pt x="14" y="20"/>
                    <a:pt x="14" y="20"/>
                    <a:pt x="14" y="20"/>
                  </a:cubicBezTo>
                  <a:cubicBezTo>
                    <a:pt x="15" y="19"/>
                    <a:pt x="16" y="17"/>
                    <a:pt x="15" y="15"/>
                  </a:cubicBezTo>
                  <a:cubicBezTo>
                    <a:pt x="7" y="2"/>
                    <a:pt x="7" y="2"/>
                    <a:pt x="7" y="2"/>
                  </a:cubicBezTo>
                  <a:cubicBezTo>
                    <a:pt x="6" y="1"/>
                    <a:pt x="4" y="0"/>
                    <a:pt x="2" y="1"/>
                  </a:cubicBezTo>
                  <a:cubicBezTo>
                    <a:pt x="2" y="1"/>
                    <a:pt x="2" y="1"/>
                    <a:pt x="2" y="1"/>
                  </a:cubicBezTo>
                  <a:cubicBezTo>
                    <a:pt x="1" y="2"/>
                    <a:pt x="0" y="4"/>
                    <a:pt x="1" y="6"/>
                  </a:cubicBezTo>
                  <a:cubicBezTo>
                    <a:pt x="9" y="19"/>
                    <a:pt x="9" y="19"/>
                    <a:pt x="9" y="19"/>
                  </a:cubicBezTo>
                  <a:cubicBezTo>
                    <a:pt x="10" y="21"/>
                    <a:pt x="12" y="21"/>
                    <a:pt x="14" y="20"/>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7">
              <a:extLst>
                <a:ext uri="{FF2B5EF4-FFF2-40B4-BE49-F238E27FC236}">
                  <a16:creationId xmlns:a16="http://schemas.microsoft.com/office/drawing/2014/main" id="{1FEC42E4-52E7-45B1-8042-9274984C45F2}"/>
                </a:ext>
              </a:extLst>
            </p:cNvPr>
            <p:cNvSpPr>
              <a:spLocks/>
            </p:cNvSpPr>
            <p:nvPr/>
          </p:nvSpPr>
          <p:spPr bwMode="auto">
            <a:xfrm>
              <a:off x="1376363" y="4267200"/>
              <a:ext cx="80963" cy="111125"/>
            </a:xfrm>
            <a:custGeom>
              <a:avLst/>
              <a:gdLst>
                <a:gd name="T0" fmla="*/ 14 w 16"/>
                <a:gd name="T1" fmla="*/ 21 h 22"/>
                <a:gd name="T2" fmla="*/ 14 w 16"/>
                <a:gd name="T3" fmla="*/ 21 h 22"/>
                <a:gd name="T4" fmla="*/ 15 w 16"/>
                <a:gd name="T5" fmla="*/ 16 h 22"/>
                <a:gd name="T6" fmla="*/ 8 w 16"/>
                <a:gd name="T7" fmla="*/ 3 h 22"/>
                <a:gd name="T8" fmla="*/ 3 w 16"/>
                <a:gd name="T9" fmla="*/ 1 h 22"/>
                <a:gd name="T10" fmla="*/ 3 w 16"/>
                <a:gd name="T11" fmla="*/ 1 h 22"/>
                <a:gd name="T12" fmla="*/ 1 w 16"/>
                <a:gd name="T13" fmla="*/ 6 h 22"/>
                <a:gd name="T14" fmla="*/ 9 w 16"/>
                <a:gd name="T15" fmla="*/ 19 h 22"/>
                <a:gd name="T16" fmla="*/ 14 w 16"/>
                <a:gd name="T17"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2">
                  <a:moveTo>
                    <a:pt x="14" y="21"/>
                  </a:moveTo>
                  <a:cubicBezTo>
                    <a:pt x="14" y="21"/>
                    <a:pt x="14" y="21"/>
                    <a:pt x="14" y="21"/>
                  </a:cubicBezTo>
                  <a:cubicBezTo>
                    <a:pt x="15" y="20"/>
                    <a:pt x="16" y="18"/>
                    <a:pt x="15" y="16"/>
                  </a:cubicBezTo>
                  <a:cubicBezTo>
                    <a:pt x="8" y="3"/>
                    <a:pt x="8" y="3"/>
                    <a:pt x="8" y="3"/>
                  </a:cubicBezTo>
                  <a:cubicBezTo>
                    <a:pt x="7" y="1"/>
                    <a:pt x="4" y="0"/>
                    <a:pt x="3" y="1"/>
                  </a:cubicBezTo>
                  <a:cubicBezTo>
                    <a:pt x="3" y="1"/>
                    <a:pt x="3" y="1"/>
                    <a:pt x="3" y="1"/>
                  </a:cubicBezTo>
                  <a:cubicBezTo>
                    <a:pt x="1" y="2"/>
                    <a:pt x="0" y="5"/>
                    <a:pt x="1" y="6"/>
                  </a:cubicBezTo>
                  <a:cubicBezTo>
                    <a:pt x="9" y="19"/>
                    <a:pt x="9" y="19"/>
                    <a:pt x="9" y="19"/>
                  </a:cubicBezTo>
                  <a:cubicBezTo>
                    <a:pt x="10" y="21"/>
                    <a:pt x="12" y="22"/>
                    <a:pt x="14" y="21"/>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08">
              <a:extLst>
                <a:ext uri="{FF2B5EF4-FFF2-40B4-BE49-F238E27FC236}">
                  <a16:creationId xmlns:a16="http://schemas.microsoft.com/office/drawing/2014/main" id="{79F6E5A4-10D9-45F9-A0A9-5CABD69CEABF}"/>
                </a:ext>
              </a:extLst>
            </p:cNvPr>
            <p:cNvSpPr>
              <a:spLocks/>
            </p:cNvSpPr>
            <p:nvPr/>
          </p:nvSpPr>
          <p:spPr bwMode="auto">
            <a:xfrm>
              <a:off x="1233488" y="4149725"/>
              <a:ext cx="223838" cy="263525"/>
            </a:xfrm>
            <a:custGeom>
              <a:avLst/>
              <a:gdLst>
                <a:gd name="T0" fmla="*/ 11 w 44"/>
                <a:gd name="T1" fmla="*/ 0 h 52"/>
                <a:gd name="T2" fmla="*/ 34 w 44"/>
                <a:gd name="T3" fmla="*/ 18 h 52"/>
                <a:gd name="T4" fmla="*/ 44 w 44"/>
                <a:gd name="T5" fmla="*/ 40 h 52"/>
                <a:gd name="T6" fmla="*/ 32 w 44"/>
                <a:gd name="T7" fmla="*/ 41 h 52"/>
                <a:gd name="T8" fmla="*/ 20 w 44"/>
                <a:gd name="T9" fmla="*/ 52 h 52"/>
                <a:gd name="T10" fmla="*/ 5 w 44"/>
                <a:gd name="T11" fmla="*/ 33 h 52"/>
                <a:gd name="T12" fmla="*/ 0 w 44"/>
                <a:gd name="T13" fmla="*/ 18 h 52"/>
                <a:gd name="T14" fmla="*/ 11 w 44"/>
                <a:gd name="T15" fmla="*/ 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52">
                  <a:moveTo>
                    <a:pt x="11" y="0"/>
                  </a:moveTo>
                  <a:cubicBezTo>
                    <a:pt x="11" y="0"/>
                    <a:pt x="31" y="14"/>
                    <a:pt x="34" y="18"/>
                  </a:cubicBezTo>
                  <a:cubicBezTo>
                    <a:pt x="37" y="22"/>
                    <a:pt x="44" y="40"/>
                    <a:pt x="44" y="40"/>
                  </a:cubicBezTo>
                  <a:cubicBezTo>
                    <a:pt x="44" y="40"/>
                    <a:pt x="35" y="39"/>
                    <a:pt x="32" y="41"/>
                  </a:cubicBezTo>
                  <a:cubicBezTo>
                    <a:pt x="28" y="44"/>
                    <a:pt x="20" y="52"/>
                    <a:pt x="20" y="52"/>
                  </a:cubicBezTo>
                  <a:cubicBezTo>
                    <a:pt x="20" y="52"/>
                    <a:pt x="8" y="40"/>
                    <a:pt x="5" y="33"/>
                  </a:cubicBezTo>
                  <a:cubicBezTo>
                    <a:pt x="1" y="26"/>
                    <a:pt x="0" y="18"/>
                    <a:pt x="0" y="18"/>
                  </a:cubicBezTo>
                  <a:cubicBezTo>
                    <a:pt x="11" y="0"/>
                    <a:pt x="11" y="0"/>
                    <a:pt x="11" y="0"/>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Rectangle 109">
              <a:extLst>
                <a:ext uri="{FF2B5EF4-FFF2-40B4-BE49-F238E27FC236}">
                  <a16:creationId xmlns:a16="http://schemas.microsoft.com/office/drawing/2014/main" id="{C0D046A6-4D9C-42B2-BD30-DA27AF1F4673}"/>
                </a:ext>
              </a:extLst>
            </p:cNvPr>
            <p:cNvSpPr>
              <a:spLocks noChangeArrowheads="1"/>
            </p:cNvSpPr>
            <p:nvPr/>
          </p:nvSpPr>
          <p:spPr bwMode="auto">
            <a:xfrm>
              <a:off x="1238251" y="4403725"/>
              <a:ext cx="122238" cy="1816100"/>
            </a:xfrm>
            <a:prstGeom prst="rect">
              <a:avLst/>
            </a:prstGeom>
            <a:solidFill>
              <a:srgbClr val="7985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Rectangle 110">
              <a:extLst>
                <a:ext uri="{FF2B5EF4-FFF2-40B4-BE49-F238E27FC236}">
                  <a16:creationId xmlns:a16="http://schemas.microsoft.com/office/drawing/2014/main" id="{DEFE3E66-59F9-4152-8812-4D898EFDAD42}"/>
                </a:ext>
              </a:extLst>
            </p:cNvPr>
            <p:cNvSpPr>
              <a:spLocks noChangeArrowheads="1"/>
            </p:cNvSpPr>
            <p:nvPr/>
          </p:nvSpPr>
          <p:spPr bwMode="auto">
            <a:xfrm>
              <a:off x="1238251" y="4403725"/>
              <a:ext cx="122238"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Rectangle 111">
              <a:extLst>
                <a:ext uri="{FF2B5EF4-FFF2-40B4-BE49-F238E27FC236}">
                  <a16:creationId xmlns:a16="http://schemas.microsoft.com/office/drawing/2014/main" id="{69E55702-264E-4D12-A0BE-14784957AF8C}"/>
                </a:ext>
              </a:extLst>
            </p:cNvPr>
            <p:cNvSpPr>
              <a:spLocks noChangeArrowheads="1"/>
            </p:cNvSpPr>
            <p:nvPr/>
          </p:nvSpPr>
          <p:spPr bwMode="auto">
            <a:xfrm>
              <a:off x="4495801" y="4403725"/>
              <a:ext cx="117475" cy="1816100"/>
            </a:xfrm>
            <a:prstGeom prst="rect">
              <a:avLst/>
            </a:prstGeom>
            <a:solidFill>
              <a:srgbClr val="7985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Rectangle 112">
              <a:extLst>
                <a:ext uri="{FF2B5EF4-FFF2-40B4-BE49-F238E27FC236}">
                  <a16:creationId xmlns:a16="http://schemas.microsoft.com/office/drawing/2014/main" id="{F996640C-27F9-4745-91B3-A11EE5B02D31}"/>
                </a:ext>
              </a:extLst>
            </p:cNvPr>
            <p:cNvSpPr>
              <a:spLocks noChangeArrowheads="1"/>
            </p:cNvSpPr>
            <p:nvPr/>
          </p:nvSpPr>
          <p:spPr bwMode="auto">
            <a:xfrm>
              <a:off x="4495801" y="4403725"/>
              <a:ext cx="117475"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113">
              <a:extLst>
                <a:ext uri="{FF2B5EF4-FFF2-40B4-BE49-F238E27FC236}">
                  <a16:creationId xmlns:a16="http://schemas.microsoft.com/office/drawing/2014/main" id="{39996724-8D9C-465F-801D-8D2785DB6DC9}"/>
                </a:ext>
              </a:extLst>
            </p:cNvPr>
            <p:cNvSpPr>
              <a:spLocks noChangeArrowheads="1"/>
            </p:cNvSpPr>
            <p:nvPr/>
          </p:nvSpPr>
          <p:spPr bwMode="auto">
            <a:xfrm>
              <a:off x="1258888" y="4433888"/>
              <a:ext cx="3333750" cy="260350"/>
            </a:xfrm>
            <a:prstGeom prst="rect">
              <a:avLst/>
            </a:prstGeom>
            <a:solidFill>
              <a:srgbClr val="7985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Rectangle 114">
              <a:extLst>
                <a:ext uri="{FF2B5EF4-FFF2-40B4-BE49-F238E27FC236}">
                  <a16:creationId xmlns:a16="http://schemas.microsoft.com/office/drawing/2014/main" id="{F09645EB-2BA3-4533-A69F-6487C556B4CC}"/>
                </a:ext>
              </a:extLst>
            </p:cNvPr>
            <p:cNvSpPr>
              <a:spLocks noChangeArrowheads="1"/>
            </p:cNvSpPr>
            <p:nvPr/>
          </p:nvSpPr>
          <p:spPr bwMode="auto">
            <a:xfrm>
              <a:off x="1258888" y="4433888"/>
              <a:ext cx="333375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Rectangle 115">
              <a:extLst>
                <a:ext uri="{FF2B5EF4-FFF2-40B4-BE49-F238E27FC236}">
                  <a16:creationId xmlns:a16="http://schemas.microsoft.com/office/drawing/2014/main" id="{0F35596B-D16B-445B-9222-4651D8ABEDE0}"/>
                </a:ext>
              </a:extLst>
            </p:cNvPr>
            <p:cNvSpPr>
              <a:spLocks noChangeArrowheads="1"/>
            </p:cNvSpPr>
            <p:nvPr/>
          </p:nvSpPr>
          <p:spPr bwMode="auto">
            <a:xfrm>
              <a:off x="1238251" y="4546600"/>
              <a:ext cx="20638" cy="85725"/>
            </a:xfrm>
            <a:prstGeom prst="rect">
              <a:avLst/>
            </a:prstGeom>
            <a:solidFill>
              <a:srgbClr val="5960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Rectangle 116">
              <a:extLst>
                <a:ext uri="{FF2B5EF4-FFF2-40B4-BE49-F238E27FC236}">
                  <a16:creationId xmlns:a16="http://schemas.microsoft.com/office/drawing/2014/main" id="{8175F3AC-7A0B-4A92-8C8C-3994A9A7E534}"/>
                </a:ext>
              </a:extLst>
            </p:cNvPr>
            <p:cNvSpPr>
              <a:spLocks noChangeArrowheads="1"/>
            </p:cNvSpPr>
            <p:nvPr/>
          </p:nvSpPr>
          <p:spPr bwMode="auto">
            <a:xfrm>
              <a:off x="1238251" y="4546600"/>
              <a:ext cx="20638" cy="8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Rectangle 117">
              <a:extLst>
                <a:ext uri="{FF2B5EF4-FFF2-40B4-BE49-F238E27FC236}">
                  <a16:creationId xmlns:a16="http://schemas.microsoft.com/office/drawing/2014/main" id="{3D47CB1E-C0E3-495B-8A0E-D41B5D2BB64D}"/>
                </a:ext>
              </a:extLst>
            </p:cNvPr>
            <p:cNvSpPr>
              <a:spLocks noChangeArrowheads="1"/>
            </p:cNvSpPr>
            <p:nvPr/>
          </p:nvSpPr>
          <p:spPr bwMode="auto">
            <a:xfrm>
              <a:off x="4592638" y="4551363"/>
              <a:ext cx="20638" cy="55563"/>
            </a:xfrm>
            <a:prstGeom prst="rect">
              <a:avLst/>
            </a:prstGeom>
            <a:solidFill>
              <a:srgbClr val="5960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Rectangle 118">
              <a:extLst>
                <a:ext uri="{FF2B5EF4-FFF2-40B4-BE49-F238E27FC236}">
                  <a16:creationId xmlns:a16="http://schemas.microsoft.com/office/drawing/2014/main" id="{67CE7B2D-927A-4BD9-BA58-E32F4C49AE9A}"/>
                </a:ext>
              </a:extLst>
            </p:cNvPr>
            <p:cNvSpPr>
              <a:spLocks noChangeArrowheads="1"/>
            </p:cNvSpPr>
            <p:nvPr/>
          </p:nvSpPr>
          <p:spPr bwMode="auto">
            <a:xfrm>
              <a:off x="4592638" y="4551363"/>
              <a:ext cx="20638" cy="5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19">
              <a:extLst>
                <a:ext uri="{FF2B5EF4-FFF2-40B4-BE49-F238E27FC236}">
                  <a16:creationId xmlns:a16="http://schemas.microsoft.com/office/drawing/2014/main" id="{8BFAB32A-3C2C-4E18-8630-F046E6408C18}"/>
                </a:ext>
              </a:extLst>
            </p:cNvPr>
            <p:cNvSpPr>
              <a:spLocks/>
            </p:cNvSpPr>
            <p:nvPr/>
          </p:nvSpPr>
          <p:spPr bwMode="auto">
            <a:xfrm>
              <a:off x="1258888" y="4546600"/>
              <a:ext cx="3333750" cy="85725"/>
            </a:xfrm>
            <a:custGeom>
              <a:avLst/>
              <a:gdLst>
                <a:gd name="T0" fmla="*/ 0 w 2100"/>
                <a:gd name="T1" fmla="*/ 54 h 54"/>
                <a:gd name="T2" fmla="*/ 0 w 2100"/>
                <a:gd name="T3" fmla="*/ 0 h 54"/>
                <a:gd name="T4" fmla="*/ 2100 w 2100"/>
                <a:gd name="T5" fmla="*/ 3 h 54"/>
                <a:gd name="T6" fmla="*/ 2100 w 2100"/>
                <a:gd name="T7" fmla="*/ 38 h 54"/>
                <a:gd name="T8" fmla="*/ 0 w 2100"/>
                <a:gd name="T9" fmla="*/ 54 h 54"/>
              </a:gdLst>
              <a:ahLst/>
              <a:cxnLst>
                <a:cxn ang="0">
                  <a:pos x="T0" y="T1"/>
                </a:cxn>
                <a:cxn ang="0">
                  <a:pos x="T2" y="T3"/>
                </a:cxn>
                <a:cxn ang="0">
                  <a:pos x="T4" y="T5"/>
                </a:cxn>
                <a:cxn ang="0">
                  <a:pos x="T6" y="T7"/>
                </a:cxn>
                <a:cxn ang="0">
                  <a:pos x="T8" y="T9"/>
                </a:cxn>
              </a:cxnLst>
              <a:rect l="0" t="0" r="r" b="b"/>
              <a:pathLst>
                <a:path w="2100" h="54">
                  <a:moveTo>
                    <a:pt x="0" y="54"/>
                  </a:moveTo>
                  <a:lnTo>
                    <a:pt x="0" y="0"/>
                  </a:lnTo>
                  <a:lnTo>
                    <a:pt x="2100" y="3"/>
                  </a:lnTo>
                  <a:lnTo>
                    <a:pt x="2100" y="38"/>
                  </a:lnTo>
                  <a:lnTo>
                    <a:pt x="0" y="54"/>
                  </a:lnTo>
                  <a:close/>
                </a:path>
              </a:pathLst>
            </a:custGeom>
            <a:solidFill>
              <a:srgbClr val="5960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20">
              <a:extLst>
                <a:ext uri="{FF2B5EF4-FFF2-40B4-BE49-F238E27FC236}">
                  <a16:creationId xmlns:a16="http://schemas.microsoft.com/office/drawing/2014/main" id="{BD94A4DD-D889-42BF-9D1B-00254DB3E5E1}"/>
                </a:ext>
              </a:extLst>
            </p:cNvPr>
            <p:cNvSpPr>
              <a:spLocks/>
            </p:cNvSpPr>
            <p:nvPr/>
          </p:nvSpPr>
          <p:spPr bwMode="auto">
            <a:xfrm>
              <a:off x="1258888" y="4546600"/>
              <a:ext cx="3333750" cy="85725"/>
            </a:xfrm>
            <a:custGeom>
              <a:avLst/>
              <a:gdLst>
                <a:gd name="T0" fmla="*/ 0 w 2100"/>
                <a:gd name="T1" fmla="*/ 54 h 54"/>
                <a:gd name="T2" fmla="*/ 0 w 2100"/>
                <a:gd name="T3" fmla="*/ 0 h 54"/>
                <a:gd name="T4" fmla="*/ 2100 w 2100"/>
                <a:gd name="T5" fmla="*/ 3 h 54"/>
                <a:gd name="T6" fmla="*/ 2100 w 2100"/>
                <a:gd name="T7" fmla="*/ 38 h 54"/>
                <a:gd name="T8" fmla="*/ 0 w 2100"/>
                <a:gd name="T9" fmla="*/ 54 h 54"/>
              </a:gdLst>
              <a:ahLst/>
              <a:cxnLst>
                <a:cxn ang="0">
                  <a:pos x="T0" y="T1"/>
                </a:cxn>
                <a:cxn ang="0">
                  <a:pos x="T2" y="T3"/>
                </a:cxn>
                <a:cxn ang="0">
                  <a:pos x="T4" y="T5"/>
                </a:cxn>
                <a:cxn ang="0">
                  <a:pos x="T6" y="T7"/>
                </a:cxn>
                <a:cxn ang="0">
                  <a:pos x="T8" y="T9"/>
                </a:cxn>
              </a:cxnLst>
              <a:rect l="0" t="0" r="r" b="b"/>
              <a:pathLst>
                <a:path w="2100" h="54">
                  <a:moveTo>
                    <a:pt x="0" y="54"/>
                  </a:moveTo>
                  <a:lnTo>
                    <a:pt x="0" y="0"/>
                  </a:lnTo>
                  <a:lnTo>
                    <a:pt x="2100" y="3"/>
                  </a:lnTo>
                  <a:lnTo>
                    <a:pt x="2100" y="38"/>
                  </a:lnTo>
                  <a:lnTo>
                    <a:pt x="0"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21">
              <a:extLst>
                <a:ext uri="{FF2B5EF4-FFF2-40B4-BE49-F238E27FC236}">
                  <a16:creationId xmlns:a16="http://schemas.microsoft.com/office/drawing/2014/main" id="{0C3F0F02-7628-4838-8639-C058765075FB}"/>
                </a:ext>
              </a:extLst>
            </p:cNvPr>
            <p:cNvSpPr>
              <a:spLocks/>
            </p:cNvSpPr>
            <p:nvPr/>
          </p:nvSpPr>
          <p:spPr bwMode="auto">
            <a:xfrm>
              <a:off x="1096963" y="4398963"/>
              <a:ext cx="3668713" cy="152400"/>
            </a:xfrm>
            <a:custGeom>
              <a:avLst/>
              <a:gdLst>
                <a:gd name="T0" fmla="*/ 2311 w 2311"/>
                <a:gd name="T1" fmla="*/ 96 h 96"/>
                <a:gd name="T2" fmla="*/ 0 w 2311"/>
                <a:gd name="T3" fmla="*/ 96 h 96"/>
                <a:gd name="T4" fmla="*/ 0 w 2311"/>
                <a:gd name="T5" fmla="*/ 0 h 96"/>
                <a:gd name="T6" fmla="*/ 2311 w 2311"/>
                <a:gd name="T7" fmla="*/ 0 h 96"/>
                <a:gd name="T8" fmla="*/ 2311 w 2311"/>
                <a:gd name="T9" fmla="*/ 96 h 96"/>
                <a:gd name="T10" fmla="*/ 2311 w 2311"/>
                <a:gd name="T11" fmla="*/ 96 h 96"/>
              </a:gdLst>
              <a:ahLst/>
              <a:cxnLst>
                <a:cxn ang="0">
                  <a:pos x="T0" y="T1"/>
                </a:cxn>
                <a:cxn ang="0">
                  <a:pos x="T2" y="T3"/>
                </a:cxn>
                <a:cxn ang="0">
                  <a:pos x="T4" y="T5"/>
                </a:cxn>
                <a:cxn ang="0">
                  <a:pos x="T6" y="T7"/>
                </a:cxn>
                <a:cxn ang="0">
                  <a:pos x="T8" y="T9"/>
                </a:cxn>
                <a:cxn ang="0">
                  <a:pos x="T10" y="T11"/>
                </a:cxn>
              </a:cxnLst>
              <a:rect l="0" t="0" r="r" b="b"/>
              <a:pathLst>
                <a:path w="2311" h="96">
                  <a:moveTo>
                    <a:pt x="2311" y="96"/>
                  </a:moveTo>
                  <a:lnTo>
                    <a:pt x="0" y="96"/>
                  </a:lnTo>
                  <a:lnTo>
                    <a:pt x="0" y="0"/>
                  </a:lnTo>
                  <a:lnTo>
                    <a:pt x="2311" y="0"/>
                  </a:lnTo>
                  <a:lnTo>
                    <a:pt x="2311" y="96"/>
                  </a:lnTo>
                  <a:lnTo>
                    <a:pt x="2311" y="96"/>
                  </a:lnTo>
                  <a:close/>
                </a:path>
              </a:pathLst>
            </a:custGeom>
            <a:solidFill>
              <a:srgbClr val="99A1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22">
              <a:extLst>
                <a:ext uri="{FF2B5EF4-FFF2-40B4-BE49-F238E27FC236}">
                  <a16:creationId xmlns:a16="http://schemas.microsoft.com/office/drawing/2014/main" id="{60AF847B-F96C-4B1D-B829-006871718C99}"/>
                </a:ext>
              </a:extLst>
            </p:cNvPr>
            <p:cNvSpPr>
              <a:spLocks/>
            </p:cNvSpPr>
            <p:nvPr/>
          </p:nvSpPr>
          <p:spPr bwMode="auto">
            <a:xfrm>
              <a:off x="4302126" y="3187700"/>
              <a:ext cx="519113" cy="920750"/>
            </a:xfrm>
            <a:custGeom>
              <a:avLst/>
              <a:gdLst>
                <a:gd name="T0" fmla="*/ 27 w 102"/>
                <a:gd name="T1" fmla="*/ 5 h 181"/>
                <a:gd name="T2" fmla="*/ 61 w 102"/>
                <a:gd name="T3" fmla="*/ 31 h 181"/>
                <a:gd name="T4" fmla="*/ 89 w 102"/>
                <a:gd name="T5" fmla="*/ 130 h 181"/>
                <a:gd name="T6" fmla="*/ 81 w 102"/>
                <a:gd name="T7" fmla="*/ 172 h 181"/>
                <a:gd name="T8" fmla="*/ 45 w 102"/>
                <a:gd name="T9" fmla="*/ 144 h 181"/>
                <a:gd name="T10" fmla="*/ 27 w 102"/>
                <a:gd name="T11" fmla="*/ 5 h 181"/>
              </a:gdLst>
              <a:ahLst/>
              <a:cxnLst>
                <a:cxn ang="0">
                  <a:pos x="T0" y="T1"/>
                </a:cxn>
                <a:cxn ang="0">
                  <a:pos x="T2" y="T3"/>
                </a:cxn>
                <a:cxn ang="0">
                  <a:pos x="T4" y="T5"/>
                </a:cxn>
                <a:cxn ang="0">
                  <a:pos x="T6" y="T7"/>
                </a:cxn>
                <a:cxn ang="0">
                  <a:pos x="T8" y="T9"/>
                </a:cxn>
                <a:cxn ang="0">
                  <a:pos x="T10" y="T11"/>
                </a:cxn>
              </a:cxnLst>
              <a:rect l="0" t="0" r="r" b="b"/>
              <a:pathLst>
                <a:path w="102" h="181">
                  <a:moveTo>
                    <a:pt x="27" y="5"/>
                  </a:moveTo>
                  <a:cubicBezTo>
                    <a:pt x="37" y="0"/>
                    <a:pt x="53" y="7"/>
                    <a:pt x="61" y="31"/>
                  </a:cubicBezTo>
                  <a:cubicBezTo>
                    <a:pt x="69" y="55"/>
                    <a:pt x="87" y="119"/>
                    <a:pt x="89" y="130"/>
                  </a:cubicBezTo>
                  <a:cubicBezTo>
                    <a:pt x="92" y="141"/>
                    <a:pt x="102" y="163"/>
                    <a:pt x="81" y="172"/>
                  </a:cubicBezTo>
                  <a:cubicBezTo>
                    <a:pt x="61" y="181"/>
                    <a:pt x="52" y="160"/>
                    <a:pt x="45" y="144"/>
                  </a:cubicBezTo>
                  <a:cubicBezTo>
                    <a:pt x="13" y="70"/>
                    <a:pt x="0" y="19"/>
                    <a:pt x="27" y="5"/>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23">
              <a:extLst>
                <a:ext uri="{FF2B5EF4-FFF2-40B4-BE49-F238E27FC236}">
                  <a16:creationId xmlns:a16="http://schemas.microsoft.com/office/drawing/2014/main" id="{B0A9F97B-E9A0-45DC-9B62-AD0EADE14F3C}"/>
                </a:ext>
              </a:extLst>
            </p:cNvPr>
            <p:cNvSpPr>
              <a:spLocks/>
            </p:cNvSpPr>
            <p:nvPr/>
          </p:nvSpPr>
          <p:spPr bwMode="auto">
            <a:xfrm>
              <a:off x="2801938" y="3787775"/>
              <a:ext cx="711200" cy="280988"/>
            </a:xfrm>
            <a:custGeom>
              <a:avLst/>
              <a:gdLst>
                <a:gd name="T0" fmla="*/ 130 w 140"/>
                <a:gd name="T1" fmla="*/ 17 h 55"/>
                <a:gd name="T2" fmla="*/ 89 w 140"/>
                <a:gd name="T3" fmla="*/ 7 h 55"/>
                <a:gd name="T4" fmla="*/ 0 w 140"/>
                <a:gd name="T5" fmla="*/ 36 h 55"/>
                <a:gd name="T6" fmla="*/ 2 w 140"/>
                <a:gd name="T7" fmla="*/ 52 h 55"/>
                <a:gd name="T8" fmla="*/ 79 w 140"/>
                <a:gd name="T9" fmla="*/ 51 h 55"/>
                <a:gd name="T10" fmla="*/ 130 w 140"/>
                <a:gd name="T11" fmla="*/ 17 h 55"/>
              </a:gdLst>
              <a:ahLst/>
              <a:cxnLst>
                <a:cxn ang="0">
                  <a:pos x="T0" y="T1"/>
                </a:cxn>
                <a:cxn ang="0">
                  <a:pos x="T2" y="T3"/>
                </a:cxn>
                <a:cxn ang="0">
                  <a:pos x="T4" y="T5"/>
                </a:cxn>
                <a:cxn ang="0">
                  <a:pos x="T6" y="T7"/>
                </a:cxn>
                <a:cxn ang="0">
                  <a:pos x="T8" y="T9"/>
                </a:cxn>
                <a:cxn ang="0">
                  <a:pos x="T10" y="T11"/>
                </a:cxn>
              </a:cxnLst>
              <a:rect l="0" t="0" r="r" b="b"/>
              <a:pathLst>
                <a:path w="140" h="55">
                  <a:moveTo>
                    <a:pt x="130" y="17"/>
                  </a:moveTo>
                  <a:cubicBezTo>
                    <a:pt x="126" y="7"/>
                    <a:pt x="118" y="0"/>
                    <a:pt x="89" y="7"/>
                  </a:cubicBezTo>
                  <a:cubicBezTo>
                    <a:pt x="60" y="14"/>
                    <a:pt x="0" y="36"/>
                    <a:pt x="0" y="36"/>
                  </a:cubicBezTo>
                  <a:cubicBezTo>
                    <a:pt x="2" y="52"/>
                    <a:pt x="2" y="52"/>
                    <a:pt x="2" y="52"/>
                  </a:cubicBezTo>
                  <a:cubicBezTo>
                    <a:pt x="2" y="52"/>
                    <a:pt x="63" y="55"/>
                    <a:pt x="79" y="51"/>
                  </a:cubicBezTo>
                  <a:cubicBezTo>
                    <a:pt x="95" y="48"/>
                    <a:pt x="140" y="43"/>
                    <a:pt x="130" y="17"/>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24">
              <a:extLst>
                <a:ext uri="{FF2B5EF4-FFF2-40B4-BE49-F238E27FC236}">
                  <a16:creationId xmlns:a16="http://schemas.microsoft.com/office/drawing/2014/main" id="{3755BD53-15EB-4072-AE18-725ECC7274CF}"/>
                </a:ext>
              </a:extLst>
            </p:cNvPr>
            <p:cNvSpPr>
              <a:spLocks/>
            </p:cNvSpPr>
            <p:nvPr/>
          </p:nvSpPr>
          <p:spPr bwMode="auto">
            <a:xfrm>
              <a:off x="4103688" y="3854450"/>
              <a:ext cx="708025" cy="274638"/>
            </a:xfrm>
            <a:custGeom>
              <a:avLst/>
              <a:gdLst>
                <a:gd name="T0" fmla="*/ 129 w 139"/>
                <a:gd name="T1" fmla="*/ 17 h 54"/>
                <a:gd name="T2" fmla="*/ 88 w 139"/>
                <a:gd name="T3" fmla="*/ 7 h 54"/>
                <a:gd name="T4" fmla="*/ 0 w 139"/>
                <a:gd name="T5" fmla="*/ 36 h 54"/>
                <a:gd name="T6" fmla="*/ 2 w 139"/>
                <a:gd name="T7" fmla="*/ 52 h 54"/>
                <a:gd name="T8" fmla="*/ 79 w 139"/>
                <a:gd name="T9" fmla="*/ 51 h 54"/>
                <a:gd name="T10" fmla="*/ 129 w 139"/>
                <a:gd name="T11" fmla="*/ 17 h 54"/>
              </a:gdLst>
              <a:ahLst/>
              <a:cxnLst>
                <a:cxn ang="0">
                  <a:pos x="T0" y="T1"/>
                </a:cxn>
                <a:cxn ang="0">
                  <a:pos x="T2" y="T3"/>
                </a:cxn>
                <a:cxn ang="0">
                  <a:pos x="T4" y="T5"/>
                </a:cxn>
                <a:cxn ang="0">
                  <a:pos x="T6" y="T7"/>
                </a:cxn>
                <a:cxn ang="0">
                  <a:pos x="T8" y="T9"/>
                </a:cxn>
                <a:cxn ang="0">
                  <a:pos x="T10" y="T11"/>
                </a:cxn>
              </a:cxnLst>
              <a:rect l="0" t="0" r="r" b="b"/>
              <a:pathLst>
                <a:path w="139" h="54">
                  <a:moveTo>
                    <a:pt x="129" y="17"/>
                  </a:moveTo>
                  <a:cubicBezTo>
                    <a:pt x="125" y="7"/>
                    <a:pt x="117" y="0"/>
                    <a:pt x="88" y="7"/>
                  </a:cubicBezTo>
                  <a:cubicBezTo>
                    <a:pt x="59" y="14"/>
                    <a:pt x="0" y="36"/>
                    <a:pt x="0" y="36"/>
                  </a:cubicBezTo>
                  <a:cubicBezTo>
                    <a:pt x="2" y="52"/>
                    <a:pt x="2" y="52"/>
                    <a:pt x="2" y="52"/>
                  </a:cubicBezTo>
                  <a:cubicBezTo>
                    <a:pt x="2" y="52"/>
                    <a:pt x="63" y="54"/>
                    <a:pt x="79" y="51"/>
                  </a:cubicBezTo>
                  <a:cubicBezTo>
                    <a:pt x="95" y="48"/>
                    <a:pt x="139" y="43"/>
                    <a:pt x="129" y="17"/>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25">
              <a:extLst>
                <a:ext uri="{FF2B5EF4-FFF2-40B4-BE49-F238E27FC236}">
                  <a16:creationId xmlns:a16="http://schemas.microsoft.com/office/drawing/2014/main" id="{F22A3557-95A1-439C-A407-4295AAB4E400}"/>
                </a:ext>
              </a:extLst>
            </p:cNvPr>
            <p:cNvSpPr>
              <a:spLocks/>
            </p:cNvSpPr>
            <p:nvPr/>
          </p:nvSpPr>
          <p:spPr bwMode="auto">
            <a:xfrm>
              <a:off x="4221163" y="6259513"/>
              <a:ext cx="325438" cy="188913"/>
            </a:xfrm>
            <a:custGeom>
              <a:avLst/>
              <a:gdLst>
                <a:gd name="T0" fmla="*/ 27 w 64"/>
                <a:gd name="T1" fmla="*/ 6 h 37"/>
                <a:gd name="T2" fmla="*/ 51 w 64"/>
                <a:gd name="T3" fmla="*/ 0 h 37"/>
                <a:gd name="T4" fmla="*/ 64 w 64"/>
                <a:gd name="T5" fmla="*/ 10 h 37"/>
                <a:gd name="T6" fmla="*/ 60 w 64"/>
                <a:gd name="T7" fmla="*/ 17 h 37"/>
                <a:gd name="T8" fmla="*/ 28 w 64"/>
                <a:gd name="T9" fmla="*/ 36 h 37"/>
                <a:gd name="T10" fmla="*/ 5 w 64"/>
                <a:gd name="T11" fmla="*/ 36 h 37"/>
                <a:gd name="T12" fmla="*/ 0 w 64"/>
                <a:gd name="T13" fmla="*/ 16 h 37"/>
                <a:gd name="T14" fmla="*/ 27 w 64"/>
                <a:gd name="T15" fmla="*/ 6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37">
                  <a:moveTo>
                    <a:pt x="27" y="6"/>
                  </a:moveTo>
                  <a:cubicBezTo>
                    <a:pt x="27" y="6"/>
                    <a:pt x="43" y="0"/>
                    <a:pt x="51" y="0"/>
                  </a:cubicBezTo>
                  <a:cubicBezTo>
                    <a:pt x="57" y="0"/>
                    <a:pt x="64" y="5"/>
                    <a:pt x="64" y="10"/>
                  </a:cubicBezTo>
                  <a:cubicBezTo>
                    <a:pt x="64" y="12"/>
                    <a:pt x="62" y="14"/>
                    <a:pt x="60" y="17"/>
                  </a:cubicBezTo>
                  <a:cubicBezTo>
                    <a:pt x="58" y="19"/>
                    <a:pt x="34" y="36"/>
                    <a:pt x="28" y="36"/>
                  </a:cubicBezTo>
                  <a:cubicBezTo>
                    <a:pt x="19" y="37"/>
                    <a:pt x="10" y="37"/>
                    <a:pt x="5" y="36"/>
                  </a:cubicBezTo>
                  <a:cubicBezTo>
                    <a:pt x="0" y="34"/>
                    <a:pt x="0" y="16"/>
                    <a:pt x="0" y="16"/>
                  </a:cubicBezTo>
                  <a:cubicBezTo>
                    <a:pt x="27" y="6"/>
                    <a:pt x="27" y="6"/>
                    <a:pt x="27" y="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73" name="Freeform 126">
              <a:extLst>
                <a:ext uri="{FF2B5EF4-FFF2-40B4-BE49-F238E27FC236}">
                  <a16:creationId xmlns:a16="http://schemas.microsoft.com/office/drawing/2014/main" id="{580E55F3-FE20-4887-A063-77404A91322B}"/>
                </a:ext>
              </a:extLst>
            </p:cNvPr>
            <p:cNvSpPr>
              <a:spLocks/>
            </p:cNvSpPr>
            <p:nvPr/>
          </p:nvSpPr>
          <p:spPr bwMode="auto">
            <a:xfrm>
              <a:off x="3630613" y="3162300"/>
              <a:ext cx="982663" cy="1500188"/>
            </a:xfrm>
            <a:custGeom>
              <a:avLst/>
              <a:gdLst>
                <a:gd name="T0" fmla="*/ 40 w 193"/>
                <a:gd name="T1" fmla="*/ 124 h 295"/>
                <a:gd name="T2" fmla="*/ 17 w 193"/>
                <a:gd name="T3" fmla="*/ 21 h 295"/>
                <a:gd name="T4" fmla="*/ 101 w 193"/>
                <a:gd name="T5" fmla="*/ 0 h 295"/>
                <a:gd name="T6" fmla="*/ 101 w 193"/>
                <a:gd name="T7" fmla="*/ 1 h 295"/>
                <a:gd name="T8" fmla="*/ 177 w 193"/>
                <a:gd name="T9" fmla="*/ 21 h 295"/>
                <a:gd name="T10" fmla="*/ 163 w 193"/>
                <a:gd name="T11" fmla="*/ 125 h 295"/>
                <a:gd name="T12" fmla="*/ 162 w 193"/>
                <a:gd name="T13" fmla="*/ 201 h 295"/>
                <a:gd name="T14" fmla="*/ 167 w 193"/>
                <a:gd name="T15" fmla="*/ 261 h 295"/>
                <a:gd name="T16" fmla="*/ 101 w 193"/>
                <a:gd name="T17" fmla="*/ 295 h 295"/>
                <a:gd name="T18" fmla="*/ 101 w 193"/>
                <a:gd name="T19" fmla="*/ 294 h 295"/>
                <a:gd name="T20" fmla="*/ 35 w 193"/>
                <a:gd name="T21" fmla="*/ 260 h 295"/>
                <a:gd name="T22" fmla="*/ 41 w 193"/>
                <a:gd name="T23" fmla="*/ 200 h 295"/>
                <a:gd name="T24" fmla="*/ 40 w 193"/>
                <a:gd name="T25" fmla="*/ 12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3" h="295">
                  <a:moveTo>
                    <a:pt x="40" y="124"/>
                  </a:moveTo>
                  <a:cubicBezTo>
                    <a:pt x="29" y="90"/>
                    <a:pt x="0" y="32"/>
                    <a:pt x="17" y="21"/>
                  </a:cubicBezTo>
                  <a:cubicBezTo>
                    <a:pt x="39" y="8"/>
                    <a:pt x="101" y="0"/>
                    <a:pt x="101" y="0"/>
                  </a:cubicBezTo>
                  <a:cubicBezTo>
                    <a:pt x="101" y="1"/>
                    <a:pt x="101" y="1"/>
                    <a:pt x="101" y="1"/>
                  </a:cubicBezTo>
                  <a:cubicBezTo>
                    <a:pt x="101" y="1"/>
                    <a:pt x="155" y="8"/>
                    <a:pt x="177" y="21"/>
                  </a:cubicBezTo>
                  <a:cubicBezTo>
                    <a:pt x="193" y="31"/>
                    <a:pt x="174" y="91"/>
                    <a:pt x="163" y="125"/>
                  </a:cubicBezTo>
                  <a:cubicBezTo>
                    <a:pt x="160" y="133"/>
                    <a:pt x="161" y="169"/>
                    <a:pt x="162" y="201"/>
                  </a:cubicBezTo>
                  <a:cubicBezTo>
                    <a:pt x="162" y="209"/>
                    <a:pt x="168" y="246"/>
                    <a:pt x="167" y="261"/>
                  </a:cubicBezTo>
                  <a:cubicBezTo>
                    <a:pt x="167" y="266"/>
                    <a:pt x="116" y="294"/>
                    <a:pt x="101" y="295"/>
                  </a:cubicBezTo>
                  <a:cubicBezTo>
                    <a:pt x="101" y="294"/>
                    <a:pt x="101" y="294"/>
                    <a:pt x="101" y="294"/>
                  </a:cubicBezTo>
                  <a:cubicBezTo>
                    <a:pt x="87" y="293"/>
                    <a:pt x="36" y="265"/>
                    <a:pt x="35" y="260"/>
                  </a:cubicBezTo>
                  <a:cubicBezTo>
                    <a:pt x="34" y="245"/>
                    <a:pt x="41" y="208"/>
                    <a:pt x="41" y="200"/>
                  </a:cubicBezTo>
                  <a:cubicBezTo>
                    <a:pt x="42" y="168"/>
                    <a:pt x="42" y="132"/>
                    <a:pt x="40" y="124"/>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27">
              <a:extLst>
                <a:ext uri="{FF2B5EF4-FFF2-40B4-BE49-F238E27FC236}">
                  <a16:creationId xmlns:a16="http://schemas.microsoft.com/office/drawing/2014/main" id="{1D6A466A-1303-4931-A9BA-6168604630AC}"/>
                </a:ext>
              </a:extLst>
            </p:cNvPr>
            <p:cNvSpPr>
              <a:spLocks/>
            </p:cNvSpPr>
            <p:nvPr/>
          </p:nvSpPr>
          <p:spPr bwMode="auto">
            <a:xfrm>
              <a:off x="3233738" y="3213100"/>
              <a:ext cx="738188" cy="830263"/>
            </a:xfrm>
            <a:custGeom>
              <a:avLst/>
              <a:gdLst>
                <a:gd name="T0" fmla="*/ 124 w 145"/>
                <a:gd name="T1" fmla="*/ 8 h 163"/>
                <a:gd name="T2" fmla="*/ 84 w 145"/>
                <a:gd name="T3" fmla="*/ 21 h 163"/>
                <a:gd name="T4" fmla="*/ 23 w 145"/>
                <a:gd name="T5" fmla="*/ 105 h 163"/>
                <a:gd name="T6" fmla="*/ 16 w 145"/>
                <a:gd name="T7" fmla="*/ 147 h 163"/>
                <a:gd name="T8" fmla="*/ 60 w 145"/>
                <a:gd name="T9" fmla="*/ 132 h 163"/>
                <a:gd name="T10" fmla="*/ 124 w 145"/>
                <a:gd name="T11" fmla="*/ 8 h 163"/>
              </a:gdLst>
              <a:ahLst/>
              <a:cxnLst>
                <a:cxn ang="0">
                  <a:pos x="T0" y="T1"/>
                </a:cxn>
                <a:cxn ang="0">
                  <a:pos x="T2" y="T3"/>
                </a:cxn>
                <a:cxn ang="0">
                  <a:pos x="T4" y="T5"/>
                </a:cxn>
                <a:cxn ang="0">
                  <a:pos x="T6" y="T7"/>
                </a:cxn>
                <a:cxn ang="0">
                  <a:pos x="T8" y="T9"/>
                </a:cxn>
                <a:cxn ang="0">
                  <a:pos x="T10" y="T11"/>
                </a:cxn>
              </a:cxnLst>
              <a:rect l="0" t="0" r="r" b="b"/>
              <a:pathLst>
                <a:path w="145" h="163">
                  <a:moveTo>
                    <a:pt x="124" y="8"/>
                  </a:moveTo>
                  <a:cubicBezTo>
                    <a:pt x="116" y="0"/>
                    <a:pt x="99" y="1"/>
                    <a:pt x="84" y="21"/>
                  </a:cubicBezTo>
                  <a:cubicBezTo>
                    <a:pt x="68" y="42"/>
                    <a:pt x="29" y="95"/>
                    <a:pt x="23" y="105"/>
                  </a:cubicBezTo>
                  <a:cubicBezTo>
                    <a:pt x="17" y="114"/>
                    <a:pt x="0" y="131"/>
                    <a:pt x="16" y="147"/>
                  </a:cubicBezTo>
                  <a:cubicBezTo>
                    <a:pt x="32" y="163"/>
                    <a:pt x="48" y="145"/>
                    <a:pt x="60" y="132"/>
                  </a:cubicBezTo>
                  <a:cubicBezTo>
                    <a:pt x="115" y="74"/>
                    <a:pt x="145" y="30"/>
                    <a:pt x="124" y="8"/>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28">
              <a:extLst>
                <a:ext uri="{FF2B5EF4-FFF2-40B4-BE49-F238E27FC236}">
                  <a16:creationId xmlns:a16="http://schemas.microsoft.com/office/drawing/2014/main" id="{60870884-C889-49FC-B7B0-0B83F14A0819}"/>
                </a:ext>
              </a:extLst>
            </p:cNvPr>
            <p:cNvSpPr>
              <a:spLocks/>
            </p:cNvSpPr>
            <p:nvPr/>
          </p:nvSpPr>
          <p:spPr bwMode="auto">
            <a:xfrm>
              <a:off x="3916363" y="2919413"/>
              <a:ext cx="457200" cy="279400"/>
            </a:xfrm>
            <a:custGeom>
              <a:avLst/>
              <a:gdLst>
                <a:gd name="T0" fmla="*/ 19 w 90"/>
                <a:gd name="T1" fmla="*/ 38 h 55"/>
                <a:gd name="T2" fmla="*/ 24 w 90"/>
                <a:gd name="T3" fmla="*/ 0 h 55"/>
                <a:gd name="T4" fmla="*/ 45 w 90"/>
                <a:gd name="T5" fmla="*/ 0 h 55"/>
                <a:gd name="T6" fmla="*/ 45 w 90"/>
                <a:gd name="T7" fmla="*/ 1 h 55"/>
                <a:gd name="T8" fmla="*/ 66 w 90"/>
                <a:gd name="T9" fmla="*/ 1 h 55"/>
                <a:gd name="T10" fmla="*/ 71 w 90"/>
                <a:gd name="T11" fmla="*/ 39 h 55"/>
                <a:gd name="T12" fmla="*/ 90 w 90"/>
                <a:gd name="T13" fmla="*/ 55 h 55"/>
                <a:gd name="T14" fmla="*/ 45 w 90"/>
                <a:gd name="T15" fmla="*/ 55 h 55"/>
                <a:gd name="T16" fmla="*/ 45 w 90"/>
                <a:gd name="T17" fmla="*/ 54 h 55"/>
                <a:gd name="T18" fmla="*/ 0 w 90"/>
                <a:gd name="T19" fmla="*/ 54 h 55"/>
                <a:gd name="T20" fmla="*/ 19 w 90"/>
                <a:gd name="T21" fmla="*/ 3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55">
                  <a:moveTo>
                    <a:pt x="19" y="38"/>
                  </a:moveTo>
                  <a:cubicBezTo>
                    <a:pt x="20" y="32"/>
                    <a:pt x="24" y="0"/>
                    <a:pt x="24" y="0"/>
                  </a:cubicBezTo>
                  <a:cubicBezTo>
                    <a:pt x="45" y="0"/>
                    <a:pt x="45" y="0"/>
                    <a:pt x="45" y="0"/>
                  </a:cubicBezTo>
                  <a:cubicBezTo>
                    <a:pt x="45" y="1"/>
                    <a:pt x="45" y="1"/>
                    <a:pt x="45" y="1"/>
                  </a:cubicBezTo>
                  <a:cubicBezTo>
                    <a:pt x="66" y="1"/>
                    <a:pt x="66" y="1"/>
                    <a:pt x="66" y="1"/>
                  </a:cubicBezTo>
                  <a:cubicBezTo>
                    <a:pt x="66" y="1"/>
                    <a:pt x="70" y="33"/>
                    <a:pt x="71" y="39"/>
                  </a:cubicBezTo>
                  <a:cubicBezTo>
                    <a:pt x="73" y="46"/>
                    <a:pt x="90" y="55"/>
                    <a:pt x="90" y="55"/>
                  </a:cubicBezTo>
                  <a:cubicBezTo>
                    <a:pt x="45" y="55"/>
                    <a:pt x="45" y="55"/>
                    <a:pt x="45" y="55"/>
                  </a:cubicBezTo>
                  <a:cubicBezTo>
                    <a:pt x="45" y="54"/>
                    <a:pt x="45" y="54"/>
                    <a:pt x="45" y="54"/>
                  </a:cubicBezTo>
                  <a:cubicBezTo>
                    <a:pt x="0" y="54"/>
                    <a:pt x="0" y="54"/>
                    <a:pt x="0" y="54"/>
                  </a:cubicBezTo>
                  <a:cubicBezTo>
                    <a:pt x="0" y="54"/>
                    <a:pt x="18" y="45"/>
                    <a:pt x="19" y="38"/>
                  </a:cubicBezTo>
                  <a:close/>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29">
              <a:extLst>
                <a:ext uri="{FF2B5EF4-FFF2-40B4-BE49-F238E27FC236}">
                  <a16:creationId xmlns:a16="http://schemas.microsoft.com/office/drawing/2014/main" id="{030728F9-68D3-4070-A90D-0ABB51B3B8A5}"/>
                </a:ext>
              </a:extLst>
            </p:cNvPr>
            <p:cNvSpPr>
              <a:spLocks/>
            </p:cNvSpPr>
            <p:nvPr/>
          </p:nvSpPr>
          <p:spPr bwMode="auto">
            <a:xfrm>
              <a:off x="4144963" y="4311650"/>
              <a:ext cx="355600" cy="1042988"/>
            </a:xfrm>
            <a:custGeom>
              <a:avLst/>
              <a:gdLst>
                <a:gd name="T0" fmla="*/ 34 w 70"/>
                <a:gd name="T1" fmla="*/ 0 h 205"/>
                <a:gd name="T2" fmla="*/ 69 w 70"/>
                <a:gd name="T3" fmla="*/ 73 h 205"/>
                <a:gd name="T4" fmla="*/ 57 w 70"/>
                <a:gd name="T5" fmla="*/ 197 h 205"/>
                <a:gd name="T6" fmla="*/ 13 w 70"/>
                <a:gd name="T7" fmla="*/ 200 h 205"/>
                <a:gd name="T8" fmla="*/ 0 w 70"/>
                <a:gd name="T9" fmla="*/ 63 h 205"/>
                <a:gd name="T10" fmla="*/ 34 w 70"/>
                <a:gd name="T11" fmla="*/ 0 h 205"/>
              </a:gdLst>
              <a:ahLst/>
              <a:cxnLst>
                <a:cxn ang="0">
                  <a:pos x="T0" y="T1"/>
                </a:cxn>
                <a:cxn ang="0">
                  <a:pos x="T2" y="T3"/>
                </a:cxn>
                <a:cxn ang="0">
                  <a:pos x="T4" y="T5"/>
                </a:cxn>
                <a:cxn ang="0">
                  <a:pos x="T6" y="T7"/>
                </a:cxn>
                <a:cxn ang="0">
                  <a:pos x="T8" y="T9"/>
                </a:cxn>
                <a:cxn ang="0">
                  <a:pos x="T10" y="T11"/>
                </a:cxn>
              </a:cxnLst>
              <a:rect l="0" t="0" r="r" b="b"/>
              <a:pathLst>
                <a:path w="70" h="205">
                  <a:moveTo>
                    <a:pt x="34" y="0"/>
                  </a:moveTo>
                  <a:cubicBezTo>
                    <a:pt x="60" y="0"/>
                    <a:pt x="70" y="18"/>
                    <a:pt x="69" y="73"/>
                  </a:cubicBezTo>
                  <a:cubicBezTo>
                    <a:pt x="69" y="128"/>
                    <a:pt x="60" y="188"/>
                    <a:pt x="57" y="197"/>
                  </a:cubicBezTo>
                  <a:cubicBezTo>
                    <a:pt x="53" y="205"/>
                    <a:pt x="17" y="205"/>
                    <a:pt x="13" y="200"/>
                  </a:cubicBezTo>
                  <a:cubicBezTo>
                    <a:pt x="9" y="195"/>
                    <a:pt x="0" y="81"/>
                    <a:pt x="0" y="63"/>
                  </a:cubicBezTo>
                  <a:cubicBezTo>
                    <a:pt x="0" y="45"/>
                    <a:pt x="6" y="0"/>
                    <a:pt x="34" y="0"/>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30">
              <a:extLst>
                <a:ext uri="{FF2B5EF4-FFF2-40B4-BE49-F238E27FC236}">
                  <a16:creationId xmlns:a16="http://schemas.microsoft.com/office/drawing/2014/main" id="{47D57834-DB14-4225-8528-92CC4F479B85}"/>
                </a:ext>
              </a:extLst>
            </p:cNvPr>
            <p:cNvSpPr>
              <a:spLocks/>
            </p:cNvSpPr>
            <p:nvPr/>
          </p:nvSpPr>
          <p:spPr bwMode="auto">
            <a:xfrm>
              <a:off x="4205288" y="5227638"/>
              <a:ext cx="230188" cy="309563"/>
            </a:xfrm>
            <a:custGeom>
              <a:avLst/>
              <a:gdLst>
                <a:gd name="T0" fmla="*/ 20 w 45"/>
                <a:gd name="T1" fmla="*/ 61 h 61"/>
                <a:gd name="T2" fmla="*/ 27 w 45"/>
                <a:gd name="T3" fmla="*/ 61 h 61"/>
                <a:gd name="T4" fmla="*/ 45 w 45"/>
                <a:gd name="T5" fmla="*/ 42 h 61"/>
                <a:gd name="T6" fmla="*/ 45 w 45"/>
                <a:gd name="T7" fmla="*/ 19 h 61"/>
                <a:gd name="T8" fmla="*/ 26 w 45"/>
                <a:gd name="T9" fmla="*/ 0 h 61"/>
                <a:gd name="T10" fmla="*/ 19 w 45"/>
                <a:gd name="T11" fmla="*/ 1 h 61"/>
                <a:gd name="T12" fmla="*/ 1 w 45"/>
                <a:gd name="T13" fmla="*/ 20 h 61"/>
                <a:gd name="T14" fmla="*/ 1 w 45"/>
                <a:gd name="T15" fmla="*/ 43 h 61"/>
                <a:gd name="T16" fmla="*/ 20 w 45"/>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61">
                  <a:moveTo>
                    <a:pt x="20" y="61"/>
                  </a:moveTo>
                  <a:cubicBezTo>
                    <a:pt x="27" y="61"/>
                    <a:pt x="27" y="61"/>
                    <a:pt x="27" y="61"/>
                  </a:cubicBezTo>
                  <a:cubicBezTo>
                    <a:pt x="37" y="60"/>
                    <a:pt x="45" y="52"/>
                    <a:pt x="45" y="42"/>
                  </a:cubicBezTo>
                  <a:cubicBezTo>
                    <a:pt x="45" y="19"/>
                    <a:pt x="45" y="19"/>
                    <a:pt x="45" y="19"/>
                  </a:cubicBezTo>
                  <a:cubicBezTo>
                    <a:pt x="44" y="8"/>
                    <a:pt x="36" y="0"/>
                    <a:pt x="26" y="0"/>
                  </a:cubicBezTo>
                  <a:cubicBezTo>
                    <a:pt x="19" y="1"/>
                    <a:pt x="19" y="1"/>
                    <a:pt x="19" y="1"/>
                  </a:cubicBezTo>
                  <a:cubicBezTo>
                    <a:pt x="9" y="1"/>
                    <a:pt x="0" y="9"/>
                    <a:pt x="1" y="20"/>
                  </a:cubicBezTo>
                  <a:cubicBezTo>
                    <a:pt x="1" y="43"/>
                    <a:pt x="1" y="43"/>
                    <a:pt x="1" y="43"/>
                  </a:cubicBezTo>
                  <a:cubicBezTo>
                    <a:pt x="1" y="53"/>
                    <a:pt x="10" y="61"/>
                    <a:pt x="20" y="61"/>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31">
              <a:extLst>
                <a:ext uri="{FF2B5EF4-FFF2-40B4-BE49-F238E27FC236}">
                  <a16:creationId xmlns:a16="http://schemas.microsoft.com/office/drawing/2014/main" id="{2033CC2E-1988-438E-9929-509D5DB6A847}"/>
                </a:ext>
              </a:extLst>
            </p:cNvPr>
            <p:cNvSpPr>
              <a:spLocks/>
            </p:cNvSpPr>
            <p:nvPr/>
          </p:nvSpPr>
          <p:spPr bwMode="auto">
            <a:xfrm>
              <a:off x="4200526" y="5364163"/>
              <a:ext cx="265113" cy="895350"/>
            </a:xfrm>
            <a:custGeom>
              <a:avLst/>
              <a:gdLst>
                <a:gd name="T0" fmla="*/ 25 w 52"/>
                <a:gd name="T1" fmla="*/ 0 h 176"/>
                <a:gd name="T2" fmla="*/ 51 w 52"/>
                <a:gd name="T3" fmla="*/ 54 h 176"/>
                <a:gd name="T4" fmla="*/ 28 w 52"/>
                <a:gd name="T5" fmla="*/ 176 h 176"/>
                <a:gd name="T6" fmla="*/ 10 w 52"/>
                <a:gd name="T7" fmla="*/ 176 h 176"/>
                <a:gd name="T8" fmla="*/ 0 w 52"/>
                <a:gd name="T9" fmla="*/ 63 h 176"/>
                <a:gd name="T10" fmla="*/ 25 w 52"/>
                <a:gd name="T11" fmla="*/ 0 h 176"/>
              </a:gdLst>
              <a:ahLst/>
              <a:cxnLst>
                <a:cxn ang="0">
                  <a:pos x="T0" y="T1"/>
                </a:cxn>
                <a:cxn ang="0">
                  <a:pos x="T2" y="T3"/>
                </a:cxn>
                <a:cxn ang="0">
                  <a:pos x="T4" y="T5"/>
                </a:cxn>
                <a:cxn ang="0">
                  <a:pos x="T6" y="T7"/>
                </a:cxn>
                <a:cxn ang="0">
                  <a:pos x="T8" y="T9"/>
                </a:cxn>
                <a:cxn ang="0">
                  <a:pos x="T10" y="T11"/>
                </a:cxn>
              </a:cxnLst>
              <a:rect l="0" t="0" r="r" b="b"/>
              <a:pathLst>
                <a:path w="52" h="176">
                  <a:moveTo>
                    <a:pt x="25" y="0"/>
                  </a:moveTo>
                  <a:cubicBezTo>
                    <a:pt x="33" y="0"/>
                    <a:pt x="52" y="3"/>
                    <a:pt x="51" y="54"/>
                  </a:cubicBezTo>
                  <a:cubicBezTo>
                    <a:pt x="50" y="106"/>
                    <a:pt x="28" y="176"/>
                    <a:pt x="28" y="176"/>
                  </a:cubicBezTo>
                  <a:cubicBezTo>
                    <a:pt x="10" y="176"/>
                    <a:pt x="10" y="176"/>
                    <a:pt x="10" y="176"/>
                  </a:cubicBezTo>
                  <a:cubicBezTo>
                    <a:pt x="10" y="176"/>
                    <a:pt x="0" y="81"/>
                    <a:pt x="0" y="63"/>
                  </a:cubicBezTo>
                  <a:cubicBezTo>
                    <a:pt x="0" y="21"/>
                    <a:pt x="0" y="0"/>
                    <a:pt x="25" y="0"/>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32">
              <a:extLst>
                <a:ext uri="{FF2B5EF4-FFF2-40B4-BE49-F238E27FC236}">
                  <a16:creationId xmlns:a16="http://schemas.microsoft.com/office/drawing/2014/main" id="{7FD2FEB4-CC7C-4559-9E3F-FC2DE677A95F}"/>
                </a:ext>
              </a:extLst>
            </p:cNvPr>
            <p:cNvSpPr>
              <a:spLocks/>
            </p:cNvSpPr>
            <p:nvPr/>
          </p:nvSpPr>
          <p:spPr bwMode="auto">
            <a:xfrm>
              <a:off x="3727451" y="4297363"/>
              <a:ext cx="392113" cy="1066800"/>
            </a:xfrm>
            <a:custGeom>
              <a:avLst/>
              <a:gdLst>
                <a:gd name="T0" fmla="*/ 48 w 77"/>
                <a:gd name="T1" fmla="*/ 3 h 210"/>
                <a:gd name="T2" fmla="*/ 5 w 77"/>
                <a:gd name="T3" fmla="*/ 72 h 210"/>
                <a:gd name="T4" fmla="*/ 5 w 77"/>
                <a:gd name="T5" fmla="*/ 197 h 210"/>
                <a:gd name="T6" fmla="*/ 48 w 77"/>
                <a:gd name="T7" fmla="*/ 205 h 210"/>
                <a:gd name="T8" fmla="*/ 75 w 77"/>
                <a:gd name="T9" fmla="*/ 69 h 210"/>
                <a:gd name="T10" fmla="*/ 48 w 77"/>
                <a:gd name="T11" fmla="*/ 3 h 210"/>
              </a:gdLst>
              <a:ahLst/>
              <a:cxnLst>
                <a:cxn ang="0">
                  <a:pos x="T0" y="T1"/>
                </a:cxn>
                <a:cxn ang="0">
                  <a:pos x="T2" y="T3"/>
                </a:cxn>
                <a:cxn ang="0">
                  <a:pos x="T4" y="T5"/>
                </a:cxn>
                <a:cxn ang="0">
                  <a:pos x="T6" y="T7"/>
                </a:cxn>
                <a:cxn ang="0">
                  <a:pos x="T8" y="T9"/>
                </a:cxn>
                <a:cxn ang="0">
                  <a:pos x="T10" y="T11"/>
                </a:cxn>
              </a:cxnLst>
              <a:rect l="0" t="0" r="r" b="b"/>
              <a:pathLst>
                <a:path w="77" h="210">
                  <a:moveTo>
                    <a:pt x="48" y="3"/>
                  </a:moveTo>
                  <a:cubicBezTo>
                    <a:pt x="22" y="0"/>
                    <a:pt x="10" y="17"/>
                    <a:pt x="5" y="72"/>
                  </a:cubicBezTo>
                  <a:cubicBezTo>
                    <a:pt x="0" y="127"/>
                    <a:pt x="2" y="188"/>
                    <a:pt x="5" y="197"/>
                  </a:cubicBezTo>
                  <a:cubicBezTo>
                    <a:pt x="7" y="205"/>
                    <a:pt x="44" y="210"/>
                    <a:pt x="48" y="205"/>
                  </a:cubicBezTo>
                  <a:cubicBezTo>
                    <a:pt x="52" y="200"/>
                    <a:pt x="73" y="87"/>
                    <a:pt x="75" y="69"/>
                  </a:cubicBezTo>
                  <a:cubicBezTo>
                    <a:pt x="77" y="52"/>
                    <a:pt x="76" y="6"/>
                    <a:pt x="48" y="3"/>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33">
              <a:extLst>
                <a:ext uri="{FF2B5EF4-FFF2-40B4-BE49-F238E27FC236}">
                  <a16:creationId xmlns:a16="http://schemas.microsoft.com/office/drawing/2014/main" id="{5C893421-8596-420E-9411-3199669BE6AF}"/>
                </a:ext>
              </a:extLst>
            </p:cNvPr>
            <p:cNvSpPr>
              <a:spLocks/>
            </p:cNvSpPr>
            <p:nvPr/>
          </p:nvSpPr>
          <p:spPr bwMode="auto">
            <a:xfrm>
              <a:off x="3727451" y="5218113"/>
              <a:ext cx="254000" cy="319088"/>
            </a:xfrm>
            <a:custGeom>
              <a:avLst/>
              <a:gdLst>
                <a:gd name="T0" fmla="*/ 24 w 50"/>
                <a:gd name="T1" fmla="*/ 62 h 63"/>
                <a:gd name="T2" fmla="*/ 18 w 50"/>
                <a:gd name="T3" fmla="*/ 61 h 63"/>
                <a:gd name="T4" fmla="*/ 2 w 50"/>
                <a:gd name="T5" fmla="*/ 40 h 63"/>
                <a:gd name="T6" fmla="*/ 5 w 50"/>
                <a:gd name="T7" fmla="*/ 18 h 63"/>
                <a:gd name="T8" fmla="*/ 25 w 50"/>
                <a:gd name="T9" fmla="*/ 1 h 63"/>
                <a:gd name="T10" fmla="*/ 32 w 50"/>
                <a:gd name="T11" fmla="*/ 2 h 63"/>
                <a:gd name="T12" fmla="*/ 48 w 50"/>
                <a:gd name="T13" fmla="*/ 23 h 63"/>
                <a:gd name="T14" fmla="*/ 45 w 50"/>
                <a:gd name="T15" fmla="*/ 46 h 63"/>
                <a:gd name="T16" fmla="*/ 24 w 50"/>
                <a:gd name="T17"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63">
                  <a:moveTo>
                    <a:pt x="24" y="62"/>
                  </a:moveTo>
                  <a:cubicBezTo>
                    <a:pt x="18" y="61"/>
                    <a:pt x="18" y="61"/>
                    <a:pt x="18" y="61"/>
                  </a:cubicBezTo>
                  <a:cubicBezTo>
                    <a:pt x="8" y="60"/>
                    <a:pt x="0" y="50"/>
                    <a:pt x="2" y="40"/>
                  </a:cubicBezTo>
                  <a:cubicBezTo>
                    <a:pt x="5" y="18"/>
                    <a:pt x="5" y="18"/>
                    <a:pt x="5" y="18"/>
                  </a:cubicBezTo>
                  <a:cubicBezTo>
                    <a:pt x="6" y="7"/>
                    <a:pt x="15" y="0"/>
                    <a:pt x="25" y="1"/>
                  </a:cubicBezTo>
                  <a:cubicBezTo>
                    <a:pt x="32" y="2"/>
                    <a:pt x="32" y="2"/>
                    <a:pt x="32" y="2"/>
                  </a:cubicBezTo>
                  <a:cubicBezTo>
                    <a:pt x="42" y="4"/>
                    <a:pt x="50" y="13"/>
                    <a:pt x="48" y="23"/>
                  </a:cubicBezTo>
                  <a:cubicBezTo>
                    <a:pt x="45" y="46"/>
                    <a:pt x="45" y="46"/>
                    <a:pt x="45" y="46"/>
                  </a:cubicBezTo>
                  <a:cubicBezTo>
                    <a:pt x="44" y="56"/>
                    <a:pt x="35" y="63"/>
                    <a:pt x="24" y="62"/>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34">
              <a:extLst>
                <a:ext uri="{FF2B5EF4-FFF2-40B4-BE49-F238E27FC236}">
                  <a16:creationId xmlns:a16="http://schemas.microsoft.com/office/drawing/2014/main" id="{50D67176-69F0-4E02-BB22-9610790B6311}"/>
                </a:ext>
              </a:extLst>
            </p:cNvPr>
            <p:cNvSpPr>
              <a:spLocks/>
            </p:cNvSpPr>
            <p:nvPr/>
          </p:nvSpPr>
          <p:spPr bwMode="auto">
            <a:xfrm>
              <a:off x="3667126" y="5354638"/>
              <a:ext cx="309563" cy="904875"/>
            </a:xfrm>
            <a:custGeom>
              <a:avLst/>
              <a:gdLst>
                <a:gd name="T0" fmla="*/ 36 w 61"/>
                <a:gd name="T1" fmla="*/ 1 h 178"/>
                <a:gd name="T2" fmla="*/ 5 w 61"/>
                <a:gd name="T3" fmla="*/ 52 h 178"/>
                <a:gd name="T4" fmla="*/ 15 w 61"/>
                <a:gd name="T5" fmla="*/ 176 h 178"/>
                <a:gd name="T6" fmla="*/ 33 w 61"/>
                <a:gd name="T7" fmla="*/ 178 h 178"/>
                <a:gd name="T8" fmla="*/ 54 w 61"/>
                <a:gd name="T9" fmla="*/ 66 h 178"/>
                <a:gd name="T10" fmla="*/ 36 w 61"/>
                <a:gd name="T11" fmla="*/ 1 h 178"/>
              </a:gdLst>
              <a:ahLst/>
              <a:cxnLst>
                <a:cxn ang="0">
                  <a:pos x="T0" y="T1"/>
                </a:cxn>
                <a:cxn ang="0">
                  <a:pos x="T2" y="T3"/>
                </a:cxn>
                <a:cxn ang="0">
                  <a:pos x="T4" y="T5"/>
                </a:cxn>
                <a:cxn ang="0">
                  <a:pos x="T6" y="T7"/>
                </a:cxn>
                <a:cxn ang="0">
                  <a:pos x="T8" y="T9"/>
                </a:cxn>
                <a:cxn ang="0">
                  <a:pos x="T10" y="T11"/>
                </a:cxn>
              </a:cxnLst>
              <a:rect l="0" t="0" r="r" b="b"/>
              <a:pathLst>
                <a:path w="61" h="178">
                  <a:moveTo>
                    <a:pt x="36" y="1"/>
                  </a:moveTo>
                  <a:cubicBezTo>
                    <a:pt x="28" y="0"/>
                    <a:pt x="9" y="1"/>
                    <a:pt x="5" y="52"/>
                  </a:cubicBezTo>
                  <a:cubicBezTo>
                    <a:pt x="0" y="103"/>
                    <a:pt x="15" y="176"/>
                    <a:pt x="15" y="176"/>
                  </a:cubicBezTo>
                  <a:cubicBezTo>
                    <a:pt x="33" y="178"/>
                    <a:pt x="33" y="178"/>
                    <a:pt x="33" y="178"/>
                  </a:cubicBezTo>
                  <a:cubicBezTo>
                    <a:pt x="33" y="178"/>
                    <a:pt x="52" y="84"/>
                    <a:pt x="54" y="66"/>
                  </a:cubicBezTo>
                  <a:cubicBezTo>
                    <a:pt x="59" y="24"/>
                    <a:pt x="61" y="4"/>
                    <a:pt x="36" y="1"/>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35">
              <a:extLst>
                <a:ext uri="{FF2B5EF4-FFF2-40B4-BE49-F238E27FC236}">
                  <a16:creationId xmlns:a16="http://schemas.microsoft.com/office/drawing/2014/main" id="{6DE86441-3184-4DAE-ABF2-AA283450AFC2}"/>
                </a:ext>
              </a:extLst>
            </p:cNvPr>
            <p:cNvSpPr>
              <a:spLocks/>
            </p:cNvSpPr>
            <p:nvPr/>
          </p:nvSpPr>
          <p:spPr bwMode="auto">
            <a:xfrm>
              <a:off x="4144963" y="4256088"/>
              <a:ext cx="376238" cy="2065338"/>
            </a:xfrm>
            <a:custGeom>
              <a:avLst/>
              <a:gdLst>
                <a:gd name="T0" fmla="*/ 62 w 74"/>
                <a:gd name="T1" fmla="*/ 0 h 406"/>
                <a:gd name="T2" fmla="*/ 73 w 74"/>
                <a:gd name="T3" fmla="*/ 70 h 406"/>
                <a:gd name="T4" fmla="*/ 62 w 74"/>
                <a:gd name="T5" fmla="*/ 215 h 406"/>
                <a:gd name="T6" fmla="*/ 62 w 74"/>
                <a:gd name="T7" fmla="*/ 299 h 406"/>
                <a:gd name="T8" fmla="*/ 52 w 74"/>
                <a:gd name="T9" fmla="*/ 406 h 406"/>
                <a:gd name="T10" fmla="*/ 6 w 74"/>
                <a:gd name="T11" fmla="*/ 404 h 406"/>
                <a:gd name="T12" fmla="*/ 6 w 74"/>
                <a:gd name="T13" fmla="*/ 229 h 406"/>
                <a:gd name="T14" fmla="*/ 0 w 74"/>
                <a:gd name="T15" fmla="*/ 80 h 406"/>
                <a:gd name="T16" fmla="*/ 0 w 74"/>
                <a:gd name="T17" fmla="*/ 2 h 406"/>
                <a:gd name="T18" fmla="*/ 62 w 74"/>
                <a:gd name="T19" fmla="*/ 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406">
                  <a:moveTo>
                    <a:pt x="62" y="0"/>
                  </a:moveTo>
                  <a:cubicBezTo>
                    <a:pt x="62" y="0"/>
                    <a:pt x="71" y="45"/>
                    <a:pt x="73" y="70"/>
                  </a:cubicBezTo>
                  <a:cubicBezTo>
                    <a:pt x="74" y="95"/>
                    <a:pt x="62" y="203"/>
                    <a:pt x="62" y="215"/>
                  </a:cubicBezTo>
                  <a:cubicBezTo>
                    <a:pt x="62" y="227"/>
                    <a:pt x="63" y="263"/>
                    <a:pt x="62" y="299"/>
                  </a:cubicBezTo>
                  <a:cubicBezTo>
                    <a:pt x="61" y="335"/>
                    <a:pt x="52" y="406"/>
                    <a:pt x="52" y="406"/>
                  </a:cubicBezTo>
                  <a:cubicBezTo>
                    <a:pt x="6" y="404"/>
                    <a:pt x="6" y="404"/>
                    <a:pt x="6" y="404"/>
                  </a:cubicBezTo>
                  <a:cubicBezTo>
                    <a:pt x="6" y="404"/>
                    <a:pt x="6" y="253"/>
                    <a:pt x="6" y="229"/>
                  </a:cubicBezTo>
                  <a:cubicBezTo>
                    <a:pt x="6" y="205"/>
                    <a:pt x="0" y="80"/>
                    <a:pt x="0" y="80"/>
                  </a:cubicBezTo>
                  <a:cubicBezTo>
                    <a:pt x="0" y="2"/>
                    <a:pt x="0" y="2"/>
                    <a:pt x="0" y="2"/>
                  </a:cubicBezTo>
                  <a:cubicBezTo>
                    <a:pt x="62" y="0"/>
                    <a:pt x="62" y="0"/>
                    <a:pt x="62" y="0"/>
                  </a:cubicBezTo>
                  <a:close/>
                </a:path>
              </a:pathLst>
            </a:custGeom>
            <a:solidFill>
              <a:srgbClr val="02171C"/>
            </a:solidFill>
            <a:ln>
              <a:noFill/>
            </a:ln>
          </p:spPr>
          <p:txBody>
            <a:bodyPr vert="horz" wrap="square" lIns="91440" tIns="45720" rIns="91440" bIns="45720" numCol="1" anchor="t" anchorCtr="0" compatLnSpc="1">
              <a:prstTxWarp prst="textNoShape">
                <a:avLst/>
              </a:prstTxWarp>
            </a:bodyPr>
            <a:lstStyle/>
            <a:p>
              <a:endParaRPr lang="en-US"/>
            </a:p>
          </p:txBody>
        </p:sp>
        <p:sp>
          <p:nvSpPr>
            <p:cNvPr id="183" name="Freeform 136">
              <a:extLst>
                <a:ext uri="{FF2B5EF4-FFF2-40B4-BE49-F238E27FC236}">
                  <a16:creationId xmlns:a16="http://schemas.microsoft.com/office/drawing/2014/main" id="{0AA91EE3-4F73-46EC-A039-FF16EB4394B4}"/>
                </a:ext>
              </a:extLst>
            </p:cNvPr>
            <p:cNvSpPr>
              <a:spLocks/>
            </p:cNvSpPr>
            <p:nvPr/>
          </p:nvSpPr>
          <p:spPr bwMode="auto">
            <a:xfrm>
              <a:off x="3660776" y="4246563"/>
              <a:ext cx="488950" cy="2079625"/>
            </a:xfrm>
            <a:custGeom>
              <a:avLst/>
              <a:gdLst>
                <a:gd name="T0" fmla="*/ 34 w 96"/>
                <a:gd name="T1" fmla="*/ 0 h 409"/>
                <a:gd name="T2" fmla="*/ 16 w 96"/>
                <a:gd name="T3" fmla="*/ 69 h 409"/>
                <a:gd name="T4" fmla="*/ 12 w 96"/>
                <a:gd name="T5" fmla="*/ 214 h 409"/>
                <a:gd name="T6" fmla="*/ 3 w 96"/>
                <a:gd name="T7" fmla="*/ 298 h 409"/>
                <a:gd name="T8" fmla="*/ 2 w 96"/>
                <a:gd name="T9" fmla="*/ 405 h 409"/>
                <a:gd name="T10" fmla="*/ 47 w 96"/>
                <a:gd name="T11" fmla="*/ 409 h 409"/>
                <a:gd name="T12" fmla="*/ 66 w 96"/>
                <a:gd name="T13" fmla="*/ 234 h 409"/>
                <a:gd name="T14" fmla="*/ 96 w 96"/>
                <a:gd name="T15" fmla="*/ 86 h 409"/>
                <a:gd name="T16" fmla="*/ 95 w 96"/>
                <a:gd name="T17" fmla="*/ 4 h 409"/>
                <a:gd name="T18" fmla="*/ 34 w 96"/>
                <a:gd name="T19"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409">
                  <a:moveTo>
                    <a:pt x="34" y="0"/>
                  </a:moveTo>
                  <a:cubicBezTo>
                    <a:pt x="34" y="0"/>
                    <a:pt x="20" y="45"/>
                    <a:pt x="16" y="69"/>
                  </a:cubicBezTo>
                  <a:cubicBezTo>
                    <a:pt x="12" y="93"/>
                    <a:pt x="13" y="202"/>
                    <a:pt x="12" y="214"/>
                  </a:cubicBezTo>
                  <a:cubicBezTo>
                    <a:pt x="10" y="226"/>
                    <a:pt x="6" y="262"/>
                    <a:pt x="3" y="298"/>
                  </a:cubicBezTo>
                  <a:cubicBezTo>
                    <a:pt x="0" y="334"/>
                    <a:pt x="2" y="405"/>
                    <a:pt x="2" y="405"/>
                  </a:cubicBezTo>
                  <a:cubicBezTo>
                    <a:pt x="47" y="409"/>
                    <a:pt x="47" y="409"/>
                    <a:pt x="47" y="409"/>
                  </a:cubicBezTo>
                  <a:cubicBezTo>
                    <a:pt x="47" y="409"/>
                    <a:pt x="63" y="258"/>
                    <a:pt x="66" y="234"/>
                  </a:cubicBezTo>
                  <a:cubicBezTo>
                    <a:pt x="68" y="210"/>
                    <a:pt x="96" y="86"/>
                    <a:pt x="96" y="86"/>
                  </a:cubicBezTo>
                  <a:cubicBezTo>
                    <a:pt x="95" y="4"/>
                    <a:pt x="95" y="4"/>
                    <a:pt x="95" y="4"/>
                  </a:cubicBezTo>
                  <a:cubicBezTo>
                    <a:pt x="34" y="0"/>
                    <a:pt x="34" y="0"/>
                    <a:pt x="34" y="0"/>
                  </a:cubicBezTo>
                  <a:close/>
                </a:path>
              </a:pathLst>
            </a:custGeom>
            <a:solidFill>
              <a:srgbClr val="02171C"/>
            </a:solidFill>
            <a:ln>
              <a:noFill/>
            </a:ln>
          </p:spPr>
          <p:txBody>
            <a:bodyPr vert="horz" wrap="square" lIns="91440" tIns="45720" rIns="91440" bIns="45720" numCol="1" anchor="t" anchorCtr="0" compatLnSpc="1">
              <a:prstTxWarp prst="textNoShape">
                <a:avLst/>
              </a:prstTxWarp>
            </a:bodyPr>
            <a:lstStyle/>
            <a:p>
              <a:endParaRPr lang="en-US"/>
            </a:p>
          </p:txBody>
        </p:sp>
        <p:sp>
          <p:nvSpPr>
            <p:cNvPr id="184" name="Freeform 137">
              <a:extLst>
                <a:ext uri="{FF2B5EF4-FFF2-40B4-BE49-F238E27FC236}">
                  <a16:creationId xmlns:a16="http://schemas.microsoft.com/office/drawing/2014/main" id="{BFACEAC8-6298-43E1-8207-293E98F21BCE}"/>
                </a:ext>
              </a:extLst>
            </p:cNvPr>
            <p:cNvSpPr>
              <a:spLocks/>
            </p:cNvSpPr>
            <p:nvPr/>
          </p:nvSpPr>
          <p:spPr bwMode="auto">
            <a:xfrm>
              <a:off x="4165601" y="6315075"/>
              <a:ext cx="233363" cy="147638"/>
            </a:xfrm>
            <a:custGeom>
              <a:avLst/>
              <a:gdLst>
                <a:gd name="T0" fmla="*/ 45 w 46"/>
                <a:gd name="T1" fmla="*/ 0 h 29"/>
                <a:gd name="T2" fmla="*/ 45 w 46"/>
                <a:gd name="T3" fmla="*/ 22 h 29"/>
                <a:gd name="T4" fmla="*/ 26 w 46"/>
                <a:gd name="T5" fmla="*/ 28 h 29"/>
                <a:gd name="T6" fmla="*/ 6 w 46"/>
                <a:gd name="T7" fmla="*/ 25 h 29"/>
                <a:gd name="T8" fmla="*/ 7 w 46"/>
                <a:gd name="T9" fmla="*/ 0 h 29"/>
                <a:gd name="T10" fmla="*/ 45 w 46"/>
                <a:gd name="T11" fmla="*/ 0 h 29"/>
              </a:gdLst>
              <a:ahLst/>
              <a:cxnLst>
                <a:cxn ang="0">
                  <a:pos x="T0" y="T1"/>
                </a:cxn>
                <a:cxn ang="0">
                  <a:pos x="T2" y="T3"/>
                </a:cxn>
                <a:cxn ang="0">
                  <a:pos x="T4" y="T5"/>
                </a:cxn>
                <a:cxn ang="0">
                  <a:pos x="T6" y="T7"/>
                </a:cxn>
                <a:cxn ang="0">
                  <a:pos x="T8" y="T9"/>
                </a:cxn>
                <a:cxn ang="0">
                  <a:pos x="T10" y="T11"/>
                </a:cxn>
              </a:cxnLst>
              <a:rect l="0" t="0" r="r" b="b"/>
              <a:pathLst>
                <a:path w="46" h="29">
                  <a:moveTo>
                    <a:pt x="45" y="0"/>
                  </a:moveTo>
                  <a:cubicBezTo>
                    <a:pt x="45" y="0"/>
                    <a:pt x="46" y="17"/>
                    <a:pt x="45" y="22"/>
                  </a:cubicBezTo>
                  <a:cubicBezTo>
                    <a:pt x="45" y="24"/>
                    <a:pt x="38" y="27"/>
                    <a:pt x="26" y="28"/>
                  </a:cubicBezTo>
                  <a:cubicBezTo>
                    <a:pt x="16" y="29"/>
                    <a:pt x="8" y="26"/>
                    <a:pt x="6" y="25"/>
                  </a:cubicBezTo>
                  <a:cubicBezTo>
                    <a:pt x="0" y="22"/>
                    <a:pt x="7" y="0"/>
                    <a:pt x="7" y="0"/>
                  </a:cubicBezTo>
                  <a:cubicBezTo>
                    <a:pt x="45" y="0"/>
                    <a:pt x="45" y="0"/>
                    <a:pt x="45"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85" name="Freeform 138">
              <a:extLst>
                <a:ext uri="{FF2B5EF4-FFF2-40B4-BE49-F238E27FC236}">
                  <a16:creationId xmlns:a16="http://schemas.microsoft.com/office/drawing/2014/main" id="{6DC75F61-AF79-4441-A340-5E0504860E69}"/>
                </a:ext>
              </a:extLst>
            </p:cNvPr>
            <p:cNvSpPr>
              <a:spLocks/>
            </p:cNvSpPr>
            <p:nvPr/>
          </p:nvSpPr>
          <p:spPr bwMode="auto">
            <a:xfrm>
              <a:off x="3554413" y="6238875"/>
              <a:ext cx="330200" cy="193675"/>
            </a:xfrm>
            <a:custGeom>
              <a:avLst/>
              <a:gdLst>
                <a:gd name="T0" fmla="*/ 38 w 65"/>
                <a:gd name="T1" fmla="*/ 6 h 38"/>
                <a:gd name="T2" fmla="*/ 14 w 65"/>
                <a:gd name="T3" fmla="*/ 0 h 38"/>
                <a:gd name="T4" fmla="*/ 0 w 65"/>
                <a:gd name="T5" fmla="*/ 10 h 38"/>
                <a:gd name="T6" fmla="*/ 4 w 65"/>
                <a:gd name="T7" fmla="*/ 17 h 38"/>
                <a:gd name="T8" fmla="*/ 36 w 65"/>
                <a:gd name="T9" fmla="*/ 37 h 38"/>
                <a:gd name="T10" fmla="*/ 60 w 65"/>
                <a:gd name="T11" fmla="*/ 36 h 38"/>
                <a:gd name="T12" fmla="*/ 65 w 65"/>
                <a:gd name="T13" fmla="*/ 16 h 38"/>
                <a:gd name="T14" fmla="*/ 38 w 65"/>
                <a:gd name="T15" fmla="*/ 6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38">
                  <a:moveTo>
                    <a:pt x="38" y="6"/>
                  </a:moveTo>
                  <a:cubicBezTo>
                    <a:pt x="38" y="6"/>
                    <a:pt x="22" y="0"/>
                    <a:pt x="14" y="0"/>
                  </a:cubicBezTo>
                  <a:cubicBezTo>
                    <a:pt x="8" y="0"/>
                    <a:pt x="1" y="5"/>
                    <a:pt x="0" y="10"/>
                  </a:cubicBezTo>
                  <a:cubicBezTo>
                    <a:pt x="0" y="12"/>
                    <a:pt x="2" y="14"/>
                    <a:pt x="4" y="17"/>
                  </a:cubicBezTo>
                  <a:cubicBezTo>
                    <a:pt x="6" y="19"/>
                    <a:pt x="31" y="36"/>
                    <a:pt x="36" y="37"/>
                  </a:cubicBezTo>
                  <a:cubicBezTo>
                    <a:pt x="45" y="38"/>
                    <a:pt x="55" y="38"/>
                    <a:pt x="60" y="36"/>
                  </a:cubicBezTo>
                  <a:cubicBezTo>
                    <a:pt x="65" y="34"/>
                    <a:pt x="65" y="16"/>
                    <a:pt x="65" y="16"/>
                  </a:cubicBezTo>
                  <a:cubicBezTo>
                    <a:pt x="38" y="6"/>
                    <a:pt x="38" y="6"/>
                    <a:pt x="38" y="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86" name="Freeform 139">
              <a:extLst>
                <a:ext uri="{FF2B5EF4-FFF2-40B4-BE49-F238E27FC236}">
                  <a16:creationId xmlns:a16="http://schemas.microsoft.com/office/drawing/2014/main" id="{9F8FB494-A1E0-4850-901D-F5E5C9033FFD}"/>
                </a:ext>
              </a:extLst>
            </p:cNvPr>
            <p:cNvSpPr>
              <a:spLocks/>
            </p:cNvSpPr>
            <p:nvPr/>
          </p:nvSpPr>
          <p:spPr bwMode="auto">
            <a:xfrm>
              <a:off x="3660776" y="4246563"/>
              <a:ext cx="488950" cy="2063750"/>
            </a:xfrm>
            <a:custGeom>
              <a:avLst/>
              <a:gdLst>
                <a:gd name="T0" fmla="*/ 40 w 96"/>
                <a:gd name="T1" fmla="*/ 93 h 406"/>
                <a:gd name="T2" fmla="*/ 33 w 96"/>
                <a:gd name="T3" fmla="*/ 224 h 406"/>
                <a:gd name="T4" fmla="*/ 17 w 96"/>
                <a:gd name="T5" fmla="*/ 406 h 406"/>
                <a:gd name="T6" fmla="*/ 2 w 96"/>
                <a:gd name="T7" fmla="*/ 405 h 406"/>
                <a:gd name="T8" fmla="*/ 3 w 96"/>
                <a:gd name="T9" fmla="*/ 298 h 406"/>
                <a:gd name="T10" fmla="*/ 12 w 96"/>
                <a:gd name="T11" fmla="*/ 214 h 406"/>
                <a:gd name="T12" fmla="*/ 16 w 96"/>
                <a:gd name="T13" fmla="*/ 69 h 406"/>
                <a:gd name="T14" fmla="*/ 34 w 96"/>
                <a:gd name="T15" fmla="*/ 0 h 406"/>
                <a:gd name="T16" fmla="*/ 95 w 96"/>
                <a:gd name="T17" fmla="*/ 4 h 406"/>
                <a:gd name="T18" fmla="*/ 25 w 96"/>
                <a:gd name="T19" fmla="*/ 73 h 406"/>
                <a:gd name="T20" fmla="*/ 40 w 96"/>
                <a:gd name="T21" fmla="*/ 9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406">
                  <a:moveTo>
                    <a:pt x="40" y="93"/>
                  </a:moveTo>
                  <a:cubicBezTo>
                    <a:pt x="37" y="109"/>
                    <a:pt x="34" y="218"/>
                    <a:pt x="33" y="224"/>
                  </a:cubicBezTo>
                  <a:cubicBezTo>
                    <a:pt x="33" y="230"/>
                    <a:pt x="17" y="398"/>
                    <a:pt x="17" y="406"/>
                  </a:cubicBezTo>
                  <a:cubicBezTo>
                    <a:pt x="2" y="405"/>
                    <a:pt x="2" y="405"/>
                    <a:pt x="2" y="405"/>
                  </a:cubicBezTo>
                  <a:cubicBezTo>
                    <a:pt x="2" y="405"/>
                    <a:pt x="0" y="334"/>
                    <a:pt x="3" y="298"/>
                  </a:cubicBezTo>
                  <a:cubicBezTo>
                    <a:pt x="6" y="262"/>
                    <a:pt x="10" y="226"/>
                    <a:pt x="12" y="214"/>
                  </a:cubicBezTo>
                  <a:cubicBezTo>
                    <a:pt x="13" y="202"/>
                    <a:pt x="12" y="93"/>
                    <a:pt x="16" y="69"/>
                  </a:cubicBezTo>
                  <a:cubicBezTo>
                    <a:pt x="20" y="45"/>
                    <a:pt x="34" y="0"/>
                    <a:pt x="34" y="0"/>
                  </a:cubicBezTo>
                  <a:cubicBezTo>
                    <a:pt x="95" y="4"/>
                    <a:pt x="95" y="4"/>
                    <a:pt x="95" y="4"/>
                  </a:cubicBezTo>
                  <a:cubicBezTo>
                    <a:pt x="96" y="92"/>
                    <a:pt x="27" y="68"/>
                    <a:pt x="25" y="73"/>
                  </a:cubicBezTo>
                  <a:cubicBezTo>
                    <a:pt x="22" y="79"/>
                    <a:pt x="41" y="87"/>
                    <a:pt x="40" y="93"/>
                  </a:cubicBezTo>
                  <a:close/>
                </a:path>
              </a:pathLst>
            </a:custGeom>
            <a:solidFill>
              <a:srgbClr val="032D37"/>
            </a:solidFill>
            <a:ln>
              <a:noFill/>
            </a:ln>
          </p:spPr>
          <p:txBody>
            <a:bodyPr vert="horz" wrap="square" lIns="91440" tIns="45720" rIns="91440" bIns="45720" numCol="1" anchor="t" anchorCtr="0" compatLnSpc="1">
              <a:prstTxWarp prst="textNoShape">
                <a:avLst/>
              </a:prstTxWarp>
            </a:bodyPr>
            <a:lstStyle/>
            <a:p>
              <a:endParaRPr lang="en-US"/>
            </a:p>
          </p:txBody>
        </p:sp>
        <p:sp>
          <p:nvSpPr>
            <p:cNvPr id="187" name="Freeform 140">
              <a:extLst>
                <a:ext uri="{FF2B5EF4-FFF2-40B4-BE49-F238E27FC236}">
                  <a16:creationId xmlns:a16="http://schemas.microsoft.com/office/drawing/2014/main" id="{19813ED7-DA53-4F19-8190-160AC7D6CD2B}"/>
                </a:ext>
              </a:extLst>
            </p:cNvPr>
            <p:cNvSpPr>
              <a:spLocks/>
            </p:cNvSpPr>
            <p:nvPr/>
          </p:nvSpPr>
          <p:spPr bwMode="auto">
            <a:xfrm>
              <a:off x="4154488" y="4719638"/>
              <a:ext cx="198438" cy="1595438"/>
            </a:xfrm>
            <a:custGeom>
              <a:avLst/>
              <a:gdLst>
                <a:gd name="T0" fmla="*/ 39 w 39"/>
                <a:gd name="T1" fmla="*/ 4 h 314"/>
                <a:gd name="T2" fmla="*/ 30 w 39"/>
                <a:gd name="T3" fmla="*/ 127 h 314"/>
                <a:gd name="T4" fmla="*/ 30 w 39"/>
                <a:gd name="T5" fmla="*/ 314 h 314"/>
                <a:gd name="T6" fmla="*/ 29 w 39"/>
                <a:gd name="T7" fmla="*/ 314 h 314"/>
                <a:gd name="T8" fmla="*/ 4 w 39"/>
                <a:gd name="T9" fmla="*/ 313 h 314"/>
                <a:gd name="T10" fmla="*/ 4 w 39"/>
                <a:gd name="T11" fmla="*/ 138 h 314"/>
                <a:gd name="T12" fmla="*/ 0 w 39"/>
                <a:gd name="T13" fmla="*/ 22 h 314"/>
                <a:gd name="T14" fmla="*/ 18 w 39"/>
                <a:gd name="T15" fmla="*/ 5 h 314"/>
                <a:gd name="T16" fmla="*/ 39 w 39"/>
                <a:gd name="T17" fmla="*/ 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14">
                  <a:moveTo>
                    <a:pt x="39" y="4"/>
                  </a:moveTo>
                  <a:cubicBezTo>
                    <a:pt x="35" y="24"/>
                    <a:pt x="29" y="124"/>
                    <a:pt x="30" y="127"/>
                  </a:cubicBezTo>
                  <a:cubicBezTo>
                    <a:pt x="31" y="130"/>
                    <a:pt x="30" y="314"/>
                    <a:pt x="30" y="314"/>
                  </a:cubicBezTo>
                  <a:cubicBezTo>
                    <a:pt x="29" y="314"/>
                    <a:pt x="29" y="314"/>
                    <a:pt x="29" y="314"/>
                  </a:cubicBezTo>
                  <a:cubicBezTo>
                    <a:pt x="4" y="313"/>
                    <a:pt x="4" y="313"/>
                    <a:pt x="4" y="313"/>
                  </a:cubicBezTo>
                  <a:cubicBezTo>
                    <a:pt x="4" y="313"/>
                    <a:pt x="4" y="162"/>
                    <a:pt x="4" y="138"/>
                  </a:cubicBezTo>
                  <a:cubicBezTo>
                    <a:pt x="4" y="114"/>
                    <a:pt x="0" y="22"/>
                    <a:pt x="0" y="22"/>
                  </a:cubicBezTo>
                  <a:cubicBezTo>
                    <a:pt x="0" y="22"/>
                    <a:pt x="7" y="4"/>
                    <a:pt x="18" y="5"/>
                  </a:cubicBezTo>
                  <a:cubicBezTo>
                    <a:pt x="28" y="6"/>
                    <a:pt x="39" y="0"/>
                    <a:pt x="39" y="4"/>
                  </a:cubicBezTo>
                  <a:close/>
                </a:path>
              </a:pathLst>
            </a:custGeom>
            <a:solidFill>
              <a:srgbClr val="032D37"/>
            </a:solidFill>
            <a:ln>
              <a:noFill/>
            </a:ln>
          </p:spPr>
          <p:txBody>
            <a:bodyPr vert="horz" wrap="square" lIns="91440" tIns="45720" rIns="91440" bIns="45720" numCol="1" anchor="t" anchorCtr="0" compatLnSpc="1">
              <a:prstTxWarp prst="textNoShape">
                <a:avLst/>
              </a:prstTxWarp>
            </a:bodyPr>
            <a:lstStyle/>
            <a:p>
              <a:endParaRPr lang="en-US"/>
            </a:p>
          </p:txBody>
        </p:sp>
        <p:sp>
          <p:nvSpPr>
            <p:cNvPr id="188" name="Freeform 141">
              <a:extLst>
                <a:ext uri="{FF2B5EF4-FFF2-40B4-BE49-F238E27FC236}">
                  <a16:creationId xmlns:a16="http://schemas.microsoft.com/office/drawing/2014/main" id="{E8F07E12-126C-4D1D-8E91-5206376F6CDC}"/>
                </a:ext>
              </a:extLst>
            </p:cNvPr>
            <p:cNvSpPr>
              <a:spLocks/>
            </p:cNvSpPr>
            <p:nvPr/>
          </p:nvSpPr>
          <p:spPr bwMode="auto">
            <a:xfrm>
              <a:off x="3941763" y="2562225"/>
              <a:ext cx="417513" cy="463550"/>
            </a:xfrm>
            <a:custGeom>
              <a:avLst/>
              <a:gdLst>
                <a:gd name="T0" fmla="*/ 1 w 82"/>
                <a:gd name="T1" fmla="*/ 48 h 91"/>
                <a:gd name="T2" fmla="*/ 0 w 82"/>
                <a:gd name="T3" fmla="*/ 57 h 91"/>
                <a:gd name="T4" fmla="*/ 3 w 82"/>
                <a:gd name="T5" fmla="*/ 62 h 91"/>
                <a:gd name="T6" fmla="*/ 14 w 82"/>
                <a:gd name="T7" fmla="*/ 90 h 91"/>
                <a:gd name="T8" fmla="*/ 45 w 82"/>
                <a:gd name="T9" fmla="*/ 91 h 91"/>
                <a:gd name="T10" fmla="*/ 79 w 82"/>
                <a:gd name="T11" fmla="*/ 48 h 91"/>
                <a:gd name="T12" fmla="*/ 30 w 82"/>
                <a:gd name="T13" fmla="*/ 0 h 91"/>
                <a:gd name="T14" fmla="*/ 1 w 82"/>
                <a:gd name="T15" fmla="*/ 43 h 91"/>
                <a:gd name="T16" fmla="*/ 1 w 82"/>
                <a:gd name="T1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91">
                  <a:moveTo>
                    <a:pt x="1" y="48"/>
                  </a:moveTo>
                  <a:cubicBezTo>
                    <a:pt x="2" y="50"/>
                    <a:pt x="0" y="53"/>
                    <a:pt x="0" y="57"/>
                  </a:cubicBezTo>
                  <a:cubicBezTo>
                    <a:pt x="0" y="59"/>
                    <a:pt x="2" y="61"/>
                    <a:pt x="3" y="62"/>
                  </a:cubicBezTo>
                  <a:cubicBezTo>
                    <a:pt x="4" y="76"/>
                    <a:pt x="7" y="90"/>
                    <a:pt x="14" y="90"/>
                  </a:cubicBezTo>
                  <a:cubicBezTo>
                    <a:pt x="28" y="89"/>
                    <a:pt x="36" y="91"/>
                    <a:pt x="45" y="91"/>
                  </a:cubicBezTo>
                  <a:cubicBezTo>
                    <a:pt x="58" y="91"/>
                    <a:pt x="76" y="75"/>
                    <a:pt x="79" y="48"/>
                  </a:cubicBezTo>
                  <a:cubicBezTo>
                    <a:pt x="82" y="21"/>
                    <a:pt x="55" y="0"/>
                    <a:pt x="30" y="0"/>
                  </a:cubicBezTo>
                  <a:cubicBezTo>
                    <a:pt x="6" y="0"/>
                    <a:pt x="0" y="19"/>
                    <a:pt x="1" y="43"/>
                  </a:cubicBezTo>
                  <a:cubicBezTo>
                    <a:pt x="1" y="45"/>
                    <a:pt x="1" y="46"/>
                    <a:pt x="1" y="48"/>
                  </a:cubicBezTo>
                  <a:close/>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42">
              <a:extLst>
                <a:ext uri="{FF2B5EF4-FFF2-40B4-BE49-F238E27FC236}">
                  <a16:creationId xmlns:a16="http://schemas.microsoft.com/office/drawing/2014/main" id="{7F6ED82B-4E2E-4092-87F4-5BBE235049B6}"/>
                </a:ext>
              </a:extLst>
            </p:cNvPr>
            <p:cNvSpPr>
              <a:spLocks/>
            </p:cNvSpPr>
            <p:nvPr/>
          </p:nvSpPr>
          <p:spPr bwMode="auto">
            <a:xfrm>
              <a:off x="3905251" y="2501900"/>
              <a:ext cx="519113" cy="528638"/>
            </a:xfrm>
            <a:custGeom>
              <a:avLst/>
              <a:gdLst>
                <a:gd name="T0" fmla="*/ 50 w 102"/>
                <a:gd name="T1" fmla="*/ 4 h 104"/>
                <a:gd name="T2" fmla="*/ 11 w 102"/>
                <a:gd name="T3" fmla="*/ 29 h 104"/>
                <a:gd name="T4" fmla="*/ 16 w 102"/>
                <a:gd name="T5" fmla="*/ 63 h 104"/>
                <a:gd name="T6" fmla="*/ 21 w 102"/>
                <a:gd name="T7" fmla="*/ 63 h 104"/>
                <a:gd name="T8" fmla="*/ 26 w 102"/>
                <a:gd name="T9" fmla="*/ 80 h 104"/>
                <a:gd name="T10" fmla="*/ 43 w 102"/>
                <a:gd name="T11" fmla="*/ 103 h 104"/>
                <a:gd name="T12" fmla="*/ 71 w 102"/>
                <a:gd name="T13" fmla="*/ 101 h 104"/>
                <a:gd name="T14" fmla="*/ 85 w 102"/>
                <a:gd name="T15" fmla="*/ 72 h 104"/>
                <a:gd name="T16" fmla="*/ 50 w 102"/>
                <a:gd name="T17" fmla="*/ 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4">
                  <a:moveTo>
                    <a:pt x="50" y="4"/>
                  </a:moveTo>
                  <a:cubicBezTo>
                    <a:pt x="30" y="0"/>
                    <a:pt x="0" y="18"/>
                    <a:pt x="11" y="29"/>
                  </a:cubicBezTo>
                  <a:cubicBezTo>
                    <a:pt x="15" y="32"/>
                    <a:pt x="16" y="63"/>
                    <a:pt x="16" y="63"/>
                  </a:cubicBezTo>
                  <a:cubicBezTo>
                    <a:pt x="16" y="63"/>
                    <a:pt x="20" y="61"/>
                    <a:pt x="21" y="63"/>
                  </a:cubicBezTo>
                  <a:cubicBezTo>
                    <a:pt x="23" y="64"/>
                    <a:pt x="24" y="75"/>
                    <a:pt x="26" y="80"/>
                  </a:cubicBezTo>
                  <a:cubicBezTo>
                    <a:pt x="28" y="85"/>
                    <a:pt x="40" y="103"/>
                    <a:pt x="43" y="103"/>
                  </a:cubicBezTo>
                  <a:cubicBezTo>
                    <a:pt x="46" y="103"/>
                    <a:pt x="68" y="104"/>
                    <a:pt x="71" y="101"/>
                  </a:cubicBezTo>
                  <a:cubicBezTo>
                    <a:pt x="73" y="98"/>
                    <a:pt x="83" y="81"/>
                    <a:pt x="85" y="72"/>
                  </a:cubicBezTo>
                  <a:cubicBezTo>
                    <a:pt x="88" y="62"/>
                    <a:pt x="102" y="13"/>
                    <a:pt x="50" y="4"/>
                  </a:cubicBezTo>
                  <a:close/>
                </a:path>
              </a:pathLst>
            </a:custGeom>
            <a:solidFill>
              <a:schemeClr val="tx1">
                <a:lumMod val="95000"/>
                <a:lumOff val="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0" name="Freeform 143">
              <a:extLst>
                <a:ext uri="{FF2B5EF4-FFF2-40B4-BE49-F238E27FC236}">
                  <a16:creationId xmlns:a16="http://schemas.microsoft.com/office/drawing/2014/main" id="{4276F76E-CC02-4E8F-8BE6-FC155D8F024F}"/>
                </a:ext>
              </a:extLst>
            </p:cNvPr>
            <p:cNvSpPr>
              <a:spLocks/>
            </p:cNvSpPr>
            <p:nvPr/>
          </p:nvSpPr>
          <p:spPr bwMode="auto">
            <a:xfrm>
              <a:off x="3997326" y="2741613"/>
              <a:ext cx="50800" cy="136525"/>
            </a:xfrm>
            <a:custGeom>
              <a:avLst/>
              <a:gdLst>
                <a:gd name="T0" fmla="*/ 0 w 10"/>
                <a:gd name="T1" fmla="*/ 4 h 27"/>
                <a:gd name="T2" fmla="*/ 9 w 10"/>
                <a:gd name="T3" fmla="*/ 7 h 27"/>
                <a:gd name="T4" fmla="*/ 4 w 10"/>
                <a:gd name="T5" fmla="*/ 27 h 27"/>
                <a:gd name="T6" fmla="*/ 0 w 10"/>
                <a:gd name="T7" fmla="*/ 4 h 27"/>
              </a:gdLst>
              <a:ahLst/>
              <a:cxnLst>
                <a:cxn ang="0">
                  <a:pos x="T0" y="T1"/>
                </a:cxn>
                <a:cxn ang="0">
                  <a:pos x="T2" y="T3"/>
                </a:cxn>
                <a:cxn ang="0">
                  <a:pos x="T4" y="T5"/>
                </a:cxn>
                <a:cxn ang="0">
                  <a:pos x="T6" y="T7"/>
                </a:cxn>
              </a:cxnLst>
              <a:rect l="0" t="0" r="r" b="b"/>
              <a:pathLst>
                <a:path w="10" h="27">
                  <a:moveTo>
                    <a:pt x="0" y="4"/>
                  </a:moveTo>
                  <a:cubicBezTo>
                    <a:pt x="0" y="3"/>
                    <a:pt x="6" y="0"/>
                    <a:pt x="9" y="7"/>
                  </a:cubicBezTo>
                  <a:cubicBezTo>
                    <a:pt x="10" y="11"/>
                    <a:pt x="5" y="27"/>
                    <a:pt x="4" y="27"/>
                  </a:cubicBezTo>
                  <a:cubicBezTo>
                    <a:pt x="2" y="27"/>
                    <a:pt x="0" y="10"/>
                    <a:pt x="0" y="4"/>
                  </a:cubicBezTo>
                  <a:close/>
                </a:path>
              </a:pathLst>
            </a:custGeom>
            <a:solidFill>
              <a:srgbClr val="F8A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44">
              <a:extLst>
                <a:ext uri="{FF2B5EF4-FFF2-40B4-BE49-F238E27FC236}">
                  <a16:creationId xmlns:a16="http://schemas.microsoft.com/office/drawing/2014/main" id="{B58531C6-7855-43CE-A03B-949847871A6D}"/>
                </a:ext>
              </a:extLst>
            </p:cNvPr>
            <p:cNvSpPr>
              <a:spLocks/>
            </p:cNvSpPr>
            <p:nvPr/>
          </p:nvSpPr>
          <p:spPr bwMode="auto">
            <a:xfrm>
              <a:off x="3667126" y="3157538"/>
              <a:ext cx="915988" cy="1123950"/>
            </a:xfrm>
            <a:custGeom>
              <a:avLst/>
              <a:gdLst>
                <a:gd name="T0" fmla="*/ 4 w 180"/>
                <a:gd name="T1" fmla="*/ 23 h 221"/>
                <a:gd name="T2" fmla="*/ 37 w 180"/>
                <a:gd name="T3" fmla="*/ 10 h 221"/>
                <a:gd name="T4" fmla="*/ 59 w 180"/>
                <a:gd name="T5" fmla="*/ 0 h 221"/>
                <a:gd name="T6" fmla="*/ 129 w 180"/>
                <a:gd name="T7" fmla="*/ 1 h 221"/>
                <a:gd name="T8" fmla="*/ 154 w 180"/>
                <a:gd name="T9" fmla="*/ 8 h 221"/>
                <a:gd name="T10" fmla="*/ 177 w 180"/>
                <a:gd name="T11" fmla="*/ 21 h 221"/>
                <a:gd name="T12" fmla="*/ 159 w 180"/>
                <a:gd name="T13" fmla="*/ 132 h 221"/>
                <a:gd name="T14" fmla="*/ 157 w 180"/>
                <a:gd name="T15" fmla="*/ 215 h 221"/>
                <a:gd name="T16" fmla="*/ 95 w 180"/>
                <a:gd name="T17" fmla="*/ 221 h 221"/>
                <a:gd name="T18" fmla="*/ 33 w 180"/>
                <a:gd name="T19" fmla="*/ 216 h 221"/>
                <a:gd name="T20" fmla="*/ 30 w 180"/>
                <a:gd name="T21" fmla="*/ 131 h 221"/>
                <a:gd name="T22" fmla="*/ 4 w 180"/>
                <a:gd name="T23" fmla="*/ 2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0" h="221">
                  <a:moveTo>
                    <a:pt x="4" y="23"/>
                  </a:moveTo>
                  <a:cubicBezTo>
                    <a:pt x="7" y="18"/>
                    <a:pt x="23" y="14"/>
                    <a:pt x="37" y="10"/>
                  </a:cubicBezTo>
                  <a:cubicBezTo>
                    <a:pt x="49" y="6"/>
                    <a:pt x="59" y="0"/>
                    <a:pt x="59" y="0"/>
                  </a:cubicBezTo>
                  <a:cubicBezTo>
                    <a:pt x="129" y="1"/>
                    <a:pt x="129" y="1"/>
                    <a:pt x="129" y="1"/>
                  </a:cubicBezTo>
                  <a:cubicBezTo>
                    <a:pt x="129" y="1"/>
                    <a:pt x="141" y="6"/>
                    <a:pt x="154" y="8"/>
                  </a:cubicBezTo>
                  <a:cubicBezTo>
                    <a:pt x="170" y="9"/>
                    <a:pt x="174" y="17"/>
                    <a:pt x="177" y="21"/>
                  </a:cubicBezTo>
                  <a:cubicBezTo>
                    <a:pt x="179" y="27"/>
                    <a:pt x="180" y="72"/>
                    <a:pt x="159" y="132"/>
                  </a:cubicBezTo>
                  <a:cubicBezTo>
                    <a:pt x="157" y="141"/>
                    <a:pt x="164" y="198"/>
                    <a:pt x="157" y="215"/>
                  </a:cubicBezTo>
                  <a:cubicBezTo>
                    <a:pt x="95" y="221"/>
                    <a:pt x="95" y="221"/>
                    <a:pt x="95" y="221"/>
                  </a:cubicBezTo>
                  <a:cubicBezTo>
                    <a:pt x="33" y="216"/>
                    <a:pt x="33" y="216"/>
                    <a:pt x="33" y="216"/>
                  </a:cubicBezTo>
                  <a:cubicBezTo>
                    <a:pt x="27" y="196"/>
                    <a:pt x="33" y="140"/>
                    <a:pt x="30" y="131"/>
                  </a:cubicBezTo>
                  <a:cubicBezTo>
                    <a:pt x="27" y="123"/>
                    <a:pt x="0" y="30"/>
                    <a:pt x="4" y="23"/>
                  </a:cubicBez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45">
              <a:extLst>
                <a:ext uri="{FF2B5EF4-FFF2-40B4-BE49-F238E27FC236}">
                  <a16:creationId xmlns:a16="http://schemas.microsoft.com/office/drawing/2014/main" id="{CF24AE7C-AB98-4833-A2BA-EF3CA8FFB2C2}"/>
                </a:ext>
              </a:extLst>
            </p:cNvPr>
            <p:cNvSpPr>
              <a:spLocks/>
            </p:cNvSpPr>
            <p:nvPr/>
          </p:nvSpPr>
          <p:spPr bwMode="auto">
            <a:xfrm>
              <a:off x="3930651" y="3106738"/>
              <a:ext cx="433388" cy="71438"/>
            </a:xfrm>
            <a:custGeom>
              <a:avLst/>
              <a:gdLst>
                <a:gd name="T0" fmla="*/ 0 w 273"/>
                <a:gd name="T1" fmla="*/ 45 h 45"/>
                <a:gd name="T2" fmla="*/ 273 w 273"/>
                <a:gd name="T3" fmla="*/ 45 h 45"/>
                <a:gd name="T4" fmla="*/ 234 w 273"/>
                <a:gd name="T5" fmla="*/ 0 h 45"/>
                <a:gd name="T6" fmla="*/ 39 w 273"/>
                <a:gd name="T7" fmla="*/ 0 h 45"/>
                <a:gd name="T8" fmla="*/ 0 w 273"/>
                <a:gd name="T9" fmla="*/ 45 h 45"/>
                <a:gd name="T10" fmla="*/ 0 w 273"/>
                <a:gd name="T11" fmla="*/ 45 h 45"/>
              </a:gdLst>
              <a:ahLst/>
              <a:cxnLst>
                <a:cxn ang="0">
                  <a:pos x="T0" y="T1"/>
                </a:cxn>
                <a:cxn ang="0">
                  <a:pos x="T2" y="T3"/>
                </a:cxn>
                <a:cxn ang="0">
                  <a:pos x="T4" y="T5"/>
                </a:cxn>
                <a:cxn ang="0">
                  <a:pos x="T6" y="T7"/>
                </a:cxn>
                <a:cxn ang="0">
                  <a:pos x="T8" y="T9"/>
                </a:cxn>
                <a:cxn ang="0">
                  <a:pos x="T10" y="T11"/>
                </a:cxn>
              </a:cxnLst>
              <a:rect l="0" t="0" r="r" b="b"/>
              <a:pathLst>
                <a:path w="273" h="45">
                  <a:moveTo>
                    <a:pt x="0" y="45"/>
                  </a:moveTo>
                  <a:lnTo>
                    <a:pt x="273" y="45"/>
                  </a:lnTo>
                  <a:lnTo>
                    <a:pt x="234" y="0"/>
                  </a:lnTo>
                  <a:lnTo>
                    <a:pt x="39" y="0"/>
                  </a:lnTo>
                  <a:lnTo>
                    <a:pt x="0" y="45"/>
                  </a:lnTo>
                  <a:lnTo>
                    <a:pt x="0" y="45"/>
                  </a:lnTo>
                  <a:close/>
                </a:path>
              </a:pathLst>
            </a:custGeom>
            <a:solidFill>
              <a:srgbClr val="1818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46">
              <a:extLst>
                <a:ext uri="{FF2B5EF4-FFF2-40B4-BE49-F238E27FC236}">
                  <a16:creationId xmlns:a16="http://schemas.microsoft.com/office/drawing/2014/main" id="{3147AE4A-66C6-4EDE-B7A3-7DD7AF363EB3}"/>
                </a:ext>
              </a:extLst>
            </p:cNvPr>
            <p:cNvSpPr>
              <a:spLocks/>
            </p:cNvSpPr>
            <p:nvPr/>
          </p:nvSpPr>
          <p:spPr bwMode="auto">
            <a:xfrm>
              <a:off x="3340101" y="3254375"/>
              <a:ext cx="474663" cy="650875"/>
            </a:xfrm>
            <a:custGeom>
              <a:avLst/>
              <a:gdLst>
                <a:gd name="T0" fmla="*/ 72 w 93"/>
                <a:gd name="T1" fmla="*/ 0 h 128"/>
                <a:gd name="T2" fmla="*/ 48 w 93"/>
                <a:gd name="T3" fmla="*/ 27 h 128"/>
                <a:gd name="T4" fmla="*/ 0 w 93"/>
                <a:gd name="T5" fmla="*/ 96 h 128"/>
                <a:gd name="T6" fmla="*/ 24 w 93"/>
                <a:gd name="T7" fmla="*/ 121 h 128"/>
                <a:gd name="T8" fmla="*/ 42 w 93"/>
                <a:gd name="T9" fmla="*/ 127 h 128"/>
                <a:gd name="T10" fmla="*/ 93 w 93"/>
                <a:gd name="T11" fmla="*/ 72 h 128"/>
                <a:gd name="T12" fmla="*/ 72 w 93"/>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93" h="128">
                  <a:moveTo>
                    <a:pt x="72" y="0"/>
                  </a:moveTo>
                  <a:cubicBezTo>
                    <a:pt x="72" y="0"/>
                    <a:pt x="62" y="2"/>
                    <a:pt x="48" y="27"/>
                  </a:cubicBezTo>
                  <a:cubicBezTo>
                    <a:pt x="38" y="44"/>
                    <a:pt x="0" y="96"/>
                    <a:pt x="0" y="96"/>
                  </a:cubicBezTo>
                  <a:cubicBezTo>
                    <a:pt x="0" y="96"/>
                    <a:pt x="8" y="111"/>
                    <a:pt x="24" y="121"/>
                  </a:cubicBezTo>
                  <a:cubicBezTo>
                    <a:pt x="38" y="128"/>
                    <a:pt x="42" y="127"/>
                    <a:pt x="42" y="127"/>
                  </a:cubicBezTo>
                  <a:cubicBezTo>
                    <a:pt x="93" y="72"/>
                    <a:pt x="93" y="72"/>
                    <a:pt x="93" y="72"/>
                  </a:cubicBezTo>
                  <a:cubicBezTo>
                    <a:pt x="72" y="0"/>
                    <a:pt x="72" y="0"/>
                    <a:pt x="72" y="0"/>
                  </a:cubicBez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47">
              <a:extLst>
                <a:ext uri="{FF2B5EF4-FFF2-40B4-BE49-F238E27FC236}">
                  <a16:creationId xmlns:a16="http://schemas.microsoft.com/office/drawing/2014/main" id="{2CD932BB-7038-4EBF-B8FF-51AEA921DD91}"/>
                </a:ext>
              </a:extLst>
            </p:cNvPr>
            <p:cNvSpPr>
              <a:spLocks/>
            </p:cNvSpPr>
            <p:nvPr/>
          </p:nvSpPr>
          <p:spPr bwMode="auto">
            <a:xfrm>
              <a:off x="4364038" y="3228975"/>
              <a:ext cx="401638" cy="712788"/>
            </a:xfrm>
            <a:custGeom>
              <a:avLst/>
              <a:gdLst>
                <a:gd name="T0" fmla="*/ 34 w 79"/>
                <a:gd name="T1" fmla="*/ 0 h 140"/>
                <a:gd name="T2" fmla="*/ 58 w 79"/>
                <a:gd name="T3" fmla="*/ 41 h 140"/>
                <a:gd name="T4" fmla="*/ 79 w 79"/>
                <a:gd name="T5" fmla="*/ 122 h 140"/>
                <a:gd name="T6" fmla="*/ 49 w 79"/>
                <a:gd name="T7" fmla="*/ 137 h 140"/>
                <a:gd name="T8" fmla="*/ 29 w 79"/>
                <a:gd name="T9" fmla="*/ 137 h 140"/>
                <a:gd name="T10" fmla="*/ 0 w 79"/>
                <a:gd name="T11" fmla="*/ 68 h 140"/>
                <a:gd name="T12" fmla="*/ 34 w 79"/>
                <a:gd name="T13" fmla="*/ 0 h 140"/>
              </a:gdLst>
              <a:ahLst/>
              <a:cxnLst>
                <a:cxn ang="0">
                  <a:pos x="T0" y="T1"/>
                </a:cxn>
                <a:cxn ang="0">
                  <a:pos x="T2" y="T3"/>
                </a:cxn>
                <a:cxn ang="0">
                  <a:pos x="T4" y="T5"/>
                </a:cxn>
                <a:cxn ang="0">
                  <a:pos x="T6" y="T7"/>
                </a:cxn>
                <a:cxn ang="0">
                  <a:pos x="T8" y="T9"/>
                </a:cxn>
                <a:cxn ang="0">
                  <a:pos x="T10" y="T11"/>
                </a:cxn>
                <a:cxn ang="0">
                  <a:pos x="T12" y="T13"/>
                </a:cxn>
              </a:cxnLst>
              <a:rect l="0" t="0" r="r" b="b"/>
              <a:pathLst>
                <a:path w="79" h="140">
                  <a:moveTo>
                    <a:pt x="34" y="0"/>
                  </a:moveTo>
                  <a:cubicBezTo>
                    <a:pt x="34" y="0"/>
                    <a:pt x="50" y="10"/>
                    <a:pt x="58" y="41"/>
                  </a:cubicBezTo>
                  <a:cubicBezTo>
                    <a:pt x="63" y="60"/>
                    <a:pt x="79" y="122"/>
                    <a:pt x="79" y="122"/>
                  </a:cubicBezTo>
                  <a:cubicBezTo>
                    <a:pt x="79" y="122"/>
                    <a:pt x="66" y="134"/>
                    <a:pt x="49" y="137"/>
                  </a:cubicBezTo>
                  <a:cubicBezTo>
                    <a:pt x="33" y="140"/>
                    <a:pt x="29" y="137"/>
                    <a:pt x="29" y="137"/>
                  </a:cubicBezTo>
                  <a:cubicBezTo>
                    <a:pt x="0" y="68"/>
                    <a:pt x="0" y="68"/>
                    <a:pt x="0" y="68"/>
                  </a:cubicBezTo>
                  <a:cubicBezTo>
                    <a:pt x="34" y="0"/>
                    <a:pt x="34" y="0"/>
                    <a:pt x="34" y="0"/>
                  </a:cubicBez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48">
              <a:extLst>
                <a:ext uri="{FF2B5EF4-FFF2-40B4-BE49-F238E27FC236}">
                  <a16:creationId xmlns:a16="http://schemas.microsoft.com/office/drawing/2014/main" id="{55479AA1-7CE8-49A6-8B6E-C097A7ED711D}"/>
                </a:ext>
              </a:extLst>
            </p:cNvPr>
            <p:cNvSpPr>
              <a:spLocks/>
            </p:cNvSpPr>
            <p:nvPr/>
          </p:nvSpPr>
          <p:spPr bwMode="auto">
            <a:xfrm>
              <a:off x="2578101" y="3859213"/>
              <a:ext cx="304800" cy="223838"/>
            </a:xfrm>
            <a:custGeom>
              <a:avLst/>
              <a:gdLst>
                <a:gd name="T0" fmla="*/ 55 w 60"/>
                <a:gd name="T1" fmla="*/ 21 h 44"/>
                <a:gd name="T2" fmla="*/ 50 w 60"/>
                <a:gd name="T3" fmla="*/ 15 h 44"/>
                <a:gd name="T4" fmla="*/ 38 w 60"/>
                <a:gd name="T5" fmla="*/ 6 h 44"/>
                <a:gd name="T6" fmla="*/ 36 w 60"/>
                <a:gd name="T7" fmla="*/ 1 h 44"/>
                <a:gd name="T8" fmla="*/ 31 w 60"/>
                <a:gd name="T9" fmla="*/ 6 h 44"/>
                <a:gd name="T10" fmla="*/ 37 w 60"/>
                <a:gd name="T11" fmla="*/ 17 h 44"/>
                <a:gd name="T12" fmla="*/ 23 w 60"/>
                <a:gd name="T13" fmla="*/ 19 h 44"/>
                <a:gd name="T14" fmla="*/ 4 w 60"/>
                <a:gd name="T15" fmla="*/ 11 h 44"/>
                <a:gd name="T16" fmla="*/ 0 w 60"/>
                <a:gd name="T17" fmla="*/ 11 h 44"/>
                <a:gd name="T18" fmla="*/ 1 w 60"/>
                <a:gd name="T19" fmla="*/ 16 h 44"/>
                <a:gd name="T20" fmla="*/ 0 w 60"/>
                <a:gd name="T21" fmla="*/ 19 h 44"/>
                <a:gd name="T22" fmla="*/ 1 w 60"/>
                <a:gd name="T23" fmla="*/ 23 h 44"/>
                <a:gd name="T24" fmla="*/ 3 w 60"/>
                <a:gd name="T25" fmla="*/ 29 h 44"/>
                <a:gd name="T26" fmla="*/ 9 w 60"/>
                <a:gd name="T27" fmla="*/ 36 h 44"/>
                <a:gd name="T28" fmla="*/ 27 w 60"/>
                <a:gd name="T29" fmla="*/ 44 h 44"/>
                <a:gd name="T30" fmla="*/ 57 w 60"/>
                <a:gd name="T31" fmla="*/ 38 h 44"/>
                <a:gd name="T32" fmla="*/ 55 w 60"/>
                <a:gd name="T33"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44">
                  <a:moveTo>
                    <a:pt x="55" y="21"/>
                  </a:moveTo>
                  <a:cubicBezTo>
                    <a:pt x="55" y="21"/>
                    <a:pt x="51" y="15"/>
                    <a:pt x="50" y="15"/>
                  </a:cubicBezTo>
                  <a:cubicBezTo>
                    <a:pt x="49" y="14"/>
                    <a:pt x="40" y="9"/>
                    <a:pt x="38" y="6"/>
                  </a:cubicBezTo>
                  <a:cubicBezTo>
                    <a:pt x="37" y="3"/>
                    <a:pt x="36" y="1"/>
                    <a:pt x="36" y="1"/>
                  </a:cubicBezTo>
                  <a:cubicBezTo>
                    <a:pt x="35" y="0"/>
                    <a:pt x="29" y="1"/>
                    <a:pt x="31" y="6"/>
                  </a:cubicBezTo>
                  <a:cubicBezTo>
                    <a:pt x="33" y="11"/>
                    <a:pt x="37" y="16"/>
                    <a:pt x="37" y="17"/>
                  </a:cubicBezTo>
                  <a:cubicBezTo>
                    <a:pt x="37" y="19"/>
                    <a:pt x="25" y="20"/>
                    <a:pt x="23" y="19"/>
                  </a:cubicBezTo>
                  <a:cubicBezTo>
                    <a:pt x="20" y="18"/>
                    <a:pt x="5" y="11"/>
                    <a:pt x="4" y="11"/>
                  </a:cubicBezTo>
                  <a:cubicBezTo>
                    <a:pt x="0" y="11"/>
                    <a:pt x="0" y="11"/>
                    <a:pt x="0" y="11"/>
                  </a:cubicBezTo>
                  <a:cubicBezTo>
                    <a:pt x="1" y="16"/>
                    <a:pt x="1" y="16"/>
                    <a:pt x="1" y="16"/>
                  </a:cubicBezTo>
                  <a:cubicBezTo>
                    <a:pt x="2" y="17"/>
                    <a:pt x="0" y="18"/>
                    <a:pt x="0" y="19"/>
                  </a:cubicBezTo>
                  <a:cubicBezTo>
                    <a:pt x="0" y="20"/>
                    <a:pt x="1" y="23"/>
                    <a:pt x="1" y="23"/>
                  </a:cubicBezTo>
                  <a:cubicBezTo>
                    <a:pt x="1" y="23"/>
                    <a:pt x="2" y="27"/>
                    <a:pt x="3" y="29"/>
                  </a:cubicBezTo>
                  <a:cubicBezTo>
                    <a:pt x="4" y="30"/>
                    <a:pt x="8" y="36"/>
                    <a:pt x="9" y="36"/>
                  </a:cubicBezTo>
                  <a:cubicBezTo>
                    <a:pt x="10" y="36"/>
                    <a:pt x="23" y="44"/>
                    <a:pt x="27" y="44"/>
                  </a:cubicBezTo>
                  <a:cubicBezTo>
                    <a:pt x="30" y="44"/>
                    <a:pt x="51" y="44"/>
                    <a:pt x="57" y="38"/>
                  </a:cubicBezTo>
                  <a:cubicBezTo>
                    <a:pt x="60" y="35"/>
                    <a:pt x="55" y="21"/>
                    <a:pt x="55" y="21"/>
                  </a:cubicBezTo>
                  <a:close/>
                </a:path>
              </a:pathLst>
            </a:custGeom>
            <a:solidFill>
              <a:srgbClr val="FBBC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49">
              <a:extLst>
                <a:ext uri="{FF2B5EF4-FFF2-40B4-BE49-F238E27FC236}">
                  <a16:creationId xmlns:a16="http://schemas.microsoft.com/office/drawing/2014/main" id="{4B1AA07B-7ADF-412C-B596-286D5041D05C}"/>
                </a:ext>
              </a:extLst>
            </p:cNvPr>
            <p:cNvSpPr>
              <a:spLocks/>
            </p:cNvSpPr>
            <p:nvPr/>
          </p:nvSpPr>
          <p:spPr bwMode="auto">
            <a:xfrm>
              <a:off x="3803651" y="4241800"/>
              <a:ext cx="677863" cy="76200"/>
            </a:xfrm>
            <a:custGeom>
              <a:avLst/>
              <a:gdLst>
                <a:gd name="T0" fmla="*/ 130 w 133"/>
                <a:gd name="T1" fmla="*/ 15 h 15"/>
                <a:gd name="T2" fmla="*/ 3 w 133"/>
                <a:gd name="T3" fmla="*/ 15 h 15"/>
                <a:gd name="T4" fmla="*/ 0 w 133"/>
                <a:gd name="T5" fmla="*/ 12 h 15"/>
                <a:gd name="T6" fmla="*/ 3 w 133"/>
                <a:gd name="T7" fmla="*/ 3 h 15"/>
                <a:gd name="T8" fmla="*/ 6 w 133"/>
                <a:gd name="T9" fmla="*/ 0 h 15"/>
                <a:gd name="T10" fmla="*/ 130 w 133"/>
                <a:gd name="T11" fmla="*/ 0 h 15"/>
                <a:gd name="T12" fmla="*/ 133 w 133"/>
                <a:gd name="T13" fmla="*/ 3 h 15"/>
                <a:gd name="T14" fmla="*/ 133 w 133"/>
                <a:gd name="T15" fmla="*/ 12 h 15"/>
                <a:gd name="T16" fmla="*/ 130 w 133"/>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5">
                  <a:moveTo>
                    <a:pt x="130" y="15"/>
                  </a:moveTo>
                  <a:cubicBezTo>
                    <a:pt x="3" y="15"/>
                    <a:pt x="3" y="15"/>
                    <a:pt x="3" y="15"/>
                  </a:cubicBezTo>
                  <a:cubicBezTo>
                    <a:pt x="1" y="15"/>
                    <a:pt x="0" y="14"/>
                    <a:pt x="0" y="12"/>
                  </a:cubicBezTo>
                  <a:cubicBezTo>
                    <a:pt x="3" y="3"/>
                    <a:pt x="3" y="3"/>
                    <a:pt x="3" y="3"/>
                  </a:cubicBezTo>
                  <a:cubicBezTo>
                    <a:pt x="3" y="1"/>
                    <a:pt x="4" y="0"/>
                    <a:pt x="6" y="0"/>
                  </a:cubicBezTo>
                  <a:cubicBezTo>
                    <a:pt x="130" y="0"/>
                    <a:pt x="130" y="0"/>
                    <a:pt x="130" y="0"/>
                  </a:cubicBezTo>
                  <a:cubicBezTo>
                    <a:pt x="131" y="0"/>
                    <a:pt x="133" y="1"/>
                    <a:pt x="133" y="3"/>
                  </a:cubicBezTo>
                  <a:cubicBezTo>
                    <a:pt x="133" y="12"/>
                    <a:pt x="133" y="12"/>
                    <a:pt x="133" y="12"/>
                  </a:cubicBezTo>
                  <a:cubicBezTo>
                    <a:pt x="133" y="14"/>
                    <a:pt x="131" y="15"/>
                    <a:pt x="130" y="15"/>
                  </a:cubicBezTo>
                  <a:close/>
                </a:path>
              </a:pathLst>
            </a:custGeom>
            <a:solidFill>
              <a:srgbClr val="1818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50">
              <a:extLst>
                <a:ext uri="{FF2B5EF4-FFF2-40B4-BE49-F238E27FC236}">
                  <a16:creationId xmlns:a16="http://schemas.microsoft.com/office/drawing/2014/main" id="{3E9001D5-CDEE-4604-BF91-5EA356233464}"/>
                </a:ext>
              </a:extLst>
            </p:cNvPr>
            <p:cNvSpPr>
              <a:spLocks/>
            </p:cNvSpPr>
            <p:nvPr/>
          </p:nvSpPr>
          <p:spPr bwMode="auto">
            <a:xfrm>
              <a:off x="2693988" y="4922838"/>
              <a:ext cx="417513" cy="466725"/>
            </a:xfrm>
            <a:custGeom>
              <a:avLst/>
              <a:gdLst>
                <a:gd name="T0" fmla="*/ 0 w 82"/>
                <a:gd name="T1" fmla="*/ 84 h 92"/>
                <a:gd name="T2" fmla="*/ 43 w 82"/>
                <a:gd name="T3" fmla="*/ 74 h 92"/>
                <a:gd name="T4" fmla="*/ 82 w 82"/>
                <a:gd name="T5" fmla="*/ 29 h 92"/>
                <a:gd name="T6" fmla="*/ 50 w 82"/>
                <a:gd name="T7" fmla="*/ 0 h 92"/>
                <a:gd name="T8" fmla="*/ 25 w 82"/>
                <a:gd name="T9" fmla="*/ 28 h 92"/>
                <a:gd name="T10" fmla="*/ 7 w 82"/>
                <a:gd name="T11" fmla="*/ 24 h 92"/>
                <a:gd name="T12" fmla="*/ 0 w 82"/>
                <a:gd name="T13" fmla="*/ 84 h 92"/>
              </a:gdLst>
              <a:ahLst/>
              <a:cxnLst>
                <a:cxn ang="0">
                  <a:pos x="T0" y="T1"/>
                </a:cxn>
                <a:cxn ang="0">
                  <a:pos x="T2" y="T3"/>
                </a:cxn>
                <a:cxn ang="0">
                  <a:pos x="T4" y="T5"/>
                </a:cxn>
                <a:cxn ang="0">
                  <a:pos x="T6" y="T7"/>
                </a:cxn>
                <a:cxn ang="0">
                  <a:pos x="T8" y="T9"/>
                </a:cxn>
                <a:cxn ang="0">
                  <a:pos x="T10" y="T11"/>
                </a:cxn>
                <a:cxn ang="0">
                  <a:pos x="T12" y="T13"/>
                </a:cxn>
              </a:cxnLst>
              <a:rect l="0" t="0" r="r" b="b"/>
              <a:pathLst>
                <a:path w="82" h="92">
                  <a:moveTo>
                    <a:pt x="0" y="84"/>
                  </a:moveTo>
                  <a:cubicBezTo>
                    <a:pt x="7" y="92"/>
                    <a:pt x="28" y="84"/>
                    <a:pt x="43" y="74"/>
                  </a:cubicBezTo>
                  <a:cubicBezTo>
                    <a:pt x="61" y="63"/>
                    <a:pt x="82" y="29"/>
                    <a:pt x="82" y="29"/>
                  </a:cubicBezTo>
                  <a:cubicBezTo>
                    <a:pt x="50" y="0"/>
                    <a:pt x="50" y="0"/>
                    <a:pt x="50" y="0"/>
                  </a:cubicBezTo>
                  <a:cubicBezTo>
                    <a:pt x="50" y="0"/>
                    <a:pt x="41" y="18"/>
                    <a:pt x="25" y="28"/>
                  </a:cubicBezTo>
                  <a:cubicBezTo>
                    <a:pt x="10" y="38"/>
                    <a:pt x="7" y="24"/>
                    <a:pt x="7" y="24"/>
                  </a:cubicBezTo>
                  <a:cubicBezTo>
                    <a:pt x="0" y="84"/>
                    <a:pt x="0" y="84"/>
                    <a:pt x="0" y="84"/>
                  </a:cubicBezTo>
                  <a:close/>
                </a:path>
              </a:pathLst>
            </a:custGeom>
            <a:solidFill>
              <a:srgbClr val="BCD0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51">
              <a:extLst>
                <a:ext uri="{FF2B5EF4-FFF2-40B4-BE49-F238E27FC236}">
                  <a16:creationId xmlns:a16="http://schemas.microsoft.com/office/drawing/2014/main" id="{93660DD5-06C3-4702-8B9E-09A741ACF5BF}"/>
                </a:ext>
              </a:extLst>
            </p:cNvPr>
            <p:cNvSpPr>
              <a:spLocks/>
            </p:cNvSpPr>
            <p:nvPr/>
          </p:nvSpPr>
          <p:spPr bwMode="auto">
            <a:xfrm>
              <a:off x="2693988" y="5045075"/>
              <a:ext cx="82550" cy="304800"/>
            </a:xfrm>
            <a:custGeom>
              <a:avLst/>
              <a:gdLst>
                <a:gd name="T0" fmla="*/ 0 w 16"/>
                <a:gd name="T1" fmla="*/ 60 h 60"/>
                <a:gd name="T2" fmla="*/ 5 w 16"/>
                <a:gd name="T3" fmla="*/ 49 h 60"/>
                <a:gd name="T4" fmla="*/ 16 w 16"/>
                <a:gd name="T5" fmla="*/ 51 h 60"/>
                <a:gd name="T6" fmla="*/ 7 w 16"/>
                <a:gd name="T7" fmla="*/ 0 h 60"/>
                <a:gd name="T8" fmla="*/ 0 w 16"/>
                <a:gd name="T9" fmla="*/ 60 h 60"/>
              </a:gdLst>
              <a:ahLst/>
              <a:cxnLst>
                <a:cxn ang="0">
                  <a:pos x="T0" y="T1"/>
                </a:cxn>
                <a:cxn ang="0">
                  <a:pos x="T2" y="T3"/>
                </a:cxn>
                <a:cxn ang="0">
                  <a:pos x="T4" y="T5"/>
                </a:cxn>
                <a:cxn ang="0">
                  <a:pos x="T6" y="T7"/>
                </a:cxn>
                <a:cxn ang="0">
                  <a:pos x="T8" y="T9"/>
                </a:cxn>
              </a:cxnLst>
              <a:rect l="0" t="0" r="r" b="b"/>
              <a:pathLst>
                <a:path w="16" h="60">
                  <a:moveTo>
                    <a:pt x="0" y="60"/>
                  </a:moveTo>
                  <a:cubicBezTo>
                    <a:pt x="0" y="60"/>
                    <a:pt x="2" y="51"/>
                    <a:pt x="5" y="49"/>
                  </a:cubicBezTo>
                  <a:cubicBezTo>
                    <a:pt x="11" y="45"/>
                    <a:pt x="16" y="51"/>
                    <a:pt x="16" y="51"/>
                  </a:cubicBezTo>
                  <a:cubicBezTo>
                    <a:pt x="7" y="0"/>
                    <a:pt x="7" y="0"/>
                    <a:pt x="7" y="0"/>
                  </a:cubicBezTo>
                  <a:cubicBezTo>
                    <a:pt x="0" y="60"/>
                    <a:pt x="0" y="60"/>
                    <a:pt x="0" y="60"/>
                  </a:cubicBezTo>
                  <a:close/>
                </a:path>
              </a:pathLst>
            </a:custGeom>
            <a:solidFill>
              <a:srgbClr val="D0D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52">
              <a:extLst>
                <a:ext uri="{FF2B5EF4-FFF2-40B4-BE49-F238E27FC236}">
                  <a16:creationId xmlns:a16="http://schemas.microsoft.com/office/drawing/2014/main" id="{E59590F9-B96B-4BAE-B2C4-B96C74ADA06D}"/>
                </a:ext>
              </a:extLst>
            </p:cNvPr>
            <p:cNvSpPr>
              <a:spLocks/>
            </p:cNvSpPr>
            <p:nvPr/>
          </p:nvSpPr>
          <p:spPr bwMode="auto">
            <a:xfrm>
              <a:off x="2928938" y="4195763"/>
              <a:ext cx="173038" cy="207963"/>
            </a:xfrm>
            <a:custGeom>
              <a:avLst/>
              <a:gdLst>
                <a:gd name="T0" fmla="*/ 109 w 109"/>
                <a:gd name="T1" fmla="*/ 131 h 131"/>
                <a:gd name="T2" fmla="*/ 0 w 109"/>
                <a:gd name="T3" fmla="*/ 131 h 131"/>
                <a:gd name="T4" fmla="*/ 0 w 109"/>
                <a:gd name="T5" fmla="*/ 0 h 131"/>
                <a:gd name="T6" fmla="*/ 109 w 109"/>
                <a:gd name="T7" fmla="*/ 0 h 131"/>
                <a:gd name="T8" fmla="*/ 109 w 109"/>
                <a:gd name="T9" fmla="*/ 131 h 131"/>
                <a:gd name="T10" fmla="*/ 109 w 109"/>
                <a:gd name="T11" fmla="*/ 131 h 131"/>
              </a:gdLst>
              <a:ahLst/>
              <a:cxnLst>
                <a:cxn ang="0">
                  <a:pos x="T0" y="T1"/>
                </a:cxn>
                <a:cxn ang="0">
                  <a:pos x="T2" y="T3"/>
                </a:cxn>
                <a:cxn ang="0">
                  <a:pos x="T4" y="T5"/>
                </a:cxn>
                <a:cxn ang="0">
                  <a:pos x="T6" y="T7"/>
                </a:cxn>
                <a:cxn ang="0">
                  <a:pos x="T8" y="T9"/>
                </a:cxn>
                <a:cxn ang="0">
                  <a:pos x="T10" y="T11"/>
                </a:cxn>
              </a:cxnLst>
              <a:rect l="0" t="0" r="r" b="b"/>
              <a:pathLst>
                <a:path w="109" h="131">
                  <a:moveTo>
                    <a:pt x="109" y="131"/>
                  </a:moveTo>
                  <a:lnTo>
                    <a:pt x="0" y="131"/>
                  </a:lnTo>
                  <a:lnTo>
                    <a:pt x="0" y="0"/>
                  </a:lnTo>
                  <a:lnTo>
                    <a:pt x="109" y="0"/>
                  </a:lnTo>
                  <a:lnTo>
                    <a:pt x="109" y="131"/>
                  </a:lnTo>
                  <a:lnTo>
                    <a:pt x="109" y="131"/>
                  </a:lnTo>
                  <a:close/>
                </a:path>
              </a:pathLst>
            </a:custGeom>
            <a:solidFill>
              <a:srgbClr val="B8C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53">
              <a:extLst>
                <a:ext uri="{FF2B5EF4-FFF2-40B4-BE49-F238E27FC236}">
                  <a16:creationId xmlns:a16="http://schemas.microsoft.com/office/drawing/2014/main" id="{4D33E33A-63A6-449B-A77F-47688142556B}"/>
                </a:ext>
              </a:extLst>
            </p:cNvPr>
            <p:cNvSpPr>
              <a:spLocks/>
            </p:cNvSpPr>
            <p:nvPr/>
          </p:nvSpPr>
          <p:spPr bwMode="auto">
            <a:xfrm>
              <a:off x="3090863" y="4221163"/>
              <a:ext cx="82550" cy="157163"/>
            </a:xfrm>
            <a:custGeom>
              <a:avLst/>
              <a:gdLst>
                <a:gd name="T0" fmla="*/ 0 w 16"/>
                <a:gd name="T1" fmla="*/ 31 h 31"/>
                <a:gd name="T2" fmla="*/ 0 w 16"/>
                <a:gd name="T3" fmla="*/ 27 h 31"/>
                <a:gd name="T4" fmla="*/ 12 w 16"/>
                <a:gd name="T5" fmla="*/ 14 h 31"/>
                <a:gd name="T6" fmla="*/ 0 w 16"/>
                <a:gd name="T7" fmla="*/ 3 h 31"/>
                <a:gd name="T8" fmla="*/ 0 w 16"/>
                <a:gd name="T9" fmla="*/ 0 h 31"/>
                <a:gd name="T10" fmla="*/ 16 w 16"/>
                <a:gd name="T11" fmla="*/ 14 h 31"/>
                <a:gd name="T12" fmla="*/ 0 w 16"/>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6" h="31">
                  <a:moveTo>
                    <a:pt x="0" y="31"/>
                  </a:moveTo>
                  <a:cubicBezTo>
                    <a:pt x="0" y="27"/>
                    <a:pt x="0" y="27"/>
                    <a:pt x="0" y="27"/>
                  </a:cubicBezTo>
                  <a:cubicBezTo>
                    <a:pt x="0" y="27"/>
                    <a:pt x="12" y="25"/>
                    <a:pt x="12" y="14"/>
                  </a:cubicBezTo>
                  <a:cubicBezTo>
                    <a:pt x="12" y="4"/>
                    <a:pt x="1" y="4"/>
                    <a:pt x="0" y="3"/>
                  </a:cubicBezTo>
                  <a:cubicBezTo>
                    <a:pt x="0" y="0"/>
                    <a:pt x="0" y="0"/>
                    <a:pt x="0" y="0"/>
                  </a:cubicBezTo>
                  <a:cubicBezTo>
                    <a:pt x="6" y="0"/>
                    <a:pt x="16" y="3"/>
                    <a:pt x="16" y="14"/>
                  </a:cubicBezTo>
                  <a:cubicBezTo>
                    <a:pt x="16" y="25"/>
                    <a:pt x="6" y="30"/>
                    <a:pt x="0" y="31"/>
                  </a:cubicBezTo>
                  <a:close/>
                </a:path>
              </a:pathLst>
            </a:custGeom>
            <a:solidFill>
              <a:srgbClr val="B8C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54">
              <a:extLst>
                <a:ext uri="{FF2B5EF4-FFF2-40B4-BE49-F238E27FC236}">
                  <a16:creationId xmlns:a16="http://schemas.microsoft.com/office/drawing/2014/main" id="{521C8A04-92C1-431C-A5FE-81B9A655878E}"/>
                </a:ext>
              </a:extLst>
            </p:cNvPr>
            <p:cNvSpPr>
              <a:spLocks/>
            </p:cNvSpPr>
            <p:nvPr/>
          </p:nvSpPr>
          <p:spPr bwMode="auto">
            <a:xfrm>
              <a:off x="1609726" y="4195763"/>
              <a:ext cx="168275" cy="207963"/>
            </a:xfrm>
            <a:custGeom>
              <a:avLst/>
              <a:gdLst>
                <a:gd name="T0" fmla="*/ 0 w 106"/>
                <a:gd name="T1" fmla="*/ 131 h 131"/>
                <a:gd name="T2" fmla="*/ 106 w 106"/>
                <a:gd name="T3" fmla="*/ 131 h 131"/>
                <a:gd name="T4" fmla="*/ 106 w 106"/>
                <a:gd name="T5" fmla="*/ 0 h 131"/>
                <a:gd name="T6" fmla="*/ 0 w 106"/>
                <a:gd name="T7" fmla="*/ 0 h 131"/>
                <a:gd name="T8" fmla="*/ 0 w 106"/>
                <a:gd name="T9" fmla="*/ 131 h 131"/>
                <a:gd name="T10" fmla="*/ 0 w 106"/>
                <a:gd name="T11" fmla="*/ 131 h 131"/>
              </a:gdLst>
              <a:ahLst/>
              <a:cxnLst>
                <a:cxn ang="0">
                  <a:pos x="T0" y="T1"/>
                </a:cxn>
                <a:cxn ang="0">
                  <a:pos x="T2" y="T3"/>
                </a:cxn>
                <a:cxn ang="0">
                  <a:pos x="T4" y="T5"/>
                </a:cxn>
                <a:cxn ang="0">
                  <a:pos x="T6" y="T7"/>
                </a:cxn>
                <a:cxn ang="0">
                  <a:pos x="T8" y="T9"/>
                </a:cxn>
                <a:cxn ang="0">
                  <a:pos x="T10" y="T11"/>
                </a:cxn>
              </a:cxnLst>
              <a:rect l="0" t="0" r="r" b="b"/>
              <a:pathLst>
                <a:path w="106" h="131">
                  <a:moveTo>
                    <a:pt x="0" y="131"/>
                  </a:moveTo>
                  <a:lnTo>
                    <a:pt x="106" y="131"/>
                  </a:lnTo>
                  <a:lnTo>
                    <a:pt x="106" y="0"/>
                  </a:lnTo>
                  <a:lnTo>
                    <a:pt x="0" y="0"/>
                  </a:lnTo>
                  <a:lnTo>
                    <a:pt x="0" y="131"/>
                  </a:lnTo>
                  <a:lnTo>
                    <a:pt x="0" y="131"/>
                  </a:lnTo>
                  <a:close/>
                </a:path>
              </a:pathLst>
            </a:custGeom>
            <a:solidFill>
              <a:srgbClr val="B8C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55">
              <a:extLst>
                <a:ext uri="{FF2B5EF4-FFF2-40B4-BE49-F238E27FC236}">
                  <a16:creationId xmlns:a16="http://schemas.microsoft.com/office/drawing/2014/main" id="{84EAC114-9A33-4E83-AEE7-EB3320C25617}"/>
                </a:ext>
              </a:extLst>
            </p:cNvPr>
            <p:cNvSpPr>
              <a:spLocks/>
            </p:cNvSpPr>
            <p:nvPr/>
          </p:nvSpPr>
          <p:spPr bwMode="auto">
            <a:xfrm>
              <a:off x="1533526" y="4221163"/>
              <a:ext cx="87313" cy="157163"/>
            </a:xfrm>
            <a:custGeom>
              <a:avLst/>
              <a:gdLst>
                <a:gd name="T0" fmla="*/ 16 w 17"/>
                <a:gd name="T1" fmla="*/ 31 h 31"/>
                <a:gd name="T2" fmla="*/ 17 w 17"/>
                <a:gd name="T3" fmla="*/ 27 h 31"/>
                <a:gd name="T4" fmla="*/ 4 w 17"/>
                <a:gd name="T5" fmla="*/ 14 h 31"/>
                <a:gd name="T6" fmla="*/ 16 w 17"/>
                <a:gd name="T7" fmla="*/ 4 h 31"/>
                <a:gd name="T8" fmla="*/ 16 w 17"/>
                <a:gd name="T9" fmla="*/ 0 h 31"/>
                <a:gd name="T10" fmla="*/ 0 w 17"/>
                <a:gd name="T11" fmla="*/ 14 h 31"/>
                <a:gd name="T12" fmla="*/ 16 w 17"/>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7" h="31">
                  <a:moveTo>
                    <a:pt x="16" y="31"/>
                  </a:moveTo>
                  <a:cubicBezTo>
                    <a:pt x="17" y="27"/>
                    <a:pt x="17" y="27"/>
                    <a:pt x="17" y="27"/>
                  </a:cubicBezTo>
                  <a:cubicBezTo>
                    <a:pt x="17" y="27"/>
                    <a:pt x="4" y="25"/>
                    <a:pt x="4" y="14"/>
                  </a:cubicBezTo>
                  <a:cubicBezTo>
                    <a:pt x="4" y="4"/>
                    <a:pt x="16" y="4"/>
                    <a:pt x="16" y="4"/>
                  </a:cubicBezTo>
                  <a:cubicBezTo>
                    <a:pt x="16" y="0"/>
                    <a:pt x="16" y="0"/>
                    <a:pt x="16" y="0"/>
                  </a:cubicBezTo>
                  <a:cubicBezTo>
                    <a:pt x="11" y="0"/>
                    <a:pt x="0" y="3"/>
                    <a:pt x="0" y="14"/>
                  </a:cubicBezTo>
                  <a:cubicBezTo>
                    <a:pt x="0" y="25"/>
                    <a:pt x="11" y="30"/>
                    <a:pt x="16" y="31"/>
                  </a:cubicBezTo>
                  <a:close/>
                </a:path>
              </a:pathLst>
            </a:custGeom>
            <a:solidFill>
              <a:srgbClr val="B8C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Arc 6"/>
          <p:cNvSpPr/>
          <p:nvPr/>
        </p:nvSpPr>
        <p:spPr>
          <a:xfrm>
            <a:off x="2306665" y="2231756"/>
            <a:ext cx="7578671" cy="7578671"/>
          </a:xfrm>
          <a:prstGeom prst="arc">
            <a:avLst>
              <a:gd name="adj1" fmla="val 10011010"/>
              <a:gd name="adj2" fmla="val 773710"/>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Oval 203"/>
          <p:cNvSpPr/>
          <p:nvPr/>
        </p:nvSpPr>
        <p:spPr>
          <a:xfrm>
            <a:off x="5662048" y="1839913"/>
            <a:ext cx="867905" cy="867905"/>
          </a:xfrm>
          <a:prstGeom prst="ellipse">
            <a:avLst/>
          </a:prstGeom>
          <a:solidFill>
            <a:srgbClr val="F0AC52"/>
          </a:solidFill>
          <a:ln w="3810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1921009" y="5073913"/>
            <a:ext cx="867905" cy="867905"/>
          </a:xfrm>
          <a:prstGeom prst="ellipse">
            <a:avLst/>
          </a:prstGeom>
          <a:ln w="3810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Oval 204"/>
          <p:cNvSpPr/>
          <p:nvPr/>
        </p:nvSpPr>
        <p:spPr>
          <a:xfrm>
            <a:off x="9403086" y="5065070"/>
            <a:ext cx="867905" cy="867905"/>
          </a:xfrm>
          <a:prstGeom prst="ellipse">
            <a:avLst/>
          </a:prstGeom>
          <a:solidFill>
            <a:srgbClr val="032D37"/>
          </a:solidFill>
          <a:ln w="3810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p:cNvSpPr/>
          <p:nvPr/>
        </p:nvSpPr>
        <p:spPr>
          <a:xfrm>
            <a:off x="2788914" y="3056395"/>
            <a:ext cx="867905" cy="867905"/>
          </a:xfrm>
          <a:prstGeom prst="ellipse">
            <a:avLst/>
          </a:prstGeom>
          <a:solidFill>
            <a:srgbClr val="F6817E"/>
          </a:solidFill>
          <a:ln w="3810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Oval 205"/>
          <p:cNvSpPr/>
          <p:nvPr/>
        </p:nvSpPr>
        <p:spPr>
          <a:xfrm>
            <a:off x="8535181" y="3056395"/>
            <a:ext cx="867905" cy="867905"/>
          </a:xfrm>
          <a:prstGeom prst="ellipse">
            <a:avLst/>
          </a:prstGeom>
          <a:solidFill>
            <a:srgbClr val="F25450"/>
          </a:solidFill>
          <a:ln w="3810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TextBox 206">
            <a:extLst>
              <a:ext uri="{FF2B5EF4-FFF2-40B4-BE49-F238E27FC236}">
                <a16:creationId xmlns:a16="http://schemas.microsoft.com/office/drawing/2014/main" id="{E87970DD-4691-486E-91C4-1495A7B16D31}"/>
              </a:ext>
            </a:extLst>
          </p:cNvPr>
          <p:cNvSpPr txBox="1"/>
          <p:nvPr/>
        </p:nvSpPr>
        <p:spPr>
          <a:xfrm>
            <a:off x="584202" y="5200089"/>
            <a:ext cx="1246216" cy="615553"/>
          </a:xfrm>
          <a:prstGeom prst="rect">
            <a:avLst/>
          </a:prstGeom>
          <a:noFill/>
        </p:spPr>
        <p:txBody>
          <a:bodyPr wrap="square" lIns="0" tIns="0" rIns="0" bIns="0" rtlCol="0" anchor="ctr">
            <a:spAutoFit/>
          </a:bodyPr>
          <a:lstStyle/>
          <a:p>
            <a:pPr algn="r"/>
            <a:r>
              <a:rPr lang="en-IN" sz="2000" b="1" dirty="0">
                <a:latin typeface="Calibri" panose="020F0502020204030204" pitchFamily="34" charset="0"/>
                <a:ea typeface="Calibri" panose="020F0502020204030204" pitchFamily="34" charset="0"/>
                <a:cs typeface="Times New Roman" panose="02020603050405020304" pitchFamily="18" charset="0"/>
              </a:rPr>
              <a:t>F</a:t>
            </a:r>
            <a:r>
              <a:rPr lang="en-IN" sz="2000" b="1" dirty="0">
                <a:effectLst/>
                <a:latin typeface="Calibri" panose="020F0502020204030204" pitchFamily="34" charset="0"/>
                <a:ea typeface="Calibri" panose="020F0502020204030204" pitchFamily="34" charset="0"/>
                <a:cs typeface="Times New Roman" panose="02020603050405020304" pitchFamily="18" charset="0"/>
              </a:rPr>
              <a:t>oster </a:t>
            </a:r>
            <a:r>
              <a:rPr lang="en-IN" sz="2000" b="1" dirty="0">
                <a:latin typeface="Calibri" panose="020F0502020204030204" pitchFamily="34" charset="0"/>
                <a:ea typeface="Calibri" panose="020F0502020204030204" pitchFamily="34" charset="0"/>
                <a:cs typeface="Times New Roman" panose="02020603050405020304" pitchFamily="18" charset="0"/>
              </a:rPr>
              <a:t>I</a:t>
            </a:r>
            <a:r>
              <a:rPr lang="en-IN" sz="2000" b="1" dirty="0">
                <a:effectLst/>
                <a:latin typeface="Calibri" panose="020F0502020204030204" pitchFamily="34" charset="0"/>
                <a:ea typeface="Calibri" panose="020F0502020204030204" pitchFamily="34" charset="0"/>
                <a:cs typeface="Times New Roman" panose="02020603050405020304" pitchFamily="18" charset="0"/>
              </a:rPr>
              <a:t>nnovation</a:t>
            </a:r>
            <a:endParaRPr lang="en-US" b="1" dirty="0">
              <a:cs typeface="Calibri" panose="020F0502020204030204" pitchFamily="34" charset="0"/>
            </a:endParaRPr>
          </a:p>
        </p:txBody>
      </p:sp>
      <p:sp>
        <p:nvSpPr>
          <p:cNvPr id="208" name="TextBox 207">
            <a:extLst>
              <a:ext uri="{FF2B5EF4-FFF2-40B4-BE49-F238E27FC236}">
                <a16:creationId xmlns:a16="http://schemas.microsoft.com/office/drawing/2014/main" id="{E87970DD-4691-486E-91C4-1495A7B16D31}"/>
              </a:ext>
            </a:extLst>
          </p:cNvPr>
          <p:cNvSpPr txBox="1"/>
          <p:nvPr/>
        </p:nvSpPr>
        <p:spPr>
          <a:xfrm>
            <a:off x="10361582" y="5046201"/>
            <a:ext cx="1246216" cy="923330"/>
          </a:xfrm>
          <a:prstGeom prst="rect">
            <a:avLst/>
          </a:prstGeom>
          <a:noFill/>
        </p:spPr>
        <p:txBody>
          <a:bodyPr wrap="square" lIns="0" tIns="0" rIns="0" bIns="0" rtlCol="0" anchor="ctr">
            <a:spAutoFit/>
          </a:bodyPr>
          <a:lstStyle/>
          <a:p>
            <a:r>
              <a:rPr lang="en-IN" sz="2000" b="1" dirty="0">
                <a:latin typeface="Calibri" panose="020F0502020204030204" pitchFamily="34" charset="0"/>
                <a:ea typeface="Calibri" panose="020F0502020204030204" pitchFamily="34" charset="0"/>
                <a:cs typeface="Times New Roman" panose="02020603050405020304" pitchFamily="18" charset="0"/>
              </a:rPr>
              <a:t>P</a:t>
            </a:r>
            <a:r>
              <a:rPr lang="en-IN" sz="2000" b="1" dirty="0">
                <a:effectLst/>
                <a:latin typeface="Calibri" panose="020F0502020204030204" pitchFamily="34" charset="0"/>
                <a:ea typeface="Calibri" panose="020F0502020204030204" pitchFamily="34" charset="0"/>
                <a:cs typeface="Times New Roman" panose="02020603050405020304" pitchFamily="18" charset="0"/>
              </a:rPr>
              <a:t>rotect </a:t>
            </a:r>
            <a:r>
              <a:rPr lang="en-IN" sz="2000" b="1" dirty="0">
                <a:latin typeface="Calibri" panose="020F0502020204030204" pitchFamily="34" charset="0"/>
                <a:ea typeface="Calibri" panose="020F0502020204030204" pitchFamily="34" charset="0"/>
                <a:cs typeface="Times New Roman" panose="02020603050405020304" pitchFamily="18" charset="0"/>
              </a:rPr>
              <a:t>I</a:t>
            </a:r>
            <a:r>
              <a:rPr lang="en-IN" sz="2000" b="1" dirty="0">
                <a:effectLst/>
                <a:latin typeface="Calibri" panose="020F0502020204030204" pitchFamily="34" charset="0"/>
                <a:ea typeface="Calibri" panose="020F0502020204030204" pitchFamily="34" charset="0"/>
                <a:cs typeface="Times New Roman" panose="02020603050405020304" pitchFamily="18" charset="0"/>
              </a:rPr>
              <a:t>ntellectual </a:t>
            </a:r>
            <a:r>
              <a:rPr lang="en-IN" sz="2000" b="1" dirty="0">
                <a:latin typeface="Calibri" panose="020F0502020204030204" pitchFamily="34" charset="0"/>
                <a:ea typeface="Calibri" panose="020F0502020204030204" pitchFamily="34" charset="0"/>
                <a:cs typeface="Times New Roman" panose="02020603050405020304" pitchFamily="18" charset="0"/>
              </a:rPr>
              <a:t>P</a:t>
            </a:r>
            <a:r>
              <a:rPr lang="en-IN" sz="2000" b="1" dirty="0">
                <a:effectLst/>
                <a:latin typeface="Calibri" panose="020F0502020204030204" pitchFamily="34" charset="0"/>
                <a:ea typeface="Calibri" panose="020F0502020204030204" pitchFamily="34" charset="0"/>
                <a:cs typeface="Times New Roman" panose="02020603050405020304" pitchFamily="18" charset="0"/>
              </a:rPr>
              <a:t>roperty </a:t>
            </a:r>
            <a:endParaRPr lang="en-US" b="1" dirty="0">
              <a:cs typeface="Calibri" panose="020F0502020204030204" pitchFamily="34" charset="0"/>
            </a:endParaRPr>
          </a:p>
        </p:txBody>
      </p:sp>
      <p:sp>
        <p:nvSpPr>
          <p:cNvPr id="209" name="TextBox 208">
            <a:extLst>
              <a:ext uri="{FF2B5EF4-FFF2-40B4-BE49-F238E27FC236}">
                <a16:creationId xmlns:a16="http://schemas.microsoft.com/office/drawing/2014/main" id="{E87970DD-4691-486E-91C4-1495A7B16D31}"/>
              </a:ext>
            </a:extLst>
          </p:cNvPr>
          <p:cNvSpPr txBox="1"/>
          <p:nvPr/>
        </p:nvSpPr>
        <p:spPr>
          <a:xfrm>
            <a:off x="9500350" y="3028682"/>
            <a:ext cx="2082049" cy="923330"/>
          </a:xfrm>
          <a:prstGeom prst="rect">
            <a:avLst/>
          </a:prstGeom>
          <a:noFill/>
        </p:spPr>
        <p:txBody>
          <a:bodyPr wrap="square" lIns="0" tIns="0" rIns="0" bIns="0" rtlCol="0" anchor="ctr">
            <a:spAutoFit/>
          </a:bodyPr>
          <a:lstStyle/>
          <a:p>
            <a:r>
              <a:rPr lang="en-IN" sz="2000" b="1" dirty="0">
                <a:latin typeface="Calibri" panose="020F0502020204030204" pitchFamily="34" charset="0"/>
                <a:ea typeface="Calibri" panose="020F0502020204030204" pitchFamily="34" charset="0"/>
                <a:cs typeface="Times New Roman" panose="02020603050405020304" pitchFamily="18" charset="0"/>
              </a:rPr>
              <a:t>B</a:t>
            </a:r>
            <a:r>
              <a:rPr lang="en-IN" sz="2000" b="1" dirty="0">
                <a:effectLst/>
                <a:latin typeface="Calibri" panose="020F0502020204030204" pitchFamily="34" charset="0"/>
                <a:ea typeface="Calibri" panose="020F0502020204030204" pitchFamily="34" charset="0"/>
                <a:cs typeface="Times New Roman" panose="02020603050405020304" pitchFamily="18" charset="0"/>
              </a:rPr>
              <a:t>uild </a:t>
            </a:r>
            <a:r>
              <a:rPr lang="en-IN" sz="2000" b="1" dirty="0">
                <a:latin typeface="Calibri" panose="020F0502020204030204" pitchFamily="34" charset="0"/>
                <a:ea typeface="Calibri" panose="020F0502020204030204" pitchFamily="34" charset="0"/>
                <a:cs typeface="Times New Roman" panose="02020603050405020304" pitchFamily="18" charset="0"/>
              </a:rPr>
              <a:t>B</a:t>
            </a:r>
            <a:r>
              <a:rPr lang="en-IN" sz="2000" b="1" dirty="0">
                <a:effectLst/>
                <a:latin typeface="Calibri" panose="020F0502020204030204" pitchFamily="34" charset="0"/>
                <a:ea typeface="Calibri" panose="020F0502020204030204" pitchFamily="34" charset="0"/>
                <a:cs typeface="Times New Roman" panose="02020603050405020304" pitchFamily="18" charset="0"/>
              </a:rPr>
              <a:t>est in Class </a:t>
            </a:r>
            <a:r>
              <a:rPr lang="en-IN" sz="2000" b="1" dirty="0">
                <a:latin typeface="Calibri" panose="020F0502020204030204" pitchFamily="34" charset="0"/>
                <a:ea typeface="Calibri" panose="020F0502020204030204" pitchFamily="34" charset="0"/>
                <a:cs typeface="Times New Roman" panose="02020603050405020304" pitchFamily="18" charset="0"/>
              </a:rPr>
              <a:t>M</a:t>
            </a:r>
            <a:r>
              <a:rPr lang="en-IN" sz="2000" b="1" dirty="0">
                <a:effectLst/>
                <a:latin typeface="Calibri" panose="020F0502020204030204" pitchFamily="34" charset="0"/>
                <a:ea typeface="Calibri" panose="020F0502020204030204" pitchFamily="34" charset="0"/>
                <a:cs typeface="Times New Roman" panose="02020603050405020304" pitchFamily="18" charset="0"/>
              </a:rPr>
              <a:t>anufacturing </a:t>
            </a:r>
            <a:r>
              <a:rPr lang="en-IN" sz="2000" b="1" dirty="0">
                <a:latin typeface="Calibri" panose="020F0502020204030204" pitchFamily="34" charset="0"/>
                <a:ea typeface="Calibri" panose="020F0502020204030204" pitchFamily="34" charset="0"/>
                <a:cs typeface="Times New Roman" panose="02020603050405020304" pitchFamily="18" charset="0"/>
              </a:rPr>
              <a:t>I</a:t>
            </a:r>
            <a:r>
              <a:rPr lang="en-IN" sz="2000" b="1" dirty="0">
                <a:effectLst/>
                <a:latin typeface="Calibri" panose="020F0502020204030204" pitchFamily="34" charset="0"/>
                <a:ea typeface="Calibri" panose="020F0502020204030204" pitchFamily="34" charset="0"/>
                <a:cs typeface="Times New Roman" panose="02020603050405020304" pitchFamily="18" charset="0"/>
              </a:rPr>
              <a:t>nfrastructure </a:t>
            </a:r>
          </a:p>
        </p:txBody>
      </p:sp>
      <p:sp>
        <p:nvSpPr>
          <p:cNvPr id="210" name="TextBox 209">
            <a:extLst>
              <a:ext uri="{FF2B5EF4-FFF2-40B4-BE49-F238E27FC236}">
                <a16:creationId xmlns:a16="http://schemas.microsoft.com/office/drawing/2014/main" id="{E87970DD-4691-486E-91C4-1495A7B16D31}"/>
              </a:ext>
            </a:extLst>
          </p:cNvPr>
          <p:cNvSpPr txBox="1"/>
          <p:nvPr/>
        </p:nvSpPr>
        <p:spPr>
          <a:xfrm>
            <a:off x="584202" y="3182571"/>
            <a:ext cx="2082049" cy="615553"/>
          </a:xfrm>
          <a:prstGeom prst="rect">
            <a:avLst/>
          </a:prstGeom>
          <a:noFill/>
        </p:spPr>
        <p:txBody>
          <a:bodyPr wrap="square" lIns="0" tIns="0" rIns="0" bIns="0" rtlCol="0" anchor="ctr">
            <a:spAutoFit/>
          </a:bodyPr>
          <a:lstStyle/>
          <a:p>
            <a:pPr algn="r"/>
            <a:r>
              <a:rPr lang="en-IN" sz="2000" b="1" dirty="0">
                <a:latin typeface="Calibri" panose="020F0502020204030204" pitchFamily="34" charset="0"/>
                <a:ea typeface="Calibri" panose="020F0502020204030204" pitchFamily="34" charset="0"/>
                <a:cs typeface="Times New Roman" panose="02020603050405020304" pitchFamily="18" charset="0"/>
              </a:rPr>
              <a:t>E</a:t>
            </a:r>
            <a:r>
              <a:rPr lang="en-IN" sz="2000" b="1" dirty="0">
                <a:effectLst/>
                <a:latin typeface="Calibri" panose="020F0502020204030204" pitchFamily="34" charset="0"/>
                <a:ea typeface="Calibri" panose="020F0502020204030204" pitchFamily="34" charset="0"/>
                <a:cs typeface="Times New Roman" panose="02020603050405020304" pitchFamily="18" charset="0"/>
              </a:rPr>
              <a:t>nhance </a:t>
            </a:r>
            <a:r>
              <a:rPr lang="en-IN" sz="2000" b="1" dirty="0">
                <a:latin typeface="Calibri" panose="020F0502020204030204" pitchFamily="34" charset="0"/>
                <a:ea typeface="Calibri" panose="020F0502020204030204" pitchFamily="34" charset="0"/>
                <a:cs typeface="Times New Roman" panose="02020603050405020304" pitchFamily="18" charset="0"/>
              </a:rPr>
              <a:t>S</a:t>
            </a:r>
            <a:r>
              <a:rPr lang="en-IN" sz="2000" b="1" dirty="0">
                <a:effectLst/>
                <a:latin typeface="Calibri" panose="020F0502020204030204" pitchFamily="34" charset="0"/>
                <a:ea typeface="Calibri" panose="020F0502020204030204" pitchFamily="34" charset="0"/>
                <a:cs typeface="Times New Roman" panose="02020603050405020304" pitchFamily="18" charset="0"/>
              </a:rPr>
              <a:t>kill </a:t>
            </a:r>
            <a:r>
              <a:rPr lang="en-IN" sz="2000" b="1" dirty="0">
                <a:latin typeface="Calibri" panose="020F0502020204030204" pitchFamily="34" charset="0"/>
                <a:ea typeface="Calibri" panose="020F0502020204030204" pitchFamily="34" charset="0"/>
                <a:cs typeface="Times New Roman" panose="02020603050405020304" pitchFamily="18" charset="0"/>
              </a:rPr>
              <a:t>D</a:t>
            </a:r>
            <a:r>
              <a:rPr lang="en-IN" sz="2000" b="1" dirty="0">
                <a:effectLst/>
                <a:latin typeface="Calibri" panose="020F0502020204030204" pitchFamily="34" charset="0"/>
                <a:ea typeface="Calibri" panose="020F0502020204030204" pitchFamily="34" charset="0"/>
                <a:cs typeface="Times New Roman" panose="02020603050405020304" pitchFamily="18" charset="0"/>
              </a:rPr>
              <a:t>evelopment</a:t>
            </a:r>
            <a:endParaRPr lang="en-US" b="1" dirty="0">
              <a:cs typeface="Calibri" panose="020F0502020204030204" pitchFamily="34" charset="0"/>
            </a:endParaRPr>
          </a:p>
        </p:txBody>
      </p:sp>
      <p:sp>
        <p:nvSpPr>
          <p:cNvPr id="211" name="TextBox 210">
            <a:extLst>
              <a:ext uri="{FF2B5EF4-FFF2-40B4-BE49-F238E27FC236}">
                <a16:creationId xmlns:a16="http://schemas.microsoft.com/office/drawing/2014/main" id="{E87970DD-4691-486E-91C4-1495A7B16D31}"/>
              </a:ext>
            </a:extLst>
          </p:cNvPr>
          <p:cNvSpPr txBox="1"/>
          <p:nvPr/>
        </p:nvSpPr>
        <p:spPr>
          <a:xfrm>
            <a:off x="5054976" y="2861448"/>
            <a:ext cx="2082049" cy="615553"/>
          </a:xfrm>
          <a:prstGeom prst="rect">
            <a:avLst/>
          </a:prstGeom>
          <a:noFill/>
        </p:spPr>
        <p:txBody>
          <a:bodyPr wrap="square" lIns="0" tIns="0" rIns="0" bIns="0" rtlCol="0" anchor="ctr">
            <a:spAutoFit/>
          </a:bodyPr>
          <a:lstStyle/>
          <a:p>
            <a:pPr algn="ctr"/>
            <a:r>
              <a:rPr lang="en-IN" sz="2000" b="1" dirty="0">
                <a:latin typeface="Calibri" panose="020F0502020204030204" pitchFamily="34" charset="0"/>
                <a:ea typeface="Calibri" panose="020F0502020204030204" pitchFamily="34" charset="0"/>
                <a:cs typeface="Times New Roman" panose="02020603050405020304" pitchFamily="18" charset="0"/>
              </a:rPr>
              <a:t>F</a:t>
            </a:r>
            <a:r>
              <a:rPr lang="en-IN" sz="2000" b="1" dirty="0">
                <a:effectLst/>
                <a:latin typeface="Calibri" panose="020F0502020204030204" pitchFamily="34" charset="0"/>
                <a:ea typeface="Calibri" panose="020F0502020204030204" pitchFamily="34" charset="0"/>
                <a:cs typeface="Times New Roman" panose="02020603050405020304" pitchFamily="18" charset="0"/>
              </a:rPr>
              <a:t>acilitate </a:t>
            </a:r>
            <a:r>
              <a:rPr lang="en-IN" sz="2000" b="1" dirty="0">
                <a:latin typeface="Calibri" panose="020F0502020204030204" pitchFamily="34" charset="0"/>
                <a:ea typeface="Calibri" panose="020F0502020204030204" pitchFamily="34" charset="0"/>
                <a:cs typeface="Times New Roman" panose="02020603050405020304" pitchFamily="18" charset="0"/>
              </a:rPr>
              <a:t>I</a:t>
            </a:r>
            <a:r>
              <a:rPr lang="en-IN" sz="2000" b="1" dirty="0">
                <a:effectLst/>
                <a:latin typeface="Calibri" panose="020F0502020204030204" pitchFamily="34" charset="0"/>
                <a:ea typeface="Calibri" panose="020F0502020204030204" pitchFamily="34" charset="0"/>
                <a:cs typeface="Times New Roman" panose="02020603050405020304" pitchFamily="18" charset="0"/>
              </a:rPr>
              <a:t>nvestment</a:t>
            </a:r>
            <a:endParaRPr lang="en-US" b="1" dirty="0">
              <a:cs typeface="Calibri" panose="020F0502020204030204" pitchFamily="34" charset="0"/>
            </a:endParaRPr>
          </a:p>
        </p:txBody>
      </p:sp>
      <p:grpSp>
        <p:nvGrpSpPr>
          <p:cNvPr id="212" name="Group 211"/>
          <p:cNvGrpSpPr/>
          <p:nvPr/>
        </p:nvGrpSpPr>
        <p:grpSpPr>
          <a:xfrm>
            <a:off x="2157229" y="5310133"/>
            <a:ext cx="395464" cy="395464"/>
            <a:chOff x="-5495925" y="2041525"/>
            <a:chExt cx="2343150" cy="2343151"/>
          </a:xfrm>
          <a:solidFill>
            <a:schemeClr val="bg1"/>
          </a:solidFill>
        </p:grpSpPr>
        <p:sp>
          <p:nvSpPr>
            <p:cNvPr id="22" name="Freeform 10"/>
            <p:cNvSpPr>
              <a:spLocks/>
            </p:cNvSpPr>
            <p:nvPr/>
          </p:nvSpPr>
          <p:spPr bwMode="auto">
            <a:xfrm>
              <a:off x="-3833813" y="2343150"/>
              <a:ext cx="227013" cy="530225"/>
            </a:xfrm>
            <a:custGeom>
              <a:avLst/>
              <a:gdLst>
                <a:gd name="T0" fmla="*/ 678 w 1355"/>
                <a:gd name="T1" fmla="*/ 1355 h 3161"/>
                <a:gd name="T2" fmla="*/ 452 w 1355"/>
                <a:gd name="T3" fmla="*/ 1129 h 3161"/>
                <a:gd name="T4" fmla="*/ 678 w 1355"/>
                <a:gd name="T5" fmla="*/ 903 h 3161"/>
                <a:gd name="T6" fmla="*/ 903 w 1355"/>
                <a:gd name="T7" fmla="*/ 1129 h 3161"/>
                <a:gd name="T8" fmla="*/ 1355 w 1355"/>
                <a:gd name="T9" fmla="*/ 1129 h 3161"/>
                <a:gd name="T10" fmla="*/ 903 w 1355"/>
                <a:gd name="T11" fmla="*/ 493 h 3161"/>
                <a:gd name="T12" fmla="*/ 903 w 1355"/>
                <a:gd name="T13" fmla="*/ 0 h 3161"/>
                <a:gd name="T14" fmla="*/ 452 w 1355"/>
                <a:gd name="T15" fmla="*/ 0 h 3161"/>
                <a:gd name="T16" fmla="*/ 452 w 1355"/>
                <a:gd name="T17" fmla="*/ 493 h 3161"/>
                <a:gd name="T18" fmla="*/ 0 w 1355"/>
                <a:gd name="T19" fmla="*/ 1129 h 3161"/>
                <a:gd name="T20" fmla="*/ 678 w 1355"/>
                <a:gd name="T21" fmla="*/ 1806 h 3161"/>
                <a:gd name="T22" fmla="*/ 903 w 1355"/>
                <a:gd name="T23" fmla="*/ 2032 h 3161"/>
                <a:gd name="T24" fmla="*/ 678 w 1355"/>
                <a:gd name="T25" fmla="*/ 2258 h 3161"/>
                <a:gd name="T26" fmla="*/ 452 w 1355"/>
                <a:gd name="T27" fmla="*/ 2032 h 3161"/>
                <a:gd name="T28" fmla="*/ 0 w 1355"/>
                <a:gd name="T29" fmla="*/ 2032 h 3161"/>
                <a:gd name="T30" fmla="*/ 452 w 1355"/>
                <a:gd name="T31" fmla="*/ 2668 h 3161"/>
                <a:gd name="T32" fmla="*/ 452 w 1355"/>
                <a:gd name="T33" fmla="*/ 3161 h 3161"/>
                <a:gd name="T34" fmla="*/ 903 w 1355"/>
                <a:gd name="T35" fmla="*/ 3161 h 3161"/>
                <a:gd name="T36" fmla="*/ 903 w 1355"/>
                <a:gd name="T37" fmla="*/ 2668 h 3161"/>
                <a:gd name="T38" fmla="*/ 1355 w 1355"/>
                <a:gd name="T39" fmla="*/ 2032 h 3161"/>
                <a:gd name="T40" fmla="*/ 678 w 1355"/>
                <a:gd name="T41" fmla="*/ 1355 h 3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5" h="3161">
                  <a:moveTo>
                    <a:pt x="678" y="1355"/>
                  </a:moveTo>
                  <a:cubicBezTo>
                    <a:pt x="553" y="1355"/>
                    <a:pt x="452" y="1254"/>
                    <a:pt x="452" y="1129"/>
                  </a:cubicBezTo>
                  <a:cubicBezTo>
                    <a:pt x="452" y="1005"/>
                    <a:pt x="553" y="903"/>
                    <a:pt x="678" y="903"/>
                  </a:cubicBezTo>
                  <a:cubicBezTo>
                    <a:pt x="802" y="903"/>
                    <a:pt x="903" y="1005"/>
                    <a:pt x="903" y="1129"/>
                  </a:cubicBezTo>
                  <a:lnTo>
                    <a:pt x="1355" y="1129"/>
                  </a:lnTo>
                  <a:cubicBezTo>
                    <a:pt x="1355" y="835"/>
                    <a:pt x="1166" y="587"/>
                    <a:pt x="903" y="493"/>
                  </a:cubicBezTo>
                  <a:lnTo>
                    <a:pt x="903" y="0"/>
                  </a:lnTo>
                  <a:lnTo>
                    <a:pt x="452" y="0"/>
                  </a:lnTo>
                  <a:lnTo>
                    <a:pt x="452" y="493"/>
                  </a:lnTo>
                  <a:cubicBezTo>
                    <a:pt x="190" y="587"/>
                    <a:pt x="0" y="835"/>
                    <a:pt x="0" y="1129"/>
                  </a:cubicBezTo>
                  <a:cubicBezTo>
                    <a:pt x="0" y="1503"/>
                    <a:pt x="304" y="1806"/>
                    <a:pt x="678" y="1806"/>
                  </a:cubicBezTo>
                  <a:cubicBezTo>
                    <a:pt x="802" y="1806"/>
                    <a:pt x="903" y="1908"/>
                    <a:pt x="903" y="2032"/>
                  </a:cubicBezTo>
                  <a:cubicBezTo>
                    <a:pt x="903" y="2157"/>
                    <a:pt x="802" y="2258"/>
                    <a:pt x="678" y="2258"/>
                  </a:cubicBezTo>
                  <a:cubicBezTo>
                    <a:pt x="553" y="2258"/>
                    <a:pt x="452" y="2157"/>
                    <a:pt x="452" y="2032"/>
                  </a:cubicBezTo>
                  <a:lnTo>
                    <a:pt x="0" y="2032"/>
                  </a:lnTo>
                  <a:cubicBezTo>
                    <a:pt x="0" y="2326"/>
                    <a:pt x="190" y="2575"/>
                    <a:pt x="452" y="2668"/>
                  </a:cubicBezTo>
                  <a:lnTo>
                    <a:pt x="452" y="3161"/>
                  </a:lnTo>
                  <a:lnTo>
                    <a:pt x="903" y="3161"/>
                  </a:lnTo>
                  <a:lnTo>
                    <a:pt x="903" y="2668"/>
                  </a:lnTo>
                  <a:cubicBezTo>
                    <a:pt x="1166" y="2575"/>
                    <a:pt x="1355" y="2326"/>
                    <a:pt x="1355" y="2032"/>
                  </a:cubicBezTo>
                  <a:cubicBezTo>
                    <a:pt x="1355" y="1659"/>
                    <a:pt x="1051" y="1355"/>
                    <a:pt x="678" y="13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1"/>
            <p:cNvSpPr>
              <a:spLocks noEditPoints="1"/>
            </p:cNvSpPr>
            <p:nvPr/>
          </p:nvSpPr>
          <p:spPr bwMode="auto">
            <a:xfrm>
              <a:off x="-4135438" y="2192338"/>
              <a:ext cx="831850" cy="831850"/>
            </a:xfrm>
            <a:custGeom>
              <a:avLst/>
              <a:gdLst>
                <a:gd name="T0" fmla="*/ 2484 w 4967"/>
                <a:gd name="T1" fmla="*/ 0 h 4967"/>
                <a:gd name="T2" fmla="*/ 0 w 4967"/>
                <a:gd name="T3" fmla="*/ 2484 h 4967"/>
                <a:gd name="T4" fmla="*/ 2484 w 4967"/>
                <a:gd name="T5" fmla="*/ 4967 h 4967"/>
                <a:gd name="T6" fmla="*/ 4967 w 4967"/>
                <a:gd name="T7" fmla="*/ 2484 h 4967"/>
                <a:gd name="T8" fmla="*/ 2484 w 4967"/>
                <a:gd name="T9" fmla="*/ 0 h 4967"/>
                <a:gd name="T10" fmla="*/ 2484 w 4967"/>
                <a:gd name="T11" fmla="*/ 4516 h 4967"/>
                <a:gd name="T12" fmla="*/ 452 w 4967"/>
                <a:gd name="T13" fmla="*/ 2484 h 4967"/>
                <a:gd name="T14" fmla="*/ 2484 w 4967"/>
                <a:gd name="T15" fmla="*/ 452 h 4967"/>
                <a:gd name="T16" fmla="*/ 4516 w 4967"/>
                <a:gd name="T17" fmla="*/ 2484 h 4967"/>
                <a:gd name="T18" fmla="*/ 2484 w 4967"/>
                <a:gd name="T19" fmla="*/ 4516 h 4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67" h="4967">
                  <a:moveTo>
                    <a:pt x="2484" y="0"/>
                  </a:moveTo>
                  <a:cubicBezTo>
                    <a:pt x="1114" y="0"/>
                    <a:pt x="0" y="1114"/>
                    <a:pt x="0" y="2484"/>
                  </a:cubicBezTo>
                  <a:cubicBezTo>
                    <a:pt x="0" y="3853"/>
                    <a:pt x="1114" y="4967"/>
                    <a:pt x="2484" y="4967"/>
                  </a:cubicBezTo>
                  <a:cubicBezTo>
                    <a:pt x="3853" y="4967"/>
                    <a:pt x="4967" y="3853"/>
                    <a:pt x="4967" y="2484"/>
                  </a:cubicBezTo>
                  <a:cubicBezTo>
                    <a:pt x="4967" y="1114"/>
                    <a:pt x="3853" y="0"/>
                    <a:pt x="2484" y="0"/>
                  </a:cubicBezTo>
                  <a:close/>
                  <a:moveTo>
                    <a:pt x="2484" y="4516"/>
                  </a:moveTo>
                  <a:cubicBezTo>
                    <a:pt x="1363" y="4516"/>
                    <a:pt x="452" y="3604"/>
                    <a:pt x="452" y="2484"/>
                  </a:cubicBezTo>
                  <a:cubicBezTo>
                    <a:pt x="452" y="1363"/>
                    <a:pt x="1363" y="452"/>
                    <a:pt x="2484" y="452"/>
                  </a:cubicBezTo>
                  <a:cubicBezTo>
                    <a:pt x="3604" y="452"/>
                    <a:pt x="4516" y="1363"/>
                    <a:pt x="4516" y="2484"/>
                  </a:cubicBezTo>
                  <a:cubicBezTo>
                    <a:pt x="4516" y="3604"/>
                    <a:pt x="3604" y="4516"/>
                    <a:pt x="2484" y="45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2"/>
            <p:cNvSpPr>
              <a:spLocks noEditPoints="1"/>
            </p:cNvSpPr>
            <p:nvPr/>
          </p:nvSpPr>
          <p:spPr bwMode="auto">
            <a:xfrm>
              <a:off x="-4286250" y="2041525"/>
              <a:ext cx="1133475" cy="2041525"/>
            </a:xfrm>
            <a:custGeom>
              <a:avLst/>
              <a:gdLst>
                <a:gd name="T0" fmla="*/ 6773 w 6773"/>
                <a:gd name="T1" fmla="*/ 3387 h 12192"/>
                <a:gd name="T2" fmla="*/ 3387 w 6773"/>
                <a:gd name="T3" fmla="*/ 0 h 12192"/>
                <a:gd name="T4" fmla="*/ 0 w 6773"/>
                <a:gd name="T5" fmla="*/ 3387 h 12192"/>
                <a:gd name="T6" fmla="*/ 2258 w 6773"/>
                <a:gd name="T7" fmla="*/ 6576 h 12192"/>
                <a:gd name="T8" fmla="*/ 2258 w 6773"/>
                <a:gd name="T9" fmla="*/ 7225 h 12192"/>
                <a:gd name="T10" fmla="*/ 1806 w 6773"/>
                <a:gd name="T11" fmla="*/ 7225 h 12192"/>
                <a:gd name="T12" fmla="*/ 1806 w 6773"/>
                <a:gd name="T13" fmla="*/ 7677 h 12192"/>
                <a:gd name="T14" fmla="*/ 2258 w 6773"/>
                <a:gd name="T15" fmla="*/ 7677 h 12192"/>
                <a:gd name="T16" fmla="*/ 2258 w 6773"/>
                <a:gd name="T17" fmla="*/ 11063 h 12192"/>
                <a:gd name="T18" fmla="*/ 3387 w 6773"/>
                <a:gd name="T19" fmla="*/ 12192 h 12192"/>
                <a:gd name="T20" fmla="*/ 4516 w 6773"/>
                <a:gd name="T21" fmla="*/ 11063 h 12192"/>
                <a:gd name="T22" fmla="*/ 4516 w 6773"/>
                <a:gd name="T23" fmla="*/ 7677 h 12192"/>
                <a:gd name="T24" fmla="*/ 4967 w 6773"/>
                <a:gd name="T25" fmla="*/ 7677 h 12192"/>
                <a:gd name="T26" fmla="*/ 4967 w 6773"/>
                <a:gd name="T27" fmla="*/ 7225 h 12192"/>
                <a:gd name="T28" fmla="*/ 4516 w 6773"/>
                <a:gd name="T29" fmla="*/ 7225 h 12192"/>
                <a:gd name="T30" fmla="*/ 4516 w 6773"/>
                <a:gd name="T31" fmla="*/ 6576 h 12192"/>
                <a:gd name="T32" fmla="*/ 6773 w 6773"/>
                <a:gd name="T33" fmla="*/ 3387 h 12192"/>
                <a:gd name="T34" fmla="*/ 4064 w 6773"/>
                <a:gd name="T35" fmla="*/ 11063 h 12192"/>
                <a:gd name="T36" fmla="*/ 3387 w 6773"/>
                <a:gd name="T37" fmla="*/ 11741 h 12192"/>
                <a:gd name="T38" fmla="*/ 2709 w 6773"/>
                <a:gd name="T39" fmla="*/ 11063 h 12192"/>
                <a:gd name="T40" fmla="*/ 2709 w 6773"/>
                <a:gd name="T41" fmla="*/ 7677 h 12192"/>
                <a:gd name="T42" fmla="*/ 4064 w 6773"/>
                <a:gd name="T43" fmla="*/ 7677 h 12192"/>
                <a:gd name="T44" fmla="*/ 4064 w 6773"/>
                <a:gd name="T45" fmla="*/ 11063 h 12192"/>
                <a:gd name="T46" fmla="*/ 4064 w 6773"/>
                <a:gd name="T47" fmla="*/ 7225 h 12192"/>
                <a:gd name="T48" fmla="*/ 2709 w 6773"/>
                <a:gd name="T49" fmla="*/ 7225 h 12192"/>
                <a:gd name="T50" fmla="*/ 2709 w 6773"/>
                <a:gd name="T51" fmla="*/ 6705 h 12192"/>
                <a:gd name="T52" fmla="*/ 3387 w 6773"/>
                <a:gd name="T53" fmla="*/ 6773 h 12192"/>
                <a:gd name="T54" fmla="*/ 4064 w 6773"/>
                <a:gd name="T55" fmla="*/ 6705 h 12192"/>
                <a:gd name="T56" fmla="*/ 4064 w 6773"/>
                <a:gd name="T57" fmla="*/ 7225 h 12192"/>
                <a:gd name="T58" fmla="*/ 3387 w 6773"/>
                <a:gd name="T59" fmla="*/ 6322 h 12192"/>
                <a:gd name="T60" fmla="*/ 452 w 6773"/>
                <a:gd name="T61" fmla="*/ 3387 h 12192"/>
                <a:gd name="T62" fmla="*/ 3387 w 6773"/>
                <a:gd name="T63" fmla="*/ 452 h 12192"/>
                <a:gd name="T64" fmla="*/ 6322 w 6773"/>
                <a:gd name="T65" fmla="*/ 3387 h 12192"/>
                <a:gd name="T66" fmla="*/ 3387 w 6773"/>
                <a:gd name="T67" fmla="*/ 6322 h 1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73" h="12192">
                  <a:moveTo>
                    <a:pt x="6773" y="3387"/>
                  </a:moveTo>
                  <a:cubicBezTo>
                    <a:pt x="6773" y="1519"/>
                    <a:pt x="5254" y="0"/>
                    <a:pt x="3387" y="0"/>
                  </a:cubicBezTo>
                  <a:cubicBezTo>
                    <a:pt x="1519" y="0"/>
                    <a:pt x="0" y="1519"/>
                    <a:pt x="0" y="3387"/>
                  </a:cubicBezTo>
                  <a:cubicBezTo>
                    <a:pt x="0" y="4858"/>
                    <a:pt x="944" y="6109"/>
                    <a:pt x="2258" y="6576"/>
                  </a:cubicBezTo>
                  <a:lnTo>
                    <a:pt x="2258" y="7225"/>
                  </a:lnTo>
                  <a:lnTo>
                    <a:pt x="1806" y="7225"/>
                  </a:lnTo>
                  <a:lnTo>
                    <a:pt x="1806" y="7677"/>
                  </a:lnTo>
                  <a:lnTo>
                    <a:pt x="2258" y="7677"/>
                  </a:lnTo>
                  <a:lnTo>
                    <a:pt x="2258" y="11063"/>
                  </a:lnTo>
                  <a:cubicBezTo>
                    <a:pt x="2258" y="11686"/>
                    <a:pt x="2764" y="12192"/>
                    <a:pt x="3387" y="12192"/>
                  </a:cubicBezTo>
                  <a:cubicBezTo>
                    <a:pt x="4009" y="12192"/>
                    <a:pt x="4516" y="11686"/>
                    <a:pt x="4516" y="11063"/>
                  </a:cubicBezTo>
                  <a:lnTo>
                    <a:pt x="4516" y="7677"/>
                  </a:lnTo>
                  <a:lnTo>
                    <a:pt x="4967" y="7677"/>
                  </a:lnTo>
                  <a:lnTo>
                    <a:pt x="4967" y="7225"/>
                  </a:lnTo>
                  <a:lnTo>
                    <a:pt x="4516" y="7225"/>
                  </a:lnTo>
                  <a:lnTo>
                    <a:pt x="4516" y="6576"/>
                  </a:lnTo>
                  <a:cubicBezTo>
                    <a:pt x="5829" y="6109"/>
                    <a:pt x="6773" y="4858"/>
                    <a:pt x="6773" y="3387"/>
                  </a:cubicBezTo>
                  <a:close/>
                  <a:moveTo>
                    <a:pt x="4064" y="11063"/>
                  </a:moveTo>
                  <a:cubicBezTo>
                    <a:pt x="4064" y="11437"/>
                    <a:pt x="3760" y="11741"/>
                    <a:pt x="3387" y="11741"/>
                  </a:cubicBezTo>
                  <a:cubicBezTo>
                    <a:pt x="3013" y="11741"/>
                    <a:pt x="2709" y="11437"/>
                    <a:pt x="2709" y="11063"/>
                  </a:cubicBezTo>
                  <a:lnTo>
                    <a:pt x="2709" y="7677"/>
                  </a:lnTo>
                  <a:lnTo>
                    <a:pt x="4064" y="7677"/>
                  </a:lnTo>
                  <a:lnTo>
                    <a:pt x="4064" y="11063"/>
                  </a:lnTo>
                  <a:close/>
                  <a:moveTo>
                    <a:pt x="4064" y="7225"/>
                  </a:moveTo>
                  <a:lnTo>
                    <a:pt x="2709" y="7225"/>
                  </a:lnTo>
                  <a:lnTo>
                    <a:pt x="2709" y="6705"/>
                  </a:lnTo>
                  <a:cubicBezTo>
                    <a:pt x="2928" y="6750"/>
                    <a:pt x="3155" y="6773"/>
                    <a:pt x="3387" y="6773"/>
                  </a:cubicBezTo>
                  <a:cubicBezTo>
                    <a:pt x="3618" y="6773"/>
                    <a:pt x="3845" y="6750"/>
                    <a:pt x="4064" y="6705"/>
                  </a:cubicBezTo>
                  <a:lnTo>
                    <a:pt x="4064" y="7225"/>
                  </a:lnTo>
                  <a:close/>
                  <a:moveTo>
                    <a:pt x="3387" y="6322"/>
                  </a:moveTo>
                  <a:cubicBezTo>
                    <a:pt x="1768" y="6322"/>
                    <a:pt x="452" y="5005"/>
                    <a:pt x="452" y="3387"/>
                  </a:cubicBezTo>
                  <a:cubicBezTo>
                    <a:pt x="452" y="1768"/>
                    <a:pt x="1768" y="452"/>
                    <a:pt x="3387" y="452"/>
                  </a:cubicBezTo>
                  <a:cubicBezTo>
                    <a:pt x="5005" y="452"/>
                    <a:pt x="6322" y="1768"/>
                    <a:pt x="6322" y="3387"/>
                  </a:cubicBezTo>
                  <a:cubicBezTo>
                    <a:pt x="6322" y="5005"/>
                    <a:pt x="5005" y="6322"/>
                    <a:pt x="3387" y="63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3"/>
            <p:cNvSpPr>
              <a:spLocks noEditPoints="1"/>
            </p:cNvSpPr>
            <p:nvPr/>
          </p:nvSpPr>
          <p:spPr bwMode="auto">
            <a:xfrm>
              <a:off x="-5495925" y="3024188"/>
              <a:ext cx="1360488" cy="1360488"/>
            </a:xfrm>
            <a:custGeom>
              <a:avLst/>
              <a:gdLst>
                <a:gd name="T0" fmla="*/ 8128 w 8128"/>
                <a:gd name="T1" fmla="*/ 3211 h 8128"/>
                <a:gd name="T2" fmla="*/ 7091 w 8128"/>
                <a:gd name="T3" fmla="*/ 2546 h 8128"/>
                <a:gd name="T4" fmla="*/ 6334 w 8128"/>
                <a:gd name="T5" fmla="*/ 587 h 8128"/>
                <a:gd name="T6" fmla="*/ 5131 w 8128"/>
                <a:gd name="T7" fmla="*/ 852 h 8128"/>
                <a:gd name="T8" fmla="*/ 3211 w 8128"/>
                <a:gd name="T9" fmla="*/ 0 h 8128"/>
                <a:gd name="T10" fmla="*/ 2546 w 8128"/>
                <a:gd name="T11" fmla="*/ 1037 h 8128"/>
                <a:gd name="T12" fmla="*/ 587 w 8128"/>
                <a:gd name="T13" fmla="*/ 1794 h 8128"/>
                <a:gd name="T14" fmla="*/ 851 w 8128"/>
                <a:gd name="T15" fmla="*/ 2997 h 8128"/>
                <a:gd name="T16" fmla="*/ 0 w 8128"/>
                <a:gd name="T17" fmla="*/ 4918 h 8128"/>
                <a:gd name="T18" fmla="*/ 1037 w 8128"/>
                <a:gd name="T19" fmla="*/ 5582 h 8128"/>
                <a:gd name="T20" fmla="*/ 1794 w 8128"/>
                <a:gd name="T21" fmla="*/ 7542 h 8128"/>
                <a:gd name="T22" fmla="*/ 2997 w 8128"/>
                <a:gd name="T23" fmla="*/ 7277 h 8128"/>
                <a:gd name="T24" fmla="*/ 4918 w 8128"/>
                <a:gd name="T25" fmla="*/ 8128 h 8128"/>
                <a:gd name="T26" fmla="*/ 5582 w 8128"/>
                <a:gd name="T27" fmla="*/ 7092 h 8128"/>
                <a:gd name="T28" fmla="*/ 7542 w 8128"/>
                <a:gd name="T29" fmla="*/ 6335 h 8128"/>
                <a:gd name="T30" fmla="*/ 7277 w 8128"/>
                <a:gd name="T31" fmla="*/ 5132 h 8128"/>
                <a:gd name="T32" fmla="*/ 6973 w 8128"/>
                <a:gd name="T33" fmla="*/ 6265 h 8128"/>
                <a:gd name="T34" fmla="*/ 5594 w 8128"/>
                <a:gd name="T35" fmla="*/ 6573 h 8128"/>
                <a:gd name="T36" fmla="*/ 4881 w 8128"/>
                <a:gd name="T37" fmla="*/ 6882 h 8128"/>
                <a:gd name="T38" fmla="*/ 4565 w 8128"/>
                <a:gd name="T39" fmla="*/ 7677 h 8128"/>
                <a:gd name="T40" fmla="*/ 3372 w 8128"/>
                <a:gd name="T41" fmla="*/ 6918 h 8128"/>
                <a:gd name="T42" fmla="*/ 2648 w 8128"/>
                <a:gd name="T43" fmla="*/ 6635 h 8128"/>
                <a:gd name="T44" fmla="*/ 1864 w 8128"/>
                <a:gd name="T45" fmla="*/ 6973 h 8128"/>
                <a:gd name="T46" fmla="*/ 1556 w 8128"/>
                <a:gd name="T47" fmla="*/ 5594 h 8128"/>
                <a:gd name="T48" fmla="*/ 1246 w 8128"/>
                <a:gd name="T49" fmla="*/ 4881 h 8128"/>
                <a:gd name="T50" fmla="*/ 452 w 8128"/>
                <a:gd name="T51" fmla="*/ 4566 h 8128"/>
                <a:gd name="T52" fmla="*/ 1210 w 8128"/>
                <a:gd name="T53" fmla="*/ 3372 h 8128"/>
                <a:gd name="T54" fmla="*/ 1494 w 8128"/>
                <a:gd name="T55" fmla="*/ 2648 h 8128"/>
                <a:gd name="T56" fmla="*/ 1155 w 8128"/>
                <a:gd name="T57" fmla="*/ 1864 h 8128"/>
                <a:gd name="T58" fmla="*/ 2534 w 8128"/>
                <a:gd name="T59" fmla="*/ 1556 h 8128"/>
                <a:gd name="T60" fmla="*/ 3247 w 8128"/>
                <a:gd name="T61" fmla="*/ 1247 h 8128"/>
                <a:gd name="T62" fmla="*/ 3563 w 8128"/>
                <a:gd name="T63" fmla="*/ 452 h 8128"/>
                <a:gd name="T64" fmla="*/ 4756 w 8128"/>
                <a:gd name="T65" fmla="*/ 1211 h 8128"/>
                <a:gd name="T66" fmla="*/ 5480 w 8128"/>
                <a:gd name="T67" fmla="*/ 1494 h 8128"/>
                <a:gd name="T68" fmla="*/ 6264 w 8128"/>
                <a:gd name="T69" fmla="*/ 1155 h 8128"/>
                <a:gd name="T70" fmla="*/ 6572 w 8128"/>
                <a:gd name="T71" fmla="*/ 2535 h 8128"/>
                <a:gd name="T72" fmla="*/ 6882 w 8128"/>
                <a:gd name="T73" fmla="*/ 3248 h 8128"/>
                <a:gd name="T74" fmla="*/ 7677 w 8128"/>
                <a:gd name="T75" fmla="*/ 3563 h 8128"/>
                <a:gd name="T76" fmla="*/ 6918 w 8128"/>
                <a:gd name="T77" fmla="*/ 4756 h 8128"/>
                <a:gd name="T78" fmla="*/ 6635 w 8128"/>
                <a:gd name="T79" fmla="*/ 5480 h 8128"/>
                <a:gd name="T80" fmla="*/ 6973 w 8128"/>
                <a:gd name="T81" fmla="*/ 6265 h 8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8" h="8128">
                  <a:moveTo>
                    <a:pt x="8128" y="4918"/>
                  </a:moveTo>
                  <a:lnTo>
                    <a:pt x="8128" y="3211"/>
                  </a:lnTo>
                  <a:lnTo>
                    <a:pt x="7277" y="2997"/>
                  </a:lnTo>
                  <a:cubicBezTo>
                    <a:pt x="7225" y="2841"/>
                    <a:pt x="7163" y="2690"/>
                    <a:pt x="7091" y="2546"/>
                  </a:cubicBezTo>
                  <a:lnTo>
                    <a:pt x="7541" y="1794"/>
                  </a:lnTo>
                  <a:lnTo>
                    <a:pt x="6334" y="587"/>
                  </a:lnTo>
                  <a:lnTo>
                    <a:pt x="5582" y="1037"/>
                  </a:lnTo>
                  <a:cubicBezTo>
                    <a:pt x="5438" y="965"/>
                    <a:pt x="5287" y="903"/>
                    <a:pt x="5131" y="852"/>
                  </a:cubicBezTo>
                  <a:lnTo>
                    <a:pt x="4918" y="0"/>
                  </a:lnTo>
                  <a:lnTo>
                    <a:pt x="3211" y="0"/>
                  </a:lnTo>
                  <a:lnTo>
                    <a:pt x="2997" y="852"/>
                  </a:lnTo>
                  <a:cubicBezTo>
                    <a:pt x="2841" y="903"/>
                    <a:pt x="2690" y="965"/>
                    <a:pt x="2546" y="1037"/>
                  </a:cubicBezTo>
                  <a:lnTo>
                    <a:pt x="1794" y="587"/>
                  </a:lnTo>
                  <a:lnTo>
                    <a:pt x="587" y="1794"/>
                  </a:lnTo>
                  <a:lnTo>
                    <a:pt x="1037" y="2546"/>
                  </a:lnTo>
                  <a:cubicBezTo>
                    <a:pt x="965" y="2690"/>
                    <a:pt x="903" y="2841"/>
                    <a:pt x="851" y="2997"/>
                  </a:cubicBezTo>
                  <a:lnTo>
                    <a:pt x="0" y="3211"/>
                  </a:lnTo>
                  <a:lnTo>
                    <a:pt x="0" y="4918"/>
                  </a:lnTo>
                  <a:lnTo>
                    <a:pt x="851" y="5132"/>
                  </a:lnTo>
                  <a:cubicBezTo>
                    <a:pt x="903" y="5288"/>
                    <a:pt x="965" y="5438"/>
                    <a:pt x="1037" y="5582"/>
                  </a:cubicBezTo>
                  <a:lnTo>
                    <a:pt x="587" y="6335"/>
                  </a:lnTo>
                  <a:lnTo>
                    <a:pt x="1794" y="7542"/>
                  </a:lnTo>
                  <a:lnTo>
                    <a:pt x="2546" y="7092"/>
                  </a:lnTo>
                  <a:cubicBezTo>
                    <a:pt x="2690" y="7163"/>
                    <a:pt x="2841" y="7225"/>
                    <a:pt x="2997" y="7277"/>
                  </a:cubicBezTo>
                  <a:lnTo>
                    <a:pt x="3211" y="8128"/>
                  </a:lnTo>
                  <a:lnTo>
                    <a:pt x="4918" y="8128"/>
                  </a:lnTo>
                  <a:lnTo>
                    <a:pt x="5132" y="7277"/>
                  </a:lnTo>
                  <a:cubicBezTo>
                    <a:pt x="5287" y="7225"/>
                    <a:pt x="5438" y="7163"/>
                    <a:pt x="5582" y="7092"/>
                  </a:cubicBezTo>
                  <a:lnTo>
                    <a:pt x="6334" y="7542"/>
                  </a:lnTo>
                  <a:lnTo>
                    <a:pt x="7542" y="6335"/>
                  </a:lnTo>
                  <a:lnTo>
                    <a:pt x="7091" y="5582"/>
                  </a:lnTo>
                  <a:cubicBezTo>
                    <a:pt x="7163" y="5438"/>
                    <a:pt x="7225" y="5288"/>
                    <a:pt x="7277" y="5132"/>
                  </a:cubicBezTo>
                  <a:lnTo>
                    <a:pt x="8128" y="4918"/>
                  </a:lnTo>
                  <a:close/>
                  <a:moveTo>
                    <a:pt x="6973" y="6265"/>
                  </a:moveTo>
                  <a:lnTo>
                    <a:pt x="6264" y="6973"/>
                  </a:lnTo>
                  <a:lnTo>
                    <a:pt x="5594" y="6573"/>
                  </a:lnTo>
                  <a:lnTo>
                    <a:pt x="5480" y="6635"/>
                  </a:lnTo>
                  <a:cubicBezTo>
                    <a:pt x="5294" y="6738"/>
                    <a:pt x="5092" y="6821"/>
                    <a:pt x="4881" y="6882"/>
                  </a:cubicBezTo>
                  <a:lnTo>
                    <a:pt x="4756" y="6918"/>
                  </a:lnTo>
                  <a:lnTo>
                    <a:pt x="4565" y="7677"/>
                  </a:lnTo>
                  <a:lnTo>
                    <a:pt x="3563" y="7677"/>
                  </a:lnTo>
                  <a:lnTo>
                    <a:pt x="3372" y="6918"/>
                  </a:lnTo>
                  <a:lnTo>
                    <a:pt x="3247" y="6882"/>
                  </a:lnTo>
                  <a:cubicBezTo>
                    <a:pt x="3036" y="6821"/>
                    <a:pt x="2834" y="6738"/>
                    <a:pt x="2648" y="6635"/>
                  </a:cubicBezTo>
                  <a:lnTo>
                    <a:pt x="2534" y="6572"/>
                  </a:lnTo>
                  <a:lnTo>
                    <a:pt x="1864" y="6973"/>
                  </a:lnTo>
                  <a:lnTo>
                    <a:pt x="1155" y="6264"/>
                  </a:lnTo>
                  <a:lnTo>
                    <a:pt x="1556" y="5594"/>
                  </a:lnTo>
                  <a:lnTo>
                    <a:pt x="1493" y="5480"/>
                  </a:lnTo>
                  <a:cubicBezTo>
                    <a:pt x="1391" y="5294"/>
                    <a:pt x="1308" y="5092"/>
                    <a:pt x="1246" y="4881"/>
                  </a:cubicBezTo>
                  <a:lnTo>
                    <a:pt x="1210" y="4756"/>
                  </a:lnTo>
                  <a:lnTo>
                    <a:pt x="452" y="4566"/>
                  </a:lnTo>
                  <a:lnTo>
                    <a:pt x="452" y="3563"/>
                  </a:lnTo>
                  <a:lnTo>
                    <a:pt x="1210" y="3372"/>
                  </a:lnTo>
                  <a:lnTo>
                    <a:pt x="1247" y="3247"/>
                  </a:lnTo>
                  <a:cubicBezTo>
                    <a:pt x="1308" y="3036"/>
                    <a:pt x="1391" y="2834"/>
                    <a:pt x="1494" y="2648"/>
                  </a:cubicBezTo>
                  <a:lnTo>
                    <a:pt x="1556" y="2534"/>
                  </a:lnTo>
                  <a:lnTo>
                    <a:pt x="1155" y="1864"/>
                  </a:lnTo>
                  <a:lnTo>
                    <a:pt x="1864" y="1155"/>
                  </a:lnTo>
                  <a:lnTo>
                    <a:pt x="2534" y="1556"/>
                  </a:lnTo>
                  <a:lnTo>
                    <a:pt x="2648" y="1494"/>
                  </a:lnTo>
                  <a:cubicBezTo>
                    <a:pt x="2834" y="1391"/>
                    <a:pt x="3036" y="1308"/>
                    <a:pt x="3247" y="1247"/>
                  </a:cubicBezTo>
                  <a:lnTo>
                    <a:pt x="3372" y="1210"/>
                  </a:lnTo>
                  <a:lnTo>
                    <a:pt x="3563" y="452"/>
                  </a:lnTo>
                  <a:lnTo>
                    <a:pt x="4565" y="452"/>
                  </a:lnTo>
                  <a:lnTo>
                    <a:pt x="4756" y="1211"/>
                  </a:lnTo>
                  <a:lnTo>
                    <a:pt x="4881" y="1247"/>
                  </a:lnTo>
                  <a:cubicBezTo>
                    <a:pt x="5092" y="1308"/>
                    <a:pt x="5294" y="1391"/>
                    <a:pt x="5480" y="1494"/>
                  </a:cubicBezTo>
                  <a:lnTo>
                    <a:pt x="5594" y="1556"/>
                  </a:lnTo>
                  <a:lnTo>
                    <a:pt x="6264" y="1155"/>
                  </a:lnTo>
                  <a:lnTo>
                    <a:pt x="6973" y="1864"/>
                  </a:lnTo>
                  <a:lnTo>
                    <a:pt x="6572" y="2535"/>
                  </a:lnTo>
                  <a:lnTo>
                    <a:pt x="6635" y="2648"/>
                  </a:lnTo>
                  <a:cubicBezTo>
                    <a:pt x="6737" y="2834"/>
                    <a:pt x="6820" y="3036"/>
                    <a:pt x="6882" y="3248"/>
                  </a:cubicBezTo>
                  <a:lnTo>
                    <a:pt x="6918" y="3373"/>
                  </a:lnTo>
                  <a:lnTo>
                    <a:pt x="7677" y="3563"/>
                  </a:lnTo>
                  <a:lnTo>
                    <a:pt x="7677" y="4566"/>
                  </a:lnTo>
                  <a:lnTo>
                    <a:pt x="6918" y="4756"/>
                  </a:lnTo>
                  <a:lnTo>
                    <a:pt x="6882" y="4881"/>
                  </a:lnTo>
                  <a:cubicBezTo>
                    <a:pt x="6820" y="5093"/>
                    <a:pt x="6737" y="5294"/>
                    <a:pt x="6635" y="5480"/>
                  </a:cubicBezTo>
                  <a:lnTo>
                    <a:pt x="6572" y="5594"/>
                  </a:lnTo>
                  <a:lnTo>
                    <a:pt x="6973" y="6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4"/>
            <p:cNvSpPr>
              <a:spLocks noEditPoints="1"/>
            </p:cNvSpPr>
            <p:nvPr/>
          </p:nvSpPr>
          <p:spPr bwMode="auto">
            <a:xfrm>
              <a:off x="-5230813" y="3289300"/>
              <a:ext cx="830263" cy="830263"/>
            </a:xfrm>
            <a:custGeom>
              <a:avLst/>
              <a:gdLst>
                <a:gd name="T0" fmla="*/ 2483 w 4967"/>
                <a:gd name="T1" fmla="*/ 0 h 4967"/>
                <a:gd name="T2" fmla="*/ 0 w 4967"/>
                <a:gd name="T3" fmla="*/ 2483 h 4967"/>
                <a:gd name="T4" fmla="*/ 2483 w 4967"/>
                <a:gd name="T5" fmla="*/ 4967 h 4967"/>
                <a:gd name="T6" fmla="*/ 4967 w 4967"/>
                <a:gd name="T7" fmla="*/ 2483 h 4967"/>
                <a:gd name="T8" fmla="*/ 2483 w 4967"/>
                <a:gd name="T9" fmla="*/ 0 h 4967"/>
                <a:gd name="T10" fmla="*/ 2483 w 4967"/>
                <a:gd name="T11" fmla="*/ 4515 h 4967"/>
                <a:gd name="T12" fmla="*/ 451 w 4967"/>
                <a:gd name="T13" fmla="*/ 2483 h 4967"/>
                <a:gd name="T14" fmla="*/ 2483 w 4967"/>
                <a:gd name="T15" fmla="*/ 451 h 4967"/>
                <a:gd name="T16" fmla="*/ 4515 w 4967"/>
                <a:gd name="T17" fmla="*/ 2483 h 4967"/>
                <a:gd name="T18" fmla="*/ 2483 w 4967"/>
                <a:gd name="T19" fmla="*/ 4515 h 4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67" h="4967">
                  <a:moveTo>
                    <a:pt x="2483" y="0"/>
                  </a:moveTo>
                  <a:cubicBezTo>
                    <a:pt x="1114" y="0"/>
                    <a:pt x="0" y="1114"/>
                    <a:pt x="0" y="2483"/>
                  </a:cubicBezTo>
                  <a:cubicBezTo>
                    <a:pt x="0" y="3853"/>
                    <a:pt x="1114" y="4967"/>
                    <a:pt x="2483" y="4967"/>
                  </a:cubicBezTo>
                  <a:cubicBezTo>
                    <a:pt x="3852" y="4967"/>
                    <a:pt x="4967" y="3853"/>
                    <a:pt x="4967" y="2483"/>
                  </a:cubicBezTo>
                  <a:cubicBezTo>
                    <a:pt x="4967" y="1114"/>
                    <a:pt x="3852" y="0"/>
                    <a:pt x="2483" y="0"/>
                  </a:cubicBezTo>
                  <a:close/>
                  <a:moveTo>
                    <a:pt x="2483" y="4515"/>
                  </a:moveTo>
                  <a:cubicBezTo>
                    <a:pt x="1363" y="4515"/>
                    <a:pt x="451" y="3604"/>
                    <a:pt x="451" y="2483"/>
                  </a:cubicBezTo>
                  <a:cubicBezTo>
                    <a:pt x="451" y="1363"/>
                    <a:pt x="1363" y="451"/>
                    <a:pt x="2483" y="451"/>
                  </a:cubicBezTo>
                  <a:cubicBezTo>
                    <a:pt x="3604" y="451"/>
                    <a:pt x="4515" y="1363"/>
                    <a:pt x="4515" y="2483"/>
                  </a:cubicBezTo>
                  <a:cubicBezTo>
                    <a:pt x="4515" y="3604"/>
                    <a:pt x="3604" y="4515"/>
                    <a:pt x="2483" y="45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5"/>
            <p:cNvSpPr>
              <a:spLocks/>
            </p:cNvSpPr>
            <p:nvPr/>
          </p:nvSpPr>
          <p:spPr bwMode="auto">
            <a:xfrm>
              <a:off x="-5005388" y="3516313"/>
              <a:ext cx="379413" cy="377825"/>
            </a:xfrm>
            <a:custGeom>
              <a:avLst/>
              <a:gdLst>
                <a:gd name="T0" fmla="*/ 1129 w 2258"/>
                <a:gd name="T1" fmla="*/ 0 h 2257"/>
                <a:gd name="T2" fmla="*/ 0 w 2258"/>
                <a:gd name="T3" fmla="*/ 1128 h 2257"/>
                <a:gd name="T4" fmla="*/ 452 w 2258"/>
                <a:gd name="T5" fmla="*/ 1128 h 2257"/>
                <a:gd name="T6" fmla="*/ 1129 w 2258"/>
                <a:gd name="T7" fmla="*/ 451 h 2257"/>
                <a:gd name="T8" fmla="*/ 1806 w 2258"/>
                <a:gd name="T9" fmla="*/ 1128 h 2257"/>
                <a:gd name="T10" fmla="*/ 1129 w 2258"/>
                <a:gd name="T11" fmla="*/ 1806 h 2257"/>
                <a:gd name="T12" fmla="*/ 1129 w 2258"/>
                <a:gd name="T13" fmla="*/ 2257 h 2257"/>
                <a:gd name="T14" fmla="*/ 2258 w 2258"/>
                <a:gd name="T15" fmla="*/ 1128 h 2257"/>
                <a:gd name="T16" fmla="*/ 1129 w 2258"/>
                <a:gd name="T17" fmla="*/ 0 h 2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8" h="2257">
                  <a:moveTo>
                    <a:pt x="1129" y="0"/>
                  </a:moveTo>
                  <a:cubicBezTo>
                    <a:pt x="507" y="0"/>
                    <a:pt x="0" y="506"/>
                    <a:pt x="0" y="1128"/>
                  </a:cubicBezTo>
                  <a:lnTo>
                    <a:pt x="452" y="1128"/>
                  </a:lnTo>
                  <a:cubicBezTo>
                    <a:pt x="452" y="755"/>
                    <a:pt x="756" y="451"/>
                    <a:pt x="1129" y="451"/>
                  </a:cubicBezTo>
                  <a:cubicBezTo>
                    <a:pt x="1503" y="451"/>
                    <a:pt x="1806" y="755"/>
                    <a:pt x="1806" y="1128"/>
                  </a:cubicBezTo>
                  <a:cubicBezTo>
                    <a:pt x="1806" y="1502"/>
                    <a:pt x="1503" y="1806"/>
                    <a:pt x="1129" y="1806"/>
                  </a:cubicBezTo>
                  <a:lnTo>
                    <a:pt x="1129" y="2257"/>
                  </a:lnTo>
                  <a:cubicBezTo>
                    <a:pt x="1752" y="2257"/>
                    <a:pt x="2258" y="1751"/>
                    <a:pt x="2258" y="1128"/>
                  </a:cubicBezTo>
                  <a:cubicBezTo>
                    <a:pt x="2258" y="506"/>
                    <a:pt x="1752" y="0"/>
                    <a:pt x="11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6"/>
            <p:cNvSpPr>
              <a:spLocks noEditPoints="1"/>
            </p:cNvSpPr>
            <p:nvPr/>
          </p:nvSpPr>
          <p:spPr bwMode="auto">
            <a:xfrm>
              <a:off x="-5345113" y="2192338"/>
              <a:ext cx="227013" cy="755650"/>
            </a:xfrm>
            <a:custGeom>
              <a:avLst/>
              <a:gdLst>
                <a:gd name="T0" fmla="*/ 903 w 1355"/>
                <a:gd name="T1" fmla="*/ 903 h 4516"/>
                <a:gd name="T2" fmla="*/ 903 w 1355"/>
                <a:gd name="T3" fmla="*/ 0 h 4516"/>
                <a:gd name="T4" fmla="*/ 452 w 1355"/>
                <a:gd name="T5" fmla="*/ 0 h 4516"/>
                <a:gd name="T6" fmla="*/ 452 w 1355"/>
                <a:gd name="T7" fmla="*/ 903 h 4516"/>
                <a:gd name="T8" fmla="*/ 0 w 1355"/>
                <a:gd name="T9" fmla="*/ 903 h 4516"/>
                <a:gd name="T10" fmla="*/ 0 w 1355"/>
                <a:gd name="T11" fmla="*/ 3613 h 4516"/>
                <a:gd name="T12" fmla="*/ 452 w 1355"/>
                <a:gd name="T13" fmla="*/ 3613 h 4516"/>
                <a:gd name="T14" fmla="*/ 452 w 1355"/>
                <a:gd name="T15" fmla="*/ 4516 h 4516"/>
                <a:gd name="T16" fmla="*/ 903 w 1355"/>
                <a:gd name="T17" fmla="*/ 4516 h 4516"/>
                <a:gd name="T18" fmla="*/ 903 w 1355"/>
                <a:gd name="T19" fmla="*/ 3613 h 4516"/>
                <a:gd name="T20" fmla="*/ 1355 w 1355"/>
                <a:gd name="T21" fmla="*/ 3613 h 4516"/>
                <a:gd name="T22" fmla="*/ 1355 w 1355"/>
                <a:gd name="T23" fmla="*/ 903 h 4516"/>
                <a:gd name="T24" fmla="*/ 903 w 1355"/>
                <a:gd name="T25" fmla="*/ 903 h 4516"/>
                <a:gd name="T26" fmla="*/ 903 w 1355"/>
                <a:gd name="T27" fmla="*/ 3161 h 4516"/>
                <a:gd name="T28" fmla="*/ 452 w 1355"/>
                <a:gd name="T29" fmla="*/ 3161 h 4516"/>
                <a:gd name="T30" fmla="*/ 452 w 1355"/>
                <a:gd name="T31" fmla="*/ 1355 h 4516"/>
                <a:gd name="T32" fmla="*/ 903 w 1355"/>
                <a:gd name="T33" fmla="*/ 1355 h 4516"/>
                <a:gd name="T34" fmla="*/ 903 w 1355"/>
                <a:gd name="T35" fmla="*/ 3161 h 4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5" h="4516">
                  <a:moveTo>
                    <a:pt x="903" y="903"/>
                  </a:moveTo>
                  <a:lnTo>
                    <a:pt x="903" y="0"/>
                  </a:lnTo>
                  <a:lnTo>
                    <a:pt x="452" y="0"/>
                  </a:lnTo>
                  <a:lnTo>
                    <a:pt x="452" y="903"/>
                  </a:lnTo>
                  <a:lnTo>
                    <a:pt x="0" y="903"/>
                  </a:lnTo>
                  <a:lnTo>
                    <a:pt x="0" y="3613"/>
                  </a:lnTo>
                  <a:lnTo>
                    <a:pt x="452" y="3613"/>
                  </a:lnTo>
                  <a:lnTo>
                    <a:pt x="452" y="4516"/>
                  </a:lnTo>
                  <a:lnTo>
                    <a:pt x="903" y="4516"/>
                  </a:lnTo>
                  <a:lnTo>
                    <a:pt x="903" y="3613"/>
                  </a:lnTo>
                  <a:lnTo>
                    <a:pt x="1355" y="3613"/>
                  </a:lnTo>
                  <a:lnTo>
                    <a:pt x="1355" y="903"/>
                  </a:lnTo>
                  <a:lnTo>
                    <a:pt x="903" y="903"/>
                  </a:lnTo>
                  <a:close/>
                  <a:moveTo>
                    <a:pt x="903" y="3161"/>
                  </a:moveTo>
                  <a:lnTo>
                    <a:pt x="452" y="3161"/>
                  </a:lnTo>
                  <a:lnTo>
                    <a:pt x="452" y="1355"/>
                  </a:lnTo>
                  <a:lnTo>
                    <a:pt x="903" y="1355"/>
                  </a:lnTo>
                  <a:lnTo>
                    <a:pt x="903" y="3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7"/>
            <p:cNvSpPr>
              <a:spLocks noEditPoints="1"/>
            </p:cNvSpPr>
            <p:nvPr/>
          </p:nvSpPr>
          <p:spPr bwMode="auto">
            <a:xfrm>
              <a:off x="-4967288" y="2041525"/>
              <a:ext cx="227013" cy="755650"/>
            </a:xfrm>
            <a:custGeom>
              <a:avLst/>
              <a:gdLst>
                <a:gd name="T0" fmla="*/ 903 w 1355"/>
                <a:gd name="T1" fmla="*/ 903 h 4516"/>
                <a:gd name="T2" fmla="*/ 903 w 1355"/>
                <a:gd name="T3" fmla="*/ 0 h 4516"/>
                <a:gd name="T4" fmla="*/ 451 w 1355"/>
                <a:gd name="T5" fmla="*/ 0 h 4516"/>
                <a:gd name="T6" fmla="*/ 451 w 1355"/>
                <a:gd name="T7" fmla="*/ 903 h 4516"/>
                <a:gd name="T8" fmla="*/ 0 w 1355"/>
                <a:gd name="T9" fmla="*/ 903 h 4516"/>
                <a:gd name="T10" fmla="*/ 0 w 1355"/>
                <a:gd name="T11" fmla="*/ 2258 h 4516"/>
                <a:gd name="T12" fmla="*/ 451 w 1355"/>
                <a:gd name="T13" fmla="*/ 2258 h 4516"/>
                <a:gd name="T14" fmla="*/ 451 w 1355"/>
                <a:gd name="T15" fmla="*/ 4516 h 4516"/>
                <a:gd name="T16" fmla="*/ 903 w 1355"/>
                <a:gd name="T17" fmla="*/ 4516 h 4516"/>
                <a:gd name="T18" fmla="*/ 903 w 1355"/>
                <a:gd name="T19" fmla="*/ 2258 h 4516"/>
                <a:gd name="T20" fmla="*/ 1355 w 1355"/>
                <a:gd name="T21" fmla="*/ 2258 h 4516"/>
                <a:gd name="T22" fmla="*/ 1355 w 1355"/>
                <a:gd name="T23" fmla="*/ 903 h 4516"/>
                <a:gd name="T24" fmla="*/ 903 w 1355"/>
                <a:gd name="T25" fmla="*/ 903 h 4516"/>
                <a:gd name="T26" fmla="*/ 903 w 1355"/>
                <a:gd name="T27" fmla="*/ 1806 h 4516"/>
                <a:gd name="T28" fmla="*/ 451 w 1355"/>
                <a:gd name="T29" fmla="*/ 1806 h 4516"/>
                <a:gd name="T30" fmla="*/ 451 w 1355"/>
                <a:gd name="T31" fmla="*/ 1355 h 4516"/>
                <a:gd name="T32" fmla="*/ 903 w 1355"/>
                <a:gd name="T33" fmla="*/ 1355 h 4516"/>
                <a:gd name="T34" fmla="*/ 903 w 1355"/>
                <a:gd name="T35" fmla="*/ 1806 h 4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5" h="4516">
                  <a:moveTo>
                    <a:pt x="903" y="903"/>
                  </a:moveTo>
                  <a:lnTo>
                    <a:pt x="903" y="0"/>
                  </a:lnTo>
                  <a:lnTo>
                    <a:pt x="451" y="0"/>
                  </a:lnTo>
                  <a:lnTo>
                    <a:pt x="451" y="903"/>
                  </a:lnTo>
                  <a:lnTo>
                    <a:pt x="0" y="903"/>
                  </a:lnTo>
                  <a:lnTo>
                    <a:pt x="0" y="2258"/>
                  </a:lnTo>
                  <a:lnTo>
                    <a:pt x="451" y="2258"/>
                  </a:lnTo>
                  <a:lnTo>
                    <a:pt x="451" y="4516"/>
                  </a:lnTo>
                  <a:lnTo>
                    <a:pt x="903" y="4516"/>
                  </a:lnTo>
                  <a:lnTo>
                    <a:pt x="903" y="2258"/>
                  </a:lnTo>
                  <a:lnTo>
                    <a:pt x="1355" y="2258"/>
                  </a:lnTo>
                  <a:lnTo>
                    <a:pt x="1355" y="903"/>
                  </a:lnTo>
                  <a:lnTo>
                    <a:pt x="903" y="903"/>
                  </a:lnTo>
                  <a:close/>
                  <a:moveTo>
                    <a:pt x="903" y="1806"/>
                  </a:moveTo>
                  <a:lnTo>
                    <a:pt x="451" y="1806"/>
                  </a:lnTo>
                  <a:lnTo>
                    <a:pt x="451" y="1355"/>
                  </a:lnTo>
                  <a:lnTo>
                    <a:pt x="903" y="1355"/>
                  </a:lnTo>
                  <a:lnTo>
                    <a:pt x="903" y="18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8"/>
            <p:cNvSpPr>
              <a:spLocks noEditPoints="1"/>
            </p:cNvSpPr>
            <p:nvPr/>
          </p:nvSpPr>
          <p:spPr bwMode="auto">
            <a:xfrm>
              <a:off x="-4589463" y="2306638"/>
              <a:ext cx="227013" cy="755650"/>
            </a:xfrm>
            <a:custGeom>
              <a:avLst/>
              <a:gdLst>
                <a:gd name="T0" fmla="*/ 903 w 1354"/>
                <a:gd name="T1" fmla="*/ 1806 h 4515"/>
                <a:gd name="T2" fmla="*/ 903 w 1354"/>
                <a:gd name="T3" fmla="*/ 0 h 4515"/>
                <a:gd name="T4" fmla="*/ 451 w 1354"/>
                <a:gd name="T5" fmla="*/ 0 h 4515"/>
                <a:gd name="T6" fmla="*/ 451 w 1354"/>
                <a:gd name="T7" fmla="*/ 1806 h 4515"/>
                <a:gd name="T8" fmla="*/ 0 w 1354"/>
                <a:gd name="T9" fmla="*/ 1806 h 4515"/>
                <a:gd name="T10" fmla="*/ 0 w 1354"/>
                <a:gd name="T11" fmla="*/ 3612 h 4515"/>
                <a:gd name="T12" fmla="*/ 451 w 1354"/>
                <a:gd name="T13" fmla="*/ 3612 h 4515"/>
                <a:gd name="T14" fmla="*/ 451 w 1354"/>
                <a:gd name="T15" fmla="*/ 4515 h 4515"/>
                <a:gd name="T16" fmla="*/ 903 w 1354"/>
                <a:gd name="T17" fmla="*/ 4515 h 4515"/>
                <a:gd name="T18" fmla="*/ 903 w 1354"/>
                <a:gd name="T19" fmla="*/ 3612 h 4515"/>
                <a:gd name="T20" fmla="*/ 1354 w 1354"/>
                <a:gd name="T21" fmla="*/ 3612 h 4515"/>
                <a:gd name="T22" fmla="*/ 1354 w 1354"/>
                <a:gd name="T23" fmla="*/ 1806 h 4515"/>
                <a:gd name="T24" fmla="*/ 903 w 1354"/>
                <a:gd name="T25" fmla="*/ 1806 h 4515"/>
                <a:gd name="T26" fmla="*/ 903 w 1354"/>
                <a:gd name="T27" fmla="*/ 3160 h 4515"/>
                <a:gd name="T28" fmla="*/ 451 w 1354"/>
                <a:gd name="T29" fmla="*/ 3160 h 4515"/>
                <a:gd name="T30" fmla="*/ 451 w 1354"/>
                <a:gd name="T31" fmla="*/ 2257 h 4515"/>
                <a:gd name="T32" fmla="*/ 903 w 1354"/>
                <a:gd name="T33" fmla="*/ 2257 h 4515"/>
                <a:gd name="T34" fmla="*/ 903 w 1354"/>
                <a:gd name="T35" fmla="*/ 3160 h 4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4" h="4515">
                  <a:moveTo>
                    <a:pt x="903" y="1806"/>
                  </a:moveTo>
                  <a:lnTo>
                    <a:pt x="903" y="0"/>
                  </a:lnTo>
                  <a:lnTo>
                    <a:pt x="451" y="0"/>
                  </a:lnTo>
                  <a:lnTo>
                    <a:pt x="451" y="1806"/>
                  </a:lnTo>
                  <a:lnTo>
                    <a:pt x="0" y="1806"/>
                  </a:lnTo>
                  <a:lnTo>
                    <a:pt x="0" y="3612"/>
                  </a:lnTo>
                  <a:lnTo>
                    <a:pt x="451" y="3612"/>
                  </a:lnTo>
                  <a:lnTo>
                    <a:pt x="451" y="4515"/>
                  </a:lnTo>
                  <a:lnTo>
                    <a:pt x="903" y="4515"/>
                  </a:lnTo>
                  <a:lnTo>
                    <a:pt x="903" y="3612"/>
                  </a:lnTo>
                  <a:lnTo>
                    <a:pt x="1354" y="3612"/>
                  </a:lnTo>
                  <a:lnTo>
                    <a:pt x="1354" y="1806"/>
                  </a:lnTo>
                  <a:lnTo>
                    <a:pt x="903" y="1806"/>
                  </a:lnTo>
                  <a:close/>
                  <a:moveTo>
                    <a:pt x="903" y="3160"/>
                  </a:moveTo>
                  <a:lnTo>
                    <a:pt x="451" y="3160"/>
                  </a:lnTo>
                  <a:lnTo>
                    <a:pt x="451" y="2257"/>
                  </a:lnTo>
                  <a:lnTo>
                    <a:pt x="903" y="2257"/>
                  </a:lnTo>
                  <a:lnTo>
                    <a:pt x="903" y="3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6" name="Freeform 22"/>
          <p:cNvSpPr>
            <a:spLocks noEditPoints="1"/>
          </p:cNvSpPr>
          <p:nvPr/>
        </p:nvSpPr>
        <p:spPr bwMode="auto">
          <a:xfrm>
            <a:off x="2971854" y="3239336"/>
            <a:ext cx="502024" cy="502023"/>
          </a:xfrm>
          <a:custGeom>
            <a:avLst/>
            <a:gdLst>
              <a:gd name="T0" fmla="*/ 13095 w 13998"/>
              <a:gd name="T1" fmla="*/ 10160 h 13998"/>
              <a:gd name="T2" fmla="*/ 9253 w 13998"/>
              <a:gd name="T3" fmla="*/ 5504 h 13998"/>
              <a:gd name="T4" fmla="*/ 9257 w 13998"/>
              <a:gd name="T5" fmla="*/ 2258 h 13998"/>
              <a:gd name="T6" fmla="*/ 6096 w 13998"/>
              <a:gd name="T7" fmla="*/ 4908 h 13998"/>
              <a:gd name="T8" fmla="*/ 3161 w 13998"/>
              <a:gd name="T9" fmla="*/ 6773 h 13998"/>
              <a:gd name="T10" fmla="*/ 2258 w 13998"/>
              <a:gd name="T11" fmla="*/ 12007 h 13998"/>
              <a:gd name="T12" fmla="*/ 6322 w 13998"/>
              <a:gd name="T13" fmla="*/ 13384 h 13998"/>
              <a:gd name="T14" fmla="*/ 5419 w 13998"/>
              <a:gd name="T15" fmla="*/ 10160 h 13998"/>
              <a:gd name="T16" fmla="*/ 8580 w 13998"/>
              <a:gd name="T17" fmla="*/ 10160 h 13998"/>
              <a:gd name="T18" fmla="*/ 7677 w 13998"/>
              <a:gd name="T19" fmla="*/ 13384 h 13998"/>
              <a:gd name="T20" fmla="*/ 11289 w 13998"/>
              <a:gd name="T21" fmla="*/ 5419 h 13998"/>
              <a:gd name="T22" fmla="*/ 11289 w 13998"/>
              <a:gd name="T23" fmla="*/ 4516 h 13998"/>
              <a:gd name="T24" fmla="*/ 11741 w 13998"/>
              <a:gd name="T25" fmla="*/ 2935 h 13998"/>
              <a:gd name="T26" fmla="*/ 10612 w 13998"/>
              <a:gd name="T27" fmla="*/ 3387 h 13998"/>
              <a:gd name="T28" fmla="*/ 12418 w 13998"/>
              <a:gd name="T29" fmla="*/ 3387 h 13998"/>
              <a:gd name="T30" fmla="*/ 2709 w 13998"/>
              <a:gd name="T31" fmla="*/ 5870 h 13998"/>
              <a:gd name="T32" fmla="*/ 2709 w 13998"/>
              <a:gd name="T33" fmla="*/ 4967 h 13998"/>
              <a:gd name="T34" fmla="*/ 2258 w 13998"/>
              <a:gd name="T35" fmla="*/ 2258 h 13998"/>
              <a:gd name="T36" fmla="*/ 2258 w 13998"/>
              <a:gd name="T37" fmla="*/ 4064 h 13998"/>
              <a:gd name="T38" fmla="*/ 2709 w 13998"/>
              <a:gd name="T39" fmla="*/ 2935 h 13998"/>
              <a:gd name="T40" fmla="*/ 6773 w 13998"/>
              <a:gd name="T41" fmla="*/ 7677 h 13998"/>
              <a:gd name="T42" fmla="*/ 6773 w 13998"/>
              <a:gd name="T43" fmla="*/ 8580 h 13998"/>
              <a:gd name="T44" fmla="*/ 6096 w 13998"/>
              <a:gd name="T45" fmla="*/ 10160 h 13998"/>
              <a:gd name="T46" fmla="*/ 7225 w 13998"/>
              <a:gd name="T47" fmla="*/ 10612 h 13998"/>
              <a:gd name="T48" fmla="*/ 12418 w 13998"/>
              <a:gd name="T49" fmla="*/ 10386 h 13998"/>
              <a:gd name="T50" fmla="*/ 8580 w 13998"/>
              <a:gd name="T51" fmla="*/ 3612 h 13998"/>
              <a:gd name="T52" fmla="*/ 5419 w 13998"/>
              <a:gd name="T53" fmla="*/ 2998 h 13998"/>
              <a:gd name="T54" fmla="*/ 5419 w 13998"/>
              <a:gd name="T55" fmla="*/ 2258 h 13998"/>
              <a:gd name="T56" fmla="*/ 8806 w 13998"/>
              <a:gd name="T57" fmla="*/ 2258 h 13998"/>
              <a:gd name="T58" fmla="*/ 7357 w 13998"/>
              <a:gd name="T59" fmla="*/ 1845 h 13998"/>
              <a:gd name="T60" fmla="*/ 5870 w 13998"/>
              <a:gd name="T61" fmla="*/ 2696 h 13998"/>
              <a:gd name="T62" fmla="*/ 8128 w 13998"/>
              <a:gd name="T63" fmla="*/ 3612 h 13998"/>
              <a:gd name="T64" fmla="*/ 6999 w 13998"/>
              <a:gd name="T65" fmla="*/ 5777 h 13998"/>
              <a:gd name="T66" fmla="*/ 1355 w 13998"/>
              <a:gd name="T67" fmla="*/ 10160 h 13998"/>
              <a:gd name="T68" fmla="*/ 5326 w 13998"/>
              <a:gd name="T69" fmla="*/ 12720 h 13998"/>
              <a:gd name="T70" fmla="*/ 996 w 13998"/>
              <a:gd name="T71" fmla="*/ 12720 h 13998"/>
              <a:gd name="T72" fmla="*/ 2709 w 13998"/>
              <a:gd name="T73" fmla="*/ 12099 h 13998"/>
              <a:gd name="T74" fmla="*/ 3161 w 13998"/>
              <a:gd name="T75" fmla="*/ 12550 h 13998"/>
              <a:gd name="T76" fmla="*/ 2032 w 13998"/>
              <a:gd name="T77" fmla="*/ 9257 h 13998"/>
              <a:gd name="T78" fmla="*/ 4741 w 13998"/>
              <a:gd name="T79" fmla="*/ 9771 h 13998"/>
              <a:gd name="T80" fmla="*/ 4741 w 13998"/>
              <a:gd name="T81" fmla="*/ 9289 h 13998"/>
              <a:gd name="T82" fmla="*/ 1355 w 13998"/>
              <a:gd name="T83" fmla="*/ 9031 h 13998"/>
              <a:gd name="T84" fmla="*/ 4834 w 13998"/>
              <a:gd name="T85" fmla="*/ 5946 h 13998"/>
              <a:gd name="T86" fmla="*/ 9709 w 13998"/>
              <a:gd name="T87" fmla="*/ 6611 h 13998"/>
              <a:gd name="T88" fmla="*/ 9257 w 13998"/>
              <a:gd name="T89" fmla="*/ 10386 h 13998"/>
              <a:gd name="T90" fmla="*/ 9031 w 13998"/>
              <a:gd name="T91" fmla="*/ 9031 h 13998"/>
              <a:gd name="T92" fmla="*/ 11741 w 13998"/>
              <a:gd name="T93" fmla="*/ 8806 h 13998"/>
              <a:gd name="T94" fmla="*/ 9934 w 13998"/>
              <a:gd name="T95" fmla="*/ 9257 h 13998"/>
              <a:gd name="T96" fmla="*/ 9709 w 13998"/>
              <a:gd name="T97" fmla="*/ 10386 h 13998"/>
              <a:gd name="T98" fmla="*/ 10386 w 13998"/>
              <a:gd name="T99" fmla="*/ 11900 h 13998"/>
              <a:gd name="T100" fmla="*/ 8128 w 13998"/>
              <a:gd name="T101" fmla="*/ 13384 h 13998"/>
              <a:gd name="T102" fmla="*/ 13002 w 13998"/>
              <a:gd name="T103" fmla="*/ 12720 h 13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998" h="13998">
                <a:moveTo>
                  <a:pt x="13091" y="12277"/>
                </a:moveTo>
                <a:lnTo>
                  <a:pt x="11741" y="12007"/>
                </a:lnTo>
                <a:lnTo>
                  <a:pt x="11741" y="11681"/>
                </a:lnTo>
                <a:cubicBezTo>
                  <a:pt x="11967" y="11523"/>
                  <a:pt x="12148" y="11307"/>
                  <a:pt x="12267" y="11056"/>
                </a:cubicBezTo>
                <a:cubicBezTo>
                  <a:pt x="12729" y="11017"/>
                  <a:pt x="13095" y="10633"/>
                  <a:pt x="13095" y="10160"/>
                </a:cubicBezTo>
                <a:lnTo>
                  <a:pt x="13095" y="9031"/>
                </a:lnTo>
                <a:cubicBezTo>
                  <a:pt x="13095" y="7786"/>
                  <a:pt x="12082" y="6773"/>
                  <a:pt x="10837" y="6773"/>
                </a:cubicBezTo>
                <a:cubicBezTo>
                  <a:pt x="10602" y="6773"/>
                  <a:pt x="10374" y="6810"/>
                  <a:pt x="10160" y="6877"/>
                </a:cubicBezTo>
                <a:lnTo>
                  <a:pt x="10160" y="6611"/>
                </a:lnTo>
                <a:cubicBezTo>
                  <a:pt x="10160" y="6075"/>
                  <a:pt x="9779" y="5609"/>
                  <a:pt x="9253" y="5504"/>
                </a:cubicBezTo>
                <a:lnTo>
                  <a:pt x="7902" y="5234"/>
                </a:lnTo>
                <a:lnTo>
                  <a:pt x="7902" y="4908"/>
                </a:lnTo>
                <a:cubicBezTo>
                  <a:pt x="8128" y="4750"/>
                  <a:pt x="8310" y="4534"/>
                  <a:pt x="8429" y="4282"/>
                </a:cubicBezTo>
                <a:cubicBezTo>
                  <a:pt x="8891" y="4244"/>
                  <a:pt x="9257" y="3859"/>
                  <a:pt x="9257" y="3387"/>
                </a:cubicBezTo>
                <a:lnTo>
                  <a:pt x="9257" y="2258"/>
                </a:lnTo>
                <a:cubicBezTo>
                  <a:pt x="9257" y="1013"/>
                  <a:pt x="8244" y="0"/>
                  <a:pt x="6999" y="0"/>
                </a:cubicBezTo>
                <a:cubicBezTo>
                  <a:pt x="5754" y="0"/>
                  <a:pt x="4741" y="1013"/>
                  <a:pt x="4741" y="2258"/>
                </a:cubicBezTo>
                <a:lnTo>
                  <a:pt x="4741" y="3387"/>
                </a:lnTo>
                <a:cubicBezTo>
                  <a:pt x="4741" y="3859"/>
                  <a:pt x="5107" y="4244"/>
                  <a:pt x="5570" y="4283"/>
                </a:cubicBezTo>
                <a:cubicBezTo>
                  <a:pt x="5688" y="4534"/>
                  <a:pt x="5870" y="4750"/>
                  <a:pt x="6096" y="4908"/>
                </a:cubicBezTo>
                <a:lnTo>
                  <a:pt x="6096" y="5234"/>
                </a:lnTo>
                <a:lnTo>
                  <a:pt x="4746" y="5504"/>
                </a:lnTo>
                <a:cubicBezTo>
                  <a:pt x="4220" y="5609"/>
                  <a:pt x="3838" y="6075"/>
                  <a:pt x="3838" y="6611"/>
                </a:cubicBezTo>
                <a:lnTo>
                  <a:pt x="3838" y="6877"/>
                </a:lnTo>
                <a:cubicBezTo>
                  <a:pt x="3624" y="6810"/>
                  <a:pt x="3397" y="6773"/>
                  <a:pt x="3161" y="6773"/>
                </a:cubicBezTo>
                <a:cubicBezTo>
                  <a:pt x="1916" y="6773"/>
                  <a:pt x="903" y="7786"/>
                  <a:pt x="903" y="9031"/>
                </a:cubicBezTo>
                <a:lnTo>
                  <a:pt x="903" y="10160"/>
                </a:lnTo>
                <a:cubicBezTo>
                  <a:pt x="903" y="10633"/>
                  <a:pt x="1269" y="11017"/>
                  <a:pt x="1732" y="11056"/>
                </a:cubicBezTo>
                <a:cubicBezTo>
                  <a:pt x="1850" y="11307"/>
                  <a:pt x="2032" y="11523"/>
                  <a:pt x="2258" y="11681"/>
                </a:cubicBezTo>
                <a:lnTo>
                  <a:pt x="2258" y="12007"/>
                </a:lnTo>
                <a:lnTo>
                  <a:pt x="908" y="12277"/>
                </a:lnTo>
                <a:cubicBezTo>
                  <a:pt x="382" y="12382"/>
                  <a:pt x="0" y="12848"/>
                  <a:pt x="0" y="13384"/>
                </a:cubicBezTo>
                <a:lnTo>
                  <a:pt x="0" y="13998"/>
                </a:lnTo>
                <a:lnTo>
                  <a:pt x="6322" y="13998"/>
                </a:lnTo>
                <a:lnTo>
                  <a:pt x="6322" y="13384"/>
                </a:lnTo>
                <a:cubicBezTo>
                  <a:pt x="6322" y="12848"/>
                  <a:pt x="5940" y="12382"/>
                  <a:pt x="5414" y="12277"/>
                </a:cubicBezTo>
                <a:lnTo>
                  <a:pt x="4064" y="12007"/>
                </a:lnTo>
                <a:lnTo>
                  <a:pt x="4064" y="11681"/>
                </a:lnTo>
                <a:cubicBezTo>
                  <a:pt x="4290" y="11523"/>
                  <a:pt x="4472" y="11307"/>
                  <a:pt x="4590" y="11056"/>
                </a:cubicBezTo>
                <a:cubicBezTo>
                  <a:pt x="5053" y="11017"/>
                  <a:pt x="5419" y="10633"/>
                  <a:pt x="5419" y="10160"/>
                </a:cubicBezTo>
                <a:lnTo>
                  <a:pt x="5419" y="9031"/>
                </a:lnTo>
                <a:cubicBezTo>
                  <a:pt x="5419" y="8292"/>
                  <a:pt x="5060" y="7637"/>
                  <a:pt x="4510" y="7225"/>
                </a:cubicBezTo>
                <a:lnTo>
                  <a:pt x="9489" y="7225"/>
                </a:lnTo>
                <a:cubicBezTo>
                  <a:pt x="8938" y="7637"/>
                  <a:pt x="8580" y="8292"/>
                  <a:pt x="8580" y="9031"/>
                </a:cubicBezTo>
                <a:lnTo>
                  <a:pt x="8580" y="10160"/>
                </a:lnTo>
                <a:cubicBezTo>
                  <a:pt x="8580" y="10633"/>
                  <a:pt x="8945" y="11017"/>
                  <a:pt x="9408" y="11056"/>
                </a:cubicBezTo>
                <a:cubicBezTo>
                  <a:pt x="9526" y="11307"/>
                  <a:pt x="9708" y="11523"/>
                  <a:pt x="9934" y="11681"/>
                </a:cubicBezTo>
                <a:lnTo>
                  <a:pt x="9934" y="12007"/>
                </a:lnTo>
                <a:lnTo>
                  <a:pt x="8584" y="12277"/>
                </a:lnTo>
                <a:cubicBezTo>
                  <a:pt x="8058" y="12382"/>
                  <a:pt x="7677" y="12848"/>
                  <a:pt x="7677" y="13384"/>
                </a:cubicBezTo>
                <a:lnTo>
                  <a:pt x="7677" y="13998"/>
                </a:lnTo>
                <a:lnTo>
                  <a:pt x="13998" y="13998"/>
                </a:lnTo>
                <a:lnTo>
                  <a:pt x="13998" y="13384"/>
                </a:lnTo>
                <a:cubicBezTo>
                  <a:pt x="13998" y="12848"/>
                  <a:pt x="13617" y="12382"/>
                  <a:pt x="13091" y="12277"/>
                </a:cubicBezTo>
                <a:close/>
                <a:moveTo>
                  <a:pt x="11289" y="5419"/>
                </a:moveTo>
                <a:lnTo>
                  <a:pt x="11741" y="5419"/>
                </a:lnTo>
                <a:lnTo>
                  <a:pt x="11741" y="5870"/>
                </a:lnTo>
                <a:lnTo>
                  <a:pt x="11289" y="5870"/>
                </a:lnTo>
                <a:lnTo>
                  <a:pt x="11289" y="5419"/>
                </a:lnTo>
                <a:close/>
                <a:moveTo>
                  <a:pt x="11289" y="4516"/>
                </a:moveTo>
                <a:lnTo>
                  <a:pt x="11741" y="4516"/>
                </a:lnTo>
                <a:lnTo>
                  <a:pt x="11741" y="4967"/>
                </a:lnTo>
                <a:lnTo>
                  <a:pt x="11289" y="4967"/>
                </a:lnTo>
                <a:lnTo>
                  <a:pt x="11289" y="4516"/>
                </a:lnTo>
                <a:close/>
                <a:moveTo>
                  <a:pt x="11741" y="2935"/>
                </a:moveTo>
                <a:lnTo>
                  <a:pt x="11741" y="2258"/>
                </a:lnTo>
                <a:lnTo>
                  <a:pt x="11289" y="2258"/>
                </a:lnTo>
                <a:lnTo>
                  <a:pt x="11289" y="2935"/>
                </a:lnTo>
                <a:lnTo>
                  <a:pt x="10612" y="2935"/>
                </a:lnTo>
                <a:lnTo>
                  <a:pt x="10612" y="3387"/>
                </a:lnTo>
                <a:lnTo>
                  <a:pt x="11289" y="3387"/>
                </a:lnTo>
                <a:lnTo>
                  <a:pt x="11289" y="4064"/>
                </a:lnTo>
                <a:lnTo>
                  <a:pt x="11741" y="4064"/>
                </a:lnTo>
                <a:lnTo>
                  <a:pt x="11741" y="3387"/>
                </a:lnTo>
                <a:lnTo>
                  <a:pt x="12418" y="3387"/>
                </a:lnTo>
                <a:lnTo>
                  <a:pt x="12418" y="2935"/>
                </a:lnTo>
                <a:lnTo>
                  <a:pt x="11741" y="2935"/>
                </a:lnTo>
                <a:close/>
                <a:moveTo>
                  <a:pt x="2258" y="5419"/>
                </a:moveTo>
                <a:lnTo>
                  <a:pt x="2709" y="5419"/>
                </a:lnTo>
                <a:lnTo>
                  <a:pt x="2709" y="5870"/>
                </a:lnTo>
                <a:lnTo>
                  <a:pt x="2258" y="5870"/>
                </a:lnTo>
                <a:lnTo>
                  <a:pt x="2258" y="5419"/>
                </a:lnTo>
                <a:close/>
                <a:moveTo>
                  <a:pt x="2258" y="4516"/>
                </a:moveTo>
                <a:lnTo>
                  <a:pt x="2709" y="4516"/>
                </a:lnTo>
                <a:lnTo>
                  <a:pt x="2709" y="4967"/>
                </a:lnTo>
                <a:lnTo>
                  <a:pt x="2258" y="4967"/>
                </a:lnTo>
                <a:lnTo>
                  <a:pt x="2258" y="4516"/>
                </a:lnTo>
                <a:close/>
                <a:moveTo>
                  <a:pt x="2709" y="2935"/>
                </a:moveTo>
                <a:lnTo>
                  <a:pt x="2709" y="2258"/>
                </a:lnTo>
                <a:lnTo>
                  <a:pt x="2258" y="2258"/>
                </a:lnTo>
                <a:lnTo>
                  <a:pt x="2258" y="2935"/>
                </a:lnTo>
                <a:lnTo>
                  <a:pt x="1581" y="2935"/>
                </a:lnTo>
                <a:lnTo>
                  <a:pt x="1581" y="3387"/>
                </a:lnTo>
                <a:lnTo>
                  <a:pt x="2258" y="3387"/>
                </a:lnTo>
                <a:lnTo>
                  <a:pt x="2258" y="4064"/>
                </a:lnTo>
                <a:lnTo>
                  <a:pt x="2709" y="4064"/>
                </a:lnTo>
                <a:lnTo>
                  <a:pt x="2709" y="3387"/>
                </a:lnTo>
                <a:lnTo>
                  <a:pt x="3387" y="3387"/>
                </a:lnTo>
                <a:lnTo>
                  <a:pt x="3387" y="2935"/>
                </a:lnTo>
                <a:lnTo>
                  <a:pt x="2709" y="2935"/>
                </a:lnTo>
                <a:close/>
                <a:moveTo>
                  <a:pt x="6773" y="7677"/>
                </a:moveTo>
                <a:lnTo>
                  <a:pt x="7225" y="7677"/>
                </a:lnTo>
                <a:lnTo>
                  <a:pt x="7225" y="8128"/>
                </a:lnTo>
                <a:lnTo>
                  <a:pt x="6773" y="8128"/>
                </a:lnTo>
                <a:lnTo>
                  <a:pt x="6773" y="7677"/>
                </a:lnTo>
                <a:close/>
                <a:moveTo>
                  <a:pt x="6773" y="8580"/>
                </a:moveTo>
                <a:lnTo>
                  <a:pt x="7225" y="8580"/>
                </a:lnTo>
                <a:lnTo>
                  <a:pt x="7225" y="9031"/>
                </a:lnTo>
                <a:lnTo>
                  <a:pt x="6773" y="9031"/>
                </a:lnTo>
                <a:lnTo>
                  <a:pt x="6773" y="8580"/>
                </a:lnTo>
                <a:close/>
                <a:moveTo>
                  <a:pt x="7225" y="10160"/>
                </a:moveTo>
                <a:lnTo>
                  <a:pt x="7225" y="9483"/>
                </a:lnTo>
                <a:lnTo>
                  <a:pt x="6773" y="9483"/>
                </a:lnTo>
                <a:lnTo>
                  <a:pt x="6773" y="10160"/>
                </a:lnTo>
                <a:lnTo>
                  <a:pt x="6096" y="10160"/>
                </a:lnTo>
                <a:lnTo>
                  <a:pt x="6096" y="10612"/>
                </a:lnTo>
                <a:lnTo>
                  <a:pt x="6773" y="10612"/>
                </a:lnTo>
                <a:lnTo>
                  <a:pt x="6773" y="11289"/>
                </a:lnTo>
                <a:lnTo>
                  <a:pt x="7225" y="11289"/>
                </a:lnTo>
                <a:lnTo>
                  <a:pt x="7225" y="10612"/>
                </a:lnTo>
                <a:lnTo>
                  <a:pt x="7902" y="10612"/>
                </a:lnTo>
                <a:lnTo>
                  <a:pt x="7902" y="10160"/>
                </a:lnTo>
                <a:lnTo>
                  <a:pt x="7225" y="10160"/>
                </a:lnTo>
                <a:close/>
                <a:moveTo>
                  <a:pt x="12409" y="10554"/>
                </a:moveTo>
                <a:cubicBezTo>
                  <a:pt x="12414" y="10499"/>
                  <a:pt x="12418" y="10443"/>
                  <a:pt x="12418" y="10386"/>
                </a:cubicBezTo>
                <a:lnTo>
                  <a:pt x="12418" y="9771"/>
                </a:lnTo>
                <a:cubicBezTo>
                  <a:pt x="12552" y="9850"/>
                  <a:pt x="12644" y="9994"/>
                  <a:pt x="12644" y="10160"/>
                </a:cubicBezTo>
                <a:cubicBezTo>
                  <a:pt x="12644" y="10330"/>
                  <a:pt x="12548" y="10477"/>
                  <a:pt x="12409" y="10554"/>
                </a:cubicBezTo>
                <a:close/>
                <a:moveTo>
                  <a:pt x="8570" y="3780"/>
                </a:moveTo>
                <a:cubicBezTo>
                  <a:pt x="8576" y="3725"/>
                  <a:pt x="8580" y="3669"/>
                  <a:pt x="8580" y="3612"/>
                </a:cubicBezTo>
                <a:lnTo>
                  <a:pt x="8580" y="2998"/>
                </a:lnTo>
                <a:cubicBezTo>
                  <a:pt x="8714" y="3076"/>
                  <a:pt x="8806" y="3220"/>
                  <a:pt x="8806" y="3387"/>
                </a:cubicBezTo>
                <a:cubicBezTo>
                  <a:pt x="8806" y="3557"/>
                  <a:pt x="8710" y="3704"/>
                  <a:pt x="8570" y="3780"/>
                </a:cubicBezTo>
                <a:close/>
                <a:moveTo>
                  <a:pt x="5193" y="3387"/>
                </a:moveTo>
                <a:cubicBezTo>
                  <a:pt x="5193" y="3220"/>
                  <a:pt x="5284" y="3076"/>
                  <a:pt x="5419" y="2998"/>
                </a:cubicBezTo>
                <a:lnTo>
                  <a:pt x="5419" y="3612"/>
                </a:lnTo>
                <a:cubicBezTo>
                  <a:pt x="5419" y="3669"/>
                  <a:pt x="5422" y="3725"/>
                  <a:pt x="5428" y="3780"/>
                </a:cubicBezTo>
                <a:cubicBezTo>
                  <a:pt x="5289" y="3704"/>
                  <a:pt x="5193" y="3557"/>
                  <a:pt x="5193" y="3387"/>
                </a:cubicBezTo>
                <a:close/>
                <a:moveTo>
                  <a:pt x="5645" y="2258"/>
                </a:moveTo>
                <a:lnTo>
                  <a:pt x="5419" y="2258"/>
                </a:lnTo>
                <a:lnTo>
                  <a:pt x="5419" y="2516"/>
                </a:lnTo>
                <a:cubicBezTo>
                  <a:pt x="5338" y="2537"/>
                  <a:pt x="5263" y="2568"/>
                  <a:pt x="5193" y="2609"/>
                </a:cubicBezTo>
                <a:lnTo>
                  <a:pt x="5193" y="2258"/>
                </a:lnTo>
                <a:cubicBezTo>
                  <a:pt x="5193" y="1262"/>
                  <a:pt x="6003" y="452"/>
                  <a:pt x="6999" y="452"/>
                </a:cubicBezTo>
                <a:cubicBezTo>
                  <a:pt x="7995" y="452"/>
                  <a:pt x="8806" y="1262"/>
                  <a:pt x="8806" y="2258"/>
                </a:cubicBezTo>
                <a:lnTo>
                  <a:pt x="8806" y="2609"/>
                </a:lnTo>
                <a:cubicBezTo>
                  <a:pt x="8735" y="2568"/>
                  <a:pt x="8660" y="2537"/>
                  <a:pt x="8580" y="2516"/>
                </a:cubicBezTo>
                <a:lnTo>
                  <a:pt x="8580" y="2258"/>
                </a:lnTo>
                <a:lnTo>
                  <a:pt x="8354" y="2258"/>
                </a:lnTo>
                <a:cubicBezTo>
                  <a:pt x="7978" y="2258"/>
                  <a:pt x="7624" y="2111"/>
                  <a:pt x="7357" y="1845"/>
                </a:cubicBezTo>
                <a:lnTo>
                  <a:pt x="6999" y="1487"/>
                </a:lnTo>
                <a:lnTo>
                  <a:pt x="6641" y="1845"/>
                </a:lnTo>
                <a:cubicBezTo>
                  <a:pt x="6375" y="2111"/>
                  <a:pt x="6021" y="2258"/>
                  <a:pt x="5645" y="2258"/>
                </a:cubicBezTo>
                <a:close/>
                <a:moveTo>
                  <a:pt x="5870" y="3612"/>
                </a:moveTo>
                <a:lnTo>
                  <a:pt x="5870" y="2696"/>
                </a:lnTo>
                <a:cubicBezTo>
                  <a:pt x="6282" y="2647"/>
                  <a:pt x="6663" y="2462"/>
                  <a:pt x="6960" y="2164"/>
                </a:cubicBezTo>
                <a:lnTo>
                  <a:pt x="6999" y="2126"/>
                </a:lnTo>
                <a:lnTo>
                  <a:pt x="7038" y="2164"/>
                </a:lnTo>
                <a:cubicBezTo>
                  <a:pt x="7336" y="2462"/>
                  <a:pt x="7717" y="2647"/>
                  <a:pt x="8128" y="2696"/>
                </a:cubicBezTo>
                <a:lnTo>
                  <a:pt x="8128" y="3612"/>
                </a:lnTo>
                <a:cubicBezTo>
                  <a:pt x="8128" y="4235"/>
                  <a:pt x="7622" y="4741"/>
                  <a:pt x="6999" y="4741"/>
                </a:cubicBezTo>
                <a:cubicBezTo>
                  <a:pt x="6377" y="4741"/>
                  <a:pt x="5870" y="4235"/>
                  <a:pt x="5870" y="3612"/>
                </a:cubicBezTo>
                <a:close/>
                <a:moveTo>
                  <a:pt x="7451" y="5126"/>
                </a:moveTo>
                <a:lnTo>
                  <a:pt x="7451" y="5325"/>
                </a:lnTo>
                <a:lnTo>
                  <a:pt x="6999" y="5777"/>
                </a:lnTo>
                <a:lnTo>
                  <a:pt x="6548" y="5325"/>
                </a:lnTo>
                <a:lnTo>
                  <a:pt x="6548" y="5126"/>
                </a:lnTo>
                <a:cubicBezTo>
                  <a:pt x="6691" y="5169"/>
                  <a:pt x="6842" y="5193"/>
                  <a:pt x="6999" y="5193"/>
                </a:cubicBezTo>
                <a:cubicBezTo>
                  <a:pt x="7156" y="5193"/>
                  <a:pt x="7308" y="5169"/>
                  <a:pt x="7451" y="5126"/>
                </a:cubicBezTo>
                <a:close/>
                <a:moveTo>
                  <a:pt x="1355" y="10160"/>
                </a:moveTo>
                <a:cubicBezTo>
                  <a:pt x="1355" y="9994"/>
                  <a:pt x="1446" y="9850"/>
                  <a:pt x="1581" y="9771"/>
                </a:cubicBezTo>
                <a:lnTo>
                  <a:pt x="1581" y="10386"/>
                </a:lnTo>
                <a:cubicBezTo>
                  <a:pt x="1581" y="10443"/>
                  <a:pt x="1584" y="10499"/>
                  <a:pt x="1590" y="10554"/>
                </a:cubicBezTo>
                <a:cubicBezTo>
                  <a:pt x="1450" y="10477"/>
                  <a:pt x="1355" y="10330"/>
                  <a:pt x="1355" y="10160"/>
                </a:cubicBezTo>
                <a:close/>
                <a:moveTo>
                  <a:pt x="5326" y="12720"/>
                </a:moveTo>
                <a:cubicBezTo>
                  <a:pt x="5641" y="12783"/>
                  <a:pt x="5870" y="13062"/>
                  <a:pt x="5870" y="13384"/>
                </a:cubicBezTo>
                <a:lnTo>
                  <a:pt x="5870" y="13547"/>
                </a:lnTo>
                <a:lnTo>
                  <a:pt x="452" y="13547"/>
                </a:lnTo>
                <a:lnTo>
                  <a:pt x="452" y="13384"/>
                </a:lnTo>
                <a:cubicBezTo>
                  <a:pt x="452" y="13062"/>
                  <a:pt x="681" y="12783"/>
                  <a:pt x="996" y="12720"/>
                </a:cubicBezTo>
                <a:lnTo>
                  <a:pt x="2409" y="12437"/>
                </a:lnTo>
                <a:lnTo>
                  <a:pt x="3161" y="13189"/>
                </a:lnTo>
                <a:lnTo>
                  <a:pt x="3913" y="12437"/>
                </a:lnTo>
                <a:lnTo>
                  <a:pt x="5326" y="12720"/>
                </a:lnTo>
                <a:close/>
                <a:moveTo>
                  <a:pt x="2709" y="12099"/>
                </a:moveTo>
                <a:lnTo>
                  <a:pt x="2709" y="11900"/>
                </a:lnTo>
                <a:cubicBezTo>
                  <a:pt x="2853" y="11943"/>
                  <a:pt x="3004" y="11966"/>
                  <a:pt x="3161" y="11966"/>
                </a:cubicBezTo>
                <a:cubicBezTo>
                  <a:pt x="3318" y="11966"/>
                  <a:pt x="3469" y="11943"/>
                  <a:pt x="3612" y="11900"/>
                </a:cubicBezTo>
                <a:lnTo>
                  <a:pt x="3612" y="12099"/>
                </a:lnTo>
                <a:lnTo>
                  <a:pt x="3161" y="12550"/>
                </a:lnTo>
                <a:lnTo>
                  <a:pt x="2709" y="12099"/>
                </a:lnTo>
                <a:close/>
                <a:moveTo>
                  <a:pt x="4290" y="10386"/>
                </a:moveTo>
                <a:cubicBezTo>
                  <a:pt x="4290" y="11008"/>
                  <a:pt x="3784" y="11515"/>
                  <a:pt x="3161" y="11515"/>
                </a:cubicBezTo>
                <a:cubicBezTo>
                  <a:pt x="2539" y="11515"/>
                  <a:pt x="2032" y="11008"/>
                  <a:pt x="2032" y="10386"/>
                </a:cubicBezTo>
                <a:lnTo>
                  <a:pt x="2032" y="9257"/>
                </a:lnTo>
                <a:lnTo>
                  <a:pt x="4290" y="9257"/>
                </a:lnTo>
                <a:lnTo>
                  <a:pt x="4290" y="10386"/>
                </a:lnTo>
                <a:close/>
                <a:moveTo>
                  <a:pt x="4732" y="10554"/>
                </a:moveTo>
                <a:cubicBezTo>
                  <a:pt x="4738" y="10499"/>
                  <a:pt x="4741" y="10443"/>
                  <a:pt x="4741" y="10386"/>
                </a:cubicBezTo>
                <a:lnTo>
                  <a:pt x="4741" y="9771"/>
                </a:lnTo>
                <a:cubicBezTo>
                  <a:pt x="4876" y="9850"/>
                  <a:pt x="4967" y="9994"/>
                  <a:pt x="4967" y="10160"/>
                </a:cubicBezTo>
                <a:cubicBezTo>
                  <a:pt x="4967" y="10330"/>
                  <a:pt x="4871" y="10477"/>
                  <a:pt x="4732" y="10554"/>
                </a:cubicBezTo>
                <a:close/>
                <a:moveTo>
                  <a:pt x="4967" y="9031"/>
                </a:moveTo>
                <a:lnTo>
                  <a:pt x="4967" y="9382"/>
                </a:lnTo>
                <a:cubicBezTo>
                  <a:pt x="4897" y="9342"/>
                  <a:pt x="4822" y="9310"/>
                  <a:pt x="4741" y="9289"/>
                </a:cubicBezTo>
                <a:lnTo>
                  <a:pt x="4741" y="8806"/>
                </a:lnTo>
                <a:lnTo>
                  <a:pt x="1581" y="8806"/>
                </a:lnTo>
                <a:lnTo>
                  <a:pt x="1581" y="9289"/>
                </a:lnTo>
                <a:cubicBezTo>
                  <a:pt x="1500" y="9310"/>
                  <a:pt x="1425" y="9342"/>
                  <a:pt x="1355" y="9382"/>
                </a:cubicBezTo>
                <a:lnTo>
                  <a:pt x="1355" y="9031"/>
                </a:lnTo>
                <a:cubicBezTo>
                  <a:pt x="1355" y="8035"/>
                  <a:pt x="2165" y="7225"/>
                  <a:pt x="3161" y="7225"/>
                </a:cubicBezTo>
                <a:cubicBezTo>
                  <a:pt x="4157" y="7225"/>
                  <a:pt x="4967" y="8035"/>
                  <a:pt x="4967" y="9031"/>
                </a:cubicBezTo>
                <a:close/>
                <a:moveTo>
                  <a:pt x="4290" y="6773"/>
                </a:moveTo>
                <a:lnTo>
                  <a:pt x="4290" y="6611"/>
                </a:lnTo>
                <a:cubicBezTo>
                  <a:pt x="4290" y="6289"/>
                  <a:pt x="4519" y="6009"/>
                  <a:pt x="4834" y="5946"/>
                </a:cubicBezTo>
                <a:lnTo>
                  <a:pt x="6248" y="5664"/>
                </a:lnTo>
                <a:lnTo>
                  <a:pt x="6999" y="6415"/>
                </a:lnTo>
                <a:lnTo>
                  <a:pt x="7751" y="5664"/>
                </a:lnTo>
                <a:lnTo>
                  <a:pt x="9164" y="5946"/>
                </a:lnTo>
                <a:cubicBezTo>
                  <a:pt x="9479" y="6009"/>
                  <a:pt x="9709" y="6289"/>
                  <a:pt x="9709" y="6611"/>
                </a:cubicBezTo>
                <a:lnTo>
                  <a:pt x="9709" y="6773"/>
                </a:lnTo>
                <a:lnTo>
                  <a:pt x="4290" y="6773"/>
                </a:lnTo>
                <a:close/>
                <a:moveTo>
                  <a:pt x="9031" y="10160"/>
                </a:moveTo>
                <a:cubicBezTo>
                  <a:pt x="9031" y="9994"/>
                  <a:pt x="9123" y="9850"/>
                  <a:pt x="9257" y="9771"/>
                </a:cubicBezTo>
                <a:lnTo>
                  <a:pt x="9257" y="10386"/>
                </a:lnTo>
                <a:cubicBezTo>
                  <a:pt x="9257" y="10443"/>
                  <a:pt x="9260" y="10499"/>
                  <a:pt x="9266" y="10554"/>
                </a:cubicBezTo>
                <a:cubicBezTo>
                  <a:pt x="9127" y="10477"/>
                  <a:pt x="9031" y="10330"/>
                  <a:pt x="9031" y="10160"/>
                </a:cubicBezTo>
                <a:close/>
                <a:moveTo>
                  <a:pt x="9292" y="9278"/>
                </a:moveTo>
                <a:cubicBezTo>
                  <a:pt x="9198" y="9299"/>
                  <a:pt x="9112" y="9336"/>
                  <a:pt x="9031" y="9382"/>
                </a:cubicBezTo>
                <a:lnTo>
                  <a:pt x="9031" y="9031"/>
                </a:lnTo>
                <a:cubicBezTo>
                  <a:pt x="9031" y="8035"/>
                  <a:pt x="9842" y="7225"/>
                  <a:pt x="10837" y="7225"/>
                </a:cubicBezTo>
                <a:cubicBezTo>
                  <a:pt x="11833" y="7225"/>
                  <a:pt x="12644" y="8035"/>
                  <a:pt x="12644" y="9031"/>
                </a:cubicBezTo>
                <a:lnTo>
                  <a:pt x="12644" y="9382"/>
                </a:lnTo>
                <a:cubicBezTo>
                  <a:pt x="12563" y="9336"/>
                  <a:pt x="12477" y="9298"/>
                  <a:pt x="12383" y="9278"/>
                </a:cubicBezTo>
                <a:cubicBezTo>
                  <a:pt x="12296" y="9005"/>
                  <a:pt x="12042" y="8806"/>
                  <a:pt x="11741" y="8806"/>
                </a:cubicBezTo>
                <a:lnTo>
                  <a:pt x="9934" y="8806"/>
                </a:lnTo>
                <a:cubicBezTo>
                  <a:pt x="9633" y="8806"/>
                  <a:pt x="9379" y="9005"/>
                  <a:pt x="9292" y="9278"/>
                </a:cubicBezTo>
                <a:close/>
                <a:moveTo>
                  <a:pt x="9709" y="10386"/>
                </a:moveTo>
                <a:lnTo>
                  <a:pt x="9709" y="9483"/>
                </a:lnTo>
                <a:cubicBezTo>
                  <a:pt x="9709" y="9358"/>
                  <a:pt x="9810" y="9257"/>
                  <a:pt x="9934" y="9257"/>
                </a:cubicBezTo>
                <a:lnTo>
                  <a:pt x="11741" y="9257"/>
                </a:lnTo>
                <a:cubicBezTo>
                  <a:pt x="11865" y="9257"/>
                  <a:pt x="11966" y="9358"/>
                  <a:pt x="11966" y="9483"/>
                </a:cubicBezTo>
                <a:lnTo>
                  <a:pt x="11966" y="10386"/>
                </a:lnTo>
                <a:cubicBezTo>
                  <a:pt x="11966" y="11008"/>
                  <a:pt x="11460" y="11515"/>
                  <a:pt x="10837" y="11515"/>
                </a:cubicBezTo>
                <a:cubicBezTo>
                  <a:pt x="10215" y="11515"/>
                  <a:pt x="9709" y="11008"/>
                  <a:pt x="9709" y="10386"/>
                </a:cubicBezTo>
                <a:close/>
                <a:moveTo>
                  <a:pt x="11289" y="11900"/>
                </a:moveTo>
                <a:lnTo>
                  <a:pt x="11289" y="12192"/>
                </a:lnTo>
                <a:cubicBezTo>
                  <a:pt x="11289" y="12441"/>
                  <a:pt x="11086" y="12644"/>
                  <a:pt x="10837" y="12644"/>
                </a:cubicBezTo>
                <a:cubicBezTo>
                  <a:pt x="10588" y="12644"/>
                  <a:pt x="10386" y="12441"/>
                  <a:pt x="10386" y="12192"/>
                </a:cubicBezTo>
                <a:lnTo>
                  <a:pt x="10386" y="11900"/>
                </a:lnTo>
                <a:cubicBezTo>
                  <a:pt x="10529" y="11943"/>
                  <a:pt x="10681" y="11966"/>
                  <a:pt x="10837" y="11966"/>
                </a:cubicBezTo>
                <a:cubicBezTo>
                  <a:pt x="10994" y="11966"/>
                  <a:pt x="11146" y="11943"/>
                  <a:pt x="11289" y="11900"/>
                </a:cubicBezTo>
                <a:close/>
                <a:moveTo>
                  <a:pt x="13547" y="13547"/>
                </a:moveTo>
                <a:lnTo>
                  <a:pt x="8128" y="13547"/>
                </a:lnTo>
                <a:lnTo>
                  <a:pt x="8128" y="13384"/>
                </a:lnTo>
                <a:cubicBezTo>
                  <a:pt x="8128" y="13062"/>
                  <a:pt x="8357" y="12783"/>
                  <a:pt x="8673" y="12720"/>
                </a:cubicBezTo>
                <a:lnTo>
                  <a:pt x="9979" y="12459"/>
                </a:lnTo>
                <a:cubicBezTo>
                  <a:pt x="10094" y="12826"/>
                  <a:pt x="10433" y="13095"/>
                  <a:pt x="10837" y="13095"/>
                </a:cubicBezTo>
                <a:cubicBezTo>
                  <a:pt x="11242" y="13095"/>
                  <a:pt x="11581" y="12826"/>
                  <a:pt x="11696" y="12459"/>
                </a:cubicBezTo>
                <a:lnTo>
                  <a:pt x="13002" y="12720"/>
                </a:lnTo>
                <a:cubicBezTo>
                  <a:pt x="13318" y="12783"/>
                  <a:pt x="13547" y="13062"/>
                  <a:pt x="13547" y="13384"/>
                </a:cubicBezTo>
                <a:lnTo>
                  <a:pt x="13547" y="1354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21" name="Freeform 26"/>
          <p:cNvSpPr>
            <a:spLocks noEditPoints="1"/>
          </p:cNvSpPr>
          <p:nvPr/>
        </p:nvSpPr>
        <p:spPr bwMode="auto">
          <a:xfrm>
            <a:off x="5888468" y="2066929"/>
            <a:ext cx="415065" cy="413872"/>
          </a:xfrm>
          <a:custGeom>
            <a:avLst/>
            <a:gdLst>
              <a:gd name="T0" fmla="*/ 0 w 13998"/>
              <a:gd name="T1" fmla="*/ 0 h 13998"/>
              <a:gd name="T2" fmla="*/ 10837 w 13998"/>
              <a:gd name="T3" fmla="*/ 10837 h 13998"/>
              <a:gd name="T4" fmla="*/ 10837 w 13998"/>
              <a:gd name="T5" fmla="*/ 4064 h 13998"/>
              <a:gd name="T6" fmla="*/ 9934 w 13998"/>
              <a:gd name="T7" fmla="*/ 12192 h 13998"/>
              <a:gd name="T8" fmla="*/ 9483 w 13998"/>
              <a:gd name="T9" fmla="*/ 12644 h 13998"/>
              <a:gd name="T10" fmla="*/ 9483 w 13998"/>
              <a:gd name="T11" fmla="*/ 13095 h 13998"/>
              <a:gd name="T12" fmla="*/ 9031 w 13998"/>
              <a:gd name="T13" fmla="*/ 12644 h 13998"/>
              <a:gd name="T14" fmla="*/ 903 w 13998"/>
              <a:gd name="T15" fmla="*/ 12644 h 13998"/>
              <a:gd name="T16" fmla="*/ 9031 w 13998"/>
              <a:gd name="T17" fmla="*/ 3161 h 13998"/>
              <a:gd name="T18" fmla="*/ 9483 w 13998"/>
              <a:gd name="T19" fmla="*/ 2709 h 13998"/>
              <a:gd name="T20" fmla="*/ 9483 w 13998"/>
              <a:gd name="T21" fmla="*/ 3161 h 13998"/>
              <a:gd name="T22" fmla="*/ 9934 w 13998"/>
              <a:gd name="T23" fmla="*/ 1806 h 13998"/>
              <a:gd name="T24" fmla="*/ 5870 w 13998"/>
              <a:gd name="T25" fmla="*/ 1806 h 13998"/>
              <a:gd name="T26" fmla="*/ 9934 w 13998"/>
              <a:gd name="T27" fmla="*/ 1355 h 13998"/>
              <a:gd name="T28" fmla="*/ 8354 w 13998"/>
              <a:gd name="T29" fmla="*/ 4967 h 13998"/>
              <a:gd name="T30" fmla="*/ 10837 w 13998"/>
              <a:gd name="T31" fmla="*/ 7451 h 13998"/>
              <a:gd name="T32" fmla="*/ 6322 w 13998"/>
              <a:gd name="T33" fmla="*/ 7451 h 13998"/>
              <a:gd name="T34" fmla="*/ 8354 w 13998"/>
              <a:gd name="T35" fmla="*/ 9483 h 13998"/>
              <a:gd name="T36" fmla="*/ 11515 w 13998"/>
              <a:gd name="T37" fmla="*/ 9483 h 13998"/>
              <a:gd name="T38" fmla="*/ 13095 w 13998"/>
              <a:gd name="T39" fmla="*/ 8354 h 13998"/>
              <a:gd name="T40" fmla="*/ 11515 w 13998"/>
              <a:gd name="T41" fmla="*/ 5419 h 13998"/>
              <a:gd name="T42" fmla="*/ 13095 w 13998"/>
              <a:gd name="T43" fmla="*/ 6548 h 13998"/>
              <a:gd name="T44" fmla="*/ 4064 w 13998"/>
              <a:gd name="T45" fmla="*/ 9483 h 13998"/>
              <a:gd name="T46" fmla="*/ 3612 w 13998"/>
              <a:gd name="T47" fmla="*/ 9934 h 13998"/>
              <a:gd name="T48" fmla="*/ 4064 w 13998"/>
              <a:gd name="T49" fmla="*/ 9483 h 13998"/>
              <a:gd name="T50" fmla="*/ 4064 w 13998"/>
              <a:gd name="T51" fmla="*/ 6548 h 13998"/>
              <a:gd name="T52" fmla="*/ 5193 w 13998"/>
              <a:gd name="T53" fmla="*/ 4967 h 13998"/>
              <a:gd name="T54" fmla="*/ 8128 w 13998"/>
              <a:gd name="T55" fmla="*/ 6999 h 13998"/>
              <a:gd name="T56" fmla="*/ 9031 w 13998"/>
              <a:gd name="T57" fmla="*/ 6999 h 13998"/>
              <a:gd name="T58" fmla="*/ 8128 w 13998"/>
              <a:gd name="T59" fmla="*/ 5870 h 13998"/>
              <a:gd name="T60" fmla="*/ 8354 w 13998"/>
              <a:gd name="T61" fmla="*/ 7677 h 13998"/>
              <a:gd name="T62" fmla="*/ 8128 w 13998"/>
              <a:gd name="T63" fmla="*/ 7902 h 13998"/>
              <a:gd name="T64" fmla="*/ 8128 w 13998"/>
              <a:gd name="T65" fmla="*/ 9031 h 13998"/>
              <a:gd name="T66" fmla="*/ 9031 w 13998"/>
              <a:gd name="T67" fmla="*/ 7902 h 13998"/>
              <a:gd name="T68" fmla="*/ 452 w 13998"/>
              <a:gd name="T69" fmla="*/ 13547 h 13998"/>
              <a:gd name="T70" fmla="*/ 10386 w 13998"/>
              <a:gd name="T71" fmla="*/ 4064 h 13998"/>
              <a:gd name="T72" fmla="*/ 903 w 13998"/>
              <a:gd name="T73" fmla="*/ 903 h 13998"/>
              <a:gd name="T74" fmla="*/ 2709 w 13998"/>
              <a:gd name="T75" fmla="*/ 10837 h 13998"/>
              <a:gd name="T76" fmla="*/ 4967 w 13998"/>
              <a:gd name="T77" fmla="*/ 1355 h 13998"/>
              <a:gd name="T78" fmla="*/ 2709 w 13998"/>
              <a:gd name="T79" fmla="*/ 4516 h 13998"/>
              <a:gd name="T80" fmla="*/ 4967 w 13998"/>
              <a:gd name="T81" fmla="*/ 1355 h 13998"/>
              <a:gd name="T82" fmla="*/ 3161 w 13998"/>
              <a:gd name="T83" fmla="*/ 4516 h 13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98" h="13998">
                <a:moveTo>
                  <a:pt x="10837" y="4064"/>
                </a:moveTo>
                <a:lnTo>
                  <a:pt x="10837" y="0"/>
                </a:lnTo>
                <a:lnTo>
                  <a:pt x="0" y="0"/>
                </a:lnTo>
                <a:lnTo>
                  <a:pt x="0" y="13998"/>
                </a:lnTo>
                <a:lnTo>
                  <a:pt x="10837" y="13998"/>
                </a:lnTo>
                <a:lnTo>
                  <a:pt x="10837" y="10837"/>
                </a:lnTo>
                <a:lnTo>
                  <a:pt x="13998" y="10837"/>
                </a:lnTo>
                <a:lnTo>
                  <a:pt x="13998" y="4064"/>
                </a:lnTo>
                <a:lnTo>
                  <a:pt x="10837" y="4064"/>
                </a:lnTo>
                <a:close/>
                <a:moveTo>
                  <a:pt x="903" y="11741"/>
                </a:moveTo>
                <a:lnTo>
                  <a:pt x="9934" y="11741"/>
                </a:lnTo>
                <a:lnTo>
                  <a:pt x="9934" y="12192"/>
                </a:lnTo>
                <a:lnTo>
                  <a:pt x="903" y="12192"/>
                </a:lnTo>
                <a:lnTo>
                  <a:pt x="903" y="11741"/>
                </a:lnTo>
                <a:close/>
                <a:moveTo>
                  <a:pt x="9483" y="12644"/>
                </a:moveTo>
                <a:lnTo>
                  <a:pt x="9934" y="12644"/>
                </a:lnTo>
                <a:lnTo>
                  <a:pt x="9934" y="13095"/>
                </a:lnTo>
                <a:lnTo>
                  <a:pt x="9483" y="13095"/>
                </a:lnTo>
                <a:lnTo>
                  <a:pt x="9483" y="12644"/>
                </a:lnTo>
                <a:close/>
                <a:moveTo>
                  <a:pt x="903" y="12644"/>
                </a:moveTo>
                <a:lnTo>
                  <a:pt x="9031" y="12644"/>
                </a:lnTo>
                <a:lnTo>
                  <a:pt x="9031" y="13095"/>
                </a:lnTo>
                <a:lnTo>
                  <a:pt x="903" y="13095"/>
                </a:lnTo>
                <a:lnTo>
                  <a:pt x="903" y="12644"/>
                </a:lnTo>
                <a:close/>
                <a:moveTo>
                  <a:pt x="5870" y="2709"/>
                </a:moveTo>
                <a:lnTo>
                  <a:pt x="9031" y="2709"/>
                </a:lnTo>
                <a:lnTo>
                  <a:pt x="9031" y="3161"/>
                </a:lnTo>
                <a:lnTo>
                  <a:pt x="5870" y="3161"/>
                </a:lnTo>
                <a:lnTo>
                  <a:pt x="5870" y="2709"/>
                </a:lnTo>
                <a:close/>
                <a:moveTo>
                  <a:pt x="9483" y="2709"/>
                </a:moveTo>
                <a:lnTo>
                  <a:pt x="9934" y="2709"/>
                </a:lnTo>
                <a:lnTo>
                  <a:pt x="9934" y="3161"/>
                </a:lnTo>
                <a:lnTo>
                  <a:pt x="9483" y="3161"/>
                </a:lnTo>
                <a:lnTo>
                  <a:pt x="9483" y="2709"/>
                </a:lnTo>
                <a:close/>
                <a:moveTo>
                  <a:pt x="5870" y="1806"/>
                </a:moveTo>
                <a:lnTo>
                  <a:pt x="9934" y="1806"/>
                </a:lnTo>
                <a:lnTo>
                  <a:pt x="9934" y="2258"/>
                </a:lnTo>
                <a:lnTo>
                  <a:pt x="5870" y="2258"/>
                </a:lnTo>
                <a:lnTo>
                  <a:pt x="5870" y="1806"/>
                </a:lnTo>
                <a:close/>
                <a:moveTo>
                  <a:pt x="5870" y="903"/>
                </a:moveTo>
                <a:lnTo>
                  <a:pt x="9934" y="903"/>
                </a:lnTo>
                <a:lnTo>
                  <a:pt x="9934" y="1355"/>
                </a:lnTo>
                <a:lnTo>
                  <a:pt x="5870" y="1355"/>
                </a:lnTo>
                <a:lnTo>
                  <a:pt x="5870" y="903"/>
                </a:lnTo>
                <a:close/>
                <a:moveTo>
                  <a:pt x="8354" y="4967"/>
                </a:moveTo>
                <a:cubicBezTo>
                  <a:pt x="6985" y="4967"/>
                  <a:pt x="5870" y="6081"/>
                  <a:pt x="5870" y="7451"/>
                </a:cubicBezTo>
                <a:cubicBezTo>
                  <a:pt x="5870" y="8820"/>
                  <a:pt x="6985" y="9934"/>
                  <a:pt x="8354" y="9934"/>
                </a:cubicBezTo>
                <a:cubicBezTo>
                  <a:pt x="9723" y="9934"/>
                  <a:pt x="10837" y="8820"/>
                  <a:pt x="10837" y="7451"/>
                </a:cubicBezTo>
                <a:cubicBezTo>
                  <a:pt x="10837" y="6081"/>
                  <a:pt x="9723" y="4967"/>
                  <a:pt x="8354" y="4967"/>
                </a:cubicBezTo>
                <a:close/>
                <a:moveTo>
                  <a:pt x="8354" y="9483"/>
                </a:moveTo>
                <a:cubicBezTo>
                  <a:pt x="7233" y="9483"/>
                  <a:pt x="6322" y="8571"/>
                  <a:pt x="6322" y="7451"/>
                </a:cubicBezTo>
                <a:cubicBezTo>
                  <a:pt x="6322" y="6330"/>
                  <a:pt x="7233" y="5419"/>
                  <a:pt x="8354" y="5419"/>
                </a:cubicBezTo>
                <a:cubicBezTo>
                  <a:pt x="9474" y="5419"/>
                  <a:pt x="10386" y="6330"/>
                  <a:pt x="10386" y="7451"/>
                </a:cubicBezTo>
                <a:cubicBezTo>
                  <a:pt x="10386" y="8571"/>
                  <a:pt x="9474" y="9483"/>
                  <a:pt x="8354" y="9483"/>
                </a:cubicBezTo>
                <a:close/>
                <a:moveTo>
                  <a:pt x="12644" y="8354"/>
                </a:moveTo>
                <a:lnTo>
                  <a:pt x="12644" y="9483"/>
                </a:lnTo>
                <a:lnTo>
                  <a:pt x="11515" y="9483"/>
                </a:lnTo>
                <a:lnTo>
                  <a:pt x="11515" y="9934"/>
                </a:lnTo>
                <a:lnTo>
                  <a:pt x="13095" y="9934"/>
                </a:lnTo>
                <a:lnTo>
                  <a:pt x="13095" y="8354"/>
                </a:lnTo>
                <a:lnTo>
                  <a:pt x="12644" y="8354"/>
                </a:lnTo>
                <a:close/>
                <a:moveTo>
                  <a:pt x="11515" y="4967"/>
                </a:moveTo>
                <a:lnTo>
                  <a:pt x="11515" y="5419"/>
                </a:lnTo>
                <a:lnTo>
                  <a:pt x="12644" y="5419"/>
                </a:lnTo>
                <a:lnTo>
                  <a:pt x="12644" y="6548"/>
                </a:lnTo>
                <a:lnTo>
                  <a:pt x="13095" y="6548"/>
                </a:lnTo>
                <a:lnTo>
                  <a:pt x="13095" y="4967"/>
                </a:lnTo>
                <a:lnTo>
                  <a:pt x="11515" y="4967"/>
                </a:lnTo>
                <a:close/>
                <a:moveTo>
                  <a:pt x="4064" y="9483"/>
                </a:moveTo>
                <a:lnTo>
                  <a:pt x="4064" y="8354"/>
                </a:lnTo>
                <a:lnTo>
                  <a:pt x="3612" y="8354"/>
                </a:lnTo>
                <a:lnTo>
                  <a:pt x="3612" y="9934"/>
                </a:lnTo>
                <a:lnTo>
                  <a:pt x="5193" y="9934"/>
                </a:lnTo>
                <a:lnTo>
                  <a:pt x="5193" y="9483"/>
                </a:lnTo>
                <a:lnTo>
                  <a:pt x="4064" y="9483"/>
                </a:lnTo>
                <a:close/>
                <a:moveTo>
                  <a:pt x="3612" y="4967"/>
                </a:moveTo>
                <a:lnTo>
                  <a:pt x="3612" y="6548"/>
                </a:lnTo>
                <a:lnTo>
                  <a:pt x="4064" y="6548"/>
                </a:lnTo>
                <a:lnTo>
                  <a:pt x="4064" y="5419"/>
                </a:lnTo>
                <a:lnTo>
                  <a:pt x="5193" y="5419"/>
                </a:lnTo>
                <a:lnTo>
                  <a:pt x="5193" y="4967"/>
                </a:lnTo>
                <a:lnTo>
                  <a:pt x="3612" y="4967"/>
                </a:lnTo>
                <a:close/>
                <a:moveTo>
                  <a:pt x="8354" y="7225"/>
                </a:moveTo>
                <a:cubicBezTo>
                  <a:pt x="8229" y="7225"/>
                  <a:pt x="8128" y="7124"/>
                  <a:pt x="8128" y="6999"/>
                </a:cubicBezTo>
                <a:cubicBezTo>
                  <a:pt x="8128" y="6875"/>
                  <a:pt x="8229" y="6773"/>
                  <a:pt x="8354" y="6773"/>
                </a:cubicBezTo>
                <a:cubicBezTo>
                  <a:pt x="8478" y="6773"/>
                  <a:pt x="8580" y="6875"/>
                  <a:pt x="8580" y="6999"/>
                </a:cubicBezTo>
                <a:lnTo>
                  <a:pt x="9031" y="6999"/>
                </a:lnTo>
                <a:cubicBezTo>
                  <a:pt x="9031" y="6705"/>
                  <a:pt x="8842" y="6457"/>
                  <a:pt x="8580" y="6363"/>
                </a:cubicBezTo>
                <a:lnTo>
                  <a:pt x="8580" y="5870"/>
                </a:lnTo>
                <a:lnTo>
                  <a:pt x="8128" y="5870"/>
                </a:lnTo>
                <a:lnTo>
                  <a:pt x="8128" y="6363"/>
                </a:lnTo>
                <a:cubicBezTo>
                  <a:pt x="7866" y="6457"/>
                  <a:pt x="7677" y="6705"/>
                  <a:pt x="7677" y="6999"/>
                </a:cubicBezTo>
                <a:cubicBezTo>
                  <a:pt x="7677" y="7373"/>
                  <a:pt x="7980" y="7677"/>
                  <a:pt x="8354" y="7677"/>
                </a:cubicBezTo>
                <a:cubicBezTo>
                  <a:pt x="8478" y="7677"/>
                  <a:pt x="8580" y="7778"/>
                  <a:pt x="8580" y="7902"/>
                </a:cubicBezTo>
                <a:cubicBezTo>
                  <a:pt x="8580" y="8027"/>
                  <a:pt x="8478" y="8128"/>
                  <a:pt x="8354" y="8128"/>
                </a:cubicBezTo>
                <a:cubicBezTo>
                  <a:pt x="8229" y="8128"/>
                  <a:pt x="8128" y="8027"/>
                  <a:pt x="8128" y="7902"/>
                </a:cubicBezTo>
                <a:lnTo>
                  <a:pt x="7677" y="7902"/>
                </a:lnTo>
                <a:cubicBezTo>
                  <a:pt x="7677" y="8196"/>
                  <a:pt x="7866" y="8445"/>
                  <a:pt x="8128" y="8538"/>
                </a:cubicBezTo>
                <a:lnTo>
                  <a:pt x="8128" y="9031"/>
                </a:lnTo>
                <a:lnTo>
                  <a:pt x="8580" y="9031"/>
                </a:lnTo>
                <a:lnTo>
                  <a:pt x="8580" y="8538"/>
                </a:lnTo>
                <a:cubicBezTo>
                  <a:pt x="8842" y="8445"/>
                  <a:pt x="9031" y="8196"/>
                  <a:pt x="9031" y="7902"/>
                </a:cubicBezTo>
                <a:cubicBezTo>
                  <a:pt x="9031" y="7529"/>
                  <a:pt x="8727" y="7225"/>
                  <a:pt x="8354" y="7225"/>
                </a:cubicBezTo>
                <a:close/>
                <a:moveTo>
                  <a:pt x="10386" y="13547"/>
                </a:moveTo>
                <a:lnTo>
                  <a:pt x="452" y="13547"/>
                </a:lnTo>
                <a:lnTo>
                  <a:pt x="452" y="452"/>
                </a:lnTo>
                <a:lnTo>
                  <a:pt x="10386" y="452"/>
                </a:lnTo>
                <a:lnTo>
                  <a:pt x="10386" y="4064"/>
                </a:lnTo>
                <a:lnTo>
                  <a:pt x="5419" y="4064"/>
                </a:lnTo>
                <a:lnTo>
                  <a:pt x="5419" y="903"/>
                </a:lnTo>
                <a:lnTo>
                  <a:pt x="903" y="903"/>
                </a:lnTo>
                <a:lnTo>
                  <a:pt x="903" y="4967"/>
                </a:lnTo>
                <a:lnTo>
                  <a:pt x="2709" y="4967"/>
                </a:lnTo>
                <a:lnTo>
                  <a:pt x="2709" y="10837"/>
                </a:lnTo>
                <a:lnTo>
                  <a:pt x="10386" y="10837"/>
                </a:lnTo>
                <a:lnTo>
                  <a:pt x="10386" y="13547"/>
                </a:lnTo>
                <a:close/>
                <a:moveTo>
                  <a:pt x="4967" y="1355"/>
                </a:moveTo>
                <a:lnTo>
                  <a:pt x="4967" y="4064"/>
                </a:lnTo>
                <a:lnTo>
                  <a:pt x="2709" y="4064"/>
                </a:lnTo>
                <a:lnTo>
                  <a:pt x="2709" y="4516"/>
                </a:lnTo>
                <a:lnTo>
                  <a:pt x="1355" y="4516"/>
                </a:lnTo>
                <a:lnTo>
                  <a:pt x="1355" y="1355"/>
                </a:lnTo>
                <a:lnTo>
                  <a:pt x="4967" y="1355"/>
                </a:lnTo>
                <a:close/>
                <a:moveTo>
                  <a:pt x="13547" y="10386"/>
                </a:moveTo>
                <a:lnTo>
                  <a:pt x="3161" y="10386"/>
                </a:lnTo>
                <a:lnTo>
                  <a:pt x="3161" y="4516"/>
                </a:lnTo>
                <a:lnTo>
                  <a:pt x="13547" y="4516"/>
                </a:lnTo>
                <a:lnTo>
                  <a:pt x="13547" y="1038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25" name="Freeform 30"/>
          <p:cNvSpPr>
            <a:spLocks noEditPoints="1"/>
          </p:cNvSpPr>
          <p:nvPr/>
        </p:nvSpPr>
        <p:spPr bwMode="auto">
          <a:xfrm>
            <a:off x="8716576" y="3229918"/>
            <a:ext cx="505114" cy="520858"/>
          </a:xfrm>
          <a:custGeom>
            <a:avLst/>
            <a:gdLst>
              <a:gd name="T0" fmla="*/ 10251 w 13547"/>
              <a:gd name="T1" fmla="*/ 1794 h 13998"/>
              <a:gd name="T2" fmla="*/ 7627 w 13547"/>
              <a:gd name="T3" fmla="*/ 0 h 13998"/>
              <a:gd name="T4" fmla="*/ 4503 w 13547"/>
              <a:gd name="T5" fmla="*/ 587 h 13998"/>
              <a:gd name="T6" fmla="*/ 2709 w 13547"/>
              <a:gd name="T7" fmla="*/ 3211 h 13998"/>
              <a:gd name="T8" fmla="*/ 3459 w 13547"/>
              <a:gd name="T9" fmla="*/ 9123 h 13998"/>
              <a:gd name="T10" fmla="*/ 4064 w 13547"/>
              <a:gd name="T11" fmla="*/ 11966 h 13998"/>
              <a:gd name="T12" fmla="*/ 9483 w 13547"/>
              <a:gd name="T13" fmla="*/ 11966 h 13998"/>
              <a:gd name="T14" fmla="*/ 10072 w 13547"/>
              <a:gd name="T15" fmla="*/ 9145 h 13998"/>
              <a:gd name="T16" fmla="*/ 10838 w 13547"/>
              <a:gd name="T17" fmla="*/ 3211 h 13998"/>
              <a:gd name="T18" fmla="*/ 6096 w 13547"/>
              <a:gd name="T19" fmla="*/ 9934 h 13998"/>
              <a:gd name="T20" fmla="*/ 7451 w 13547"/>
              <a:gd name="T21" fmla="*/ 9934 h 13998"/>
              <a:gd name="T22" fmla="*/ 2258 w 13547"/>
              <a:gd name="T23" fmla="*/ 3838 h 13998"/>
              <a:gd name="T24" fmla="*/ 903 w 13547"/>
              <a:gd name="T25" fmla="*/ 3838 h 13998"/>
              <a:gd name="T26" fmla="*/ 903 w 13547"/>
              <a:gd name="T27" fmla="*/ 3838 h 13998"/>
              <a:gd name="T28" fmla="*/ 0 w 13547"/>
              <a:gd name="T29" fmla="*/ 4290 h 13998"/>
              <a:gd name="T30" fmla="*/ 13547 w 13547"/>
              <a:gd name="T31" fmla="*/ 4290 h 13998"/>
              <a:gd name="T32" fmla="*/ 12644 w 13547"/>
              <a:gd name="T33" fmla="*/ 3838 h 13998"/>
              <a:gd name="T34" fmla="*/ 11289 w 13547"/>
              <a:gd name="T35" fmla="*/ 3838 h 13998"/>
              <a:gd name="T36" fmla="*/ 11289 w 13547"/>
              <a:gd name="T37" fmla="*/ 3838 h 13998"/>
              <a:gd name="T38" fmla="*/ 6999 w 13547"/>
              <a:gd name="T39" fmla="*/ 3612 h 13998"/>
              <a:gd name="T40" fmla="*/ 6548 w 13547"/>
              <a:gd name="T41" fmla="*/ 2484 h 13998"/>
              <a:gd name="T42" fmla="*/ 6999 w 13547"/>
              <a:gd name="T43" fmla="*/ 4516 h 13998"/>
              <a:gd name="T44" fmla="*/ 6548 w 13547"/>
              <a:gd name="T45" fmla="*/ 5151 h 13998"/>
              <a:gd name="T46" fmla="*/ 7451 w 13547"/>
              <a:gd name="T47" fmla="*/ 4516 h 13998"/>
              <a:gd name="T48" fmla="*/ 6773 w 13547"/>
              <a:gd name="T49" fmla="*/ 6548 h 13998"/>
              <a:gd name="T50" fmla="*/ 4742 w 13547"/>
              <a:gd name="T51" fmla="*/ 4064 h 13998"/>
              <a:gd name="T52" fmla="*/ 6773 w 13547"/>
              <a:gd name="T53" fmla="*/ 13547 h 13998"/>
              <a:gd name="T54" fmla="*/ 8806 w 13547"/>
              <a:gd name="T55" fmla="*/ 12192 h 13998"/>
              <a:gd name="T56" fmla="*/ 8806 w 13547"/>
              <a:gd name="T57" fmla="*/ 11741 h 13998"/>
              <a:gd name="T58" fmla="*/ 4742 w 13547"/>
              <a:gd name="T59" fmla="*/ 11289 h 13998"/>
              <a:gd name="T60" fmla="*/ 9031 w 13547"/>
              <a:gd name="T61" fmla="*/ 11063 h 13998"/>
              <a:gd name="T62" fmla="*/ 8806 w 13547"/>
              <a:gd name="T63" fmla="*/ 10386 h 13998"/>
              <a:gd name="T64" fmla="*/ 3189 w 13547"/>
              <a:gd name="T65" fmla="*/ 6319 h 13998"/>
              <a:gd name="T66" fmla="*/ 4503 w 13547"/>
              <a:gd name="T67" fmla="*/ 7542 h 13998"/>
              <a:gd name="T68" fmla="*/ 6096 w 13547"/>
              <a:gd name="T69" fmla="*/ 8128 h 13998"/>
              <a:gd name="T70" fmla="*/ 6999 w 13547"/>
              <a:gd name="T71" fmla="*/ 8128 h 13998"/>
              <a:gd name="T72" fmla="*/ 7627 w 13547"/>
              <a:gd name="T73" fmla="*/ 8128 h 13998"/>
              <a:gd name="T74" fmla="*/ 10251 w 13547"/>
              <a:gd name="T75" fmla="*/ 6334 h 13998"/>
              <a:gd name="T76" fmla="*/ 10386 w 13547"/>
              <a:gd name="T77" fmla="*/ 6773 h 13998"/>
              <a:gd name="T78" fmla="*/ 9591 w 13547"/>
              <a:gd name="T79" fmla="*/ 4881 h 13998"/>
              <a:gd name="T80" fmla="*/ 8973 w 13547"/>
              <a:gd name="T81" fmla="*/ 6973 h 13998"/>
              <a:gd name="T82" fmla="*/ 7466 w 13547"/>
              <a:gd name="T83" fmla="*/ 6918 h 13998"/>
              <a:gd name="T84" fmla="*/ 5957 w 13547"/>
              <a:gd name="T85" fmla="*/ 6882 h 13998"/>
              <a:gd name="T86" fmla="*/ 3865 w 13547"/>
              <a:gd name="T87" fmla="*/ 6264 h 13998"/>
              <a:gd name="T88" fmla="*/ 3920 w 13547"/>
              <a:gd name="T89" fmla="*/ 4756 h 13998"/>
              <a:gd name="T90" fmla="*/ 3956 w 13547"/>
              <a:gd name="T91" fmla="*/ 3247 h 13998"/>
              <a:gd name="T92" fmla="*/ 4574 w 13547"/>
              <a:gd name="T93" fmla="*/ 1155 h 13998"/>
              <a:gd name="T94" fmla="*/ 6082 w 13547"/>
              <a:gd name="T95" fmla="*/ 1210 h 13998"/>
              <a:gd name="T96" fmla="*/ 7590 w 13547"/>
              <a:gd name="T97" fmla="*/ 1247 h 13998"/>
              <a:gd name="T98" fmla="*/ 9682 w 13547"/>
              <a:gd name="T99" fmla="*/ 1864 h 13998"/>
              <a:gd name="T100" fmla="*/ 9627 w 13547"/>
              <a:gd name="T101" fmla="*/ 3372 h 13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547" h="13998">
                <a:moveTo>
                  <a:pt x="10838" y="3211"/>
                </a:moveTo>
                <a:lnTo>
                  <a:pt x="9986" y="2997"/>
                </a:lnTo>
                <a:cubicBezTo>
                  <a:pt x="9934" y="2841"/>
                  <a:pt x="9873" y="2690"/>
                  <a:pt x="9800" y="2546"/>
                </a:cubicBezTo>
                <a:lnTo>
                  <a:pt x="10251" y="1794"/>
                </a:lnTo>
                <a:lnTo>
                  <a:pt x="9044" y="587"/>
                </a:lnTo>
                <a:lnTo>
                  <a:pt x="8291" y="1037"/>
                </a:lnTo>
                <a:cubicBezTo>
                  <a:pt x="8148" y="965"/>
                  <a:pt x="7997" y="903"/>
                  <a:pt x="7841" y="851"/>
                </a:cubicBezTo>
                <a:lnTo>
                  <a:pt x="7627" y="0"/>
                </a:lnTo>
                <a:lnTo>
                  <a:pt x="5920" y="0"/>
                </a:lnTo>
                <a:lnTo>
                  <a:pt x="5706" y="851"/>
                </a:lnTo>
                <a:cubicBezTo>
                  <a:pt x="5550" y="903"/>
                  <a:pt x="5399" y="965"/>
                  <a:pt x="5256" y="1037"/>
                </a:cubicBezTo>
                <a:lnTo>
                  <a:pt x="4503" y="587"/>
                </a:lnTo>
                <a:lnTo>
                  <a:pt x="3297" y="1794"/>
                </a:lnTo>
                <a:lnTo>
                  <a:pt x="3747" y="2546"/>
                </a:lnTo>
                <a:cubicBezTo>
                  <a:pt x="3675" y="2690"/>
                  <a:pt x="3613" y="2841"/>
                  <a:pt x="3561" y="2997"/>
                </a:cubicBezTo>
                <a:lnTo>
                  <a:pt x="2709" y="3211"/>
                </a:lnTo>
                <a:lnTo>
                  <a:pt x="2709" y="4918"/>
                </a:lnTo>
                <a:lnTo>
                  <a:pt x="3113" y="5019"/>
                </a:lnTo>
                <a:cubicBezTo>
                  <a:pt x="2921" y="5416"/>
                  <a:pt x="2793" y="5833"/>
                  <a:pt x="2741" y="6265"/>
                </a:cubicBezTo>
                <a:cubicBezTo>
                  <a:pt x="2616" y="7282"/>
                  <a:pt x="2872" y="8297"/>
                  <a:pt x="3459" y="9123"/>
                </a:cubicBezTo>
                <a:cubicBezTo>
                  <a:pt x="3855" y="9679"/>
                  <a:pt x="4064" y="10374"/>
                  <a:pt x="4064" y="11132"/>
                </a:cubicBezTo>
                <a:lnTo>
                  <a:pt x="4071" y="11132"/>
                </a:lnTo>
                <a:cubicBezTo>
                  <a:pt x="4086" y="11279"/>
                  <a:pt x="4147" y="11411"/>
                  <a:pt x="4240" y="11515"/>
                </a:cubicBezTo>
                <a:cubicBezTo>
                  <a:pt x="4132" y="11635"/>
                  <a:pt x="4064" y="11792"/>
                  <a:pt x="4064" y="11966"/>
                </a:cubicBezTo>
                <a:cubicBezTo>
                  <a:pt x="4064" y="12326"/>
                  <a:pt x="4348" y="12619"/>
                  <a:pt x="4703" y="12640"/>
                </a:cubicBezTo>
                <a:cubicBezTo>
                  <a:pt x="5058" y="13458"/>
                  <a:pt x="5871" y="13998"/>
                  <a:pt x="6773" y="13998"/>
                </a:cubicBezTo>
                <a:cubicBezTo>
                  <a:pt x="7676" y="13998"/>
                  <a:pt x="8489" y="13458"/>
                  <a:pt x="8844" y="12640"/>
                </a:cubicBezTo>
                <a:cubicBezTo>
                  <a:pt x="9199" y="12619"/>
                  <a:pt x="9483" y="12326"/>
                  <a:pt x="9483" y="11966"/>
                </a:cubicBezTo>
                <a:cubicBezTo>
                  <a:pt x="9483" y="11792"/>
                  <a:pt x="9415" y="11635"/>
                  <a:pt x="9307" y="11515"/>
                </a:cubicBezTo>
                <a:cubicBezTo>
                  <a:pt x="9413" y="11397"/>
                  <a:pt x="9479" y="11243"/>
                  <a:pt x="9482" y="11073"/>
                </a:cubicBezTo>
                <a:lnTo>
                  <a:pt x="9483" y="11073"/>
                </a:lnTo>
                <a:cubicBezTo>
                  <a:pt x="9483" y="10346"/>
                  <a:pt x="9687" y="9679"/>
                  <a:pt x="10072" y="9145"/>
                </a:cubicBezTo>
                <a:cubicBezTo>
                  <a:pt x="10573" y="8451"/>
                  <a:pt x="10838" y="7631"/>
                  <a:pt x="10838" y="6773"/>
                </a:cubicBezTo>
                <a:cubicBezTo>
                  <a:pt x="10838" y="6166"/>
                  <a:pt x="10699" y="5565"/>
                  <a:pt x="10437" y="5018"/>
                </a:cubicBezTo>
                <a:lnTo>
                  <a:pt x="10838" y="4918"/>
                </a:lnTo>
                <a:lnTo>
                  <a:pt x="10838" y="3211"/>
                </a:lnTo>
                <a:close/>
                <a:moveTo>
                  <a:pt x="6096" y="9483"/>
                </a:moveTo>
                <a:lnTo>
                  <a:pt x="6548" y="9483"/>
                </a:lnTo>
                <a:lnTo>
                  <a:pt x="6548" y="9934"/>
                </a:lnTo>
                <a:lnTo>
                  <a:pt x="6096" y="9934"/>
                </a:lnTo>
                <a:lnTo>
                  <a:pt x="6096" y="9483"/>
                </a:lnTo>
                <a:close/>
                <a:moveTo>
                  <a:pt x="6999" y="9483"/>
                </a:moveTo>
                <a:lnTo>
                  <a:pt x="7451" y="9483"/>
                </a:lnTo>
                <a:lnTo>
                  <a:pt x="7451" y="9934"/>
                </a:lnTo>
                <a:lnTo>
                  <a:pt x="6999" y="9934"/>
                </a:lnTo>
                <a:lnTo>
                  <a:pt x="6999" y="9483"/>
                </a:lnTo>
                <a:close/>
                <a:moveTo>
                  <a:pt x="1806" y="3838"/>
                </a:moveTo>
                <a:lnTo>
                  <a:pt x="2258" y="3838"/>
                </a:lnTo>
                <a:lnTo>
                  <a:pt x="2258" y="4290"/>
                </a:lnTo>
                <a:lnTo>
                  <a:pt x="1806" y="4290"/>
                </a:lnTo>
                <a:lnTo>
                  <a:pt x="1806" y="3838"/>
                </a:lnTo>
                <a:close/>
                <a:moveTo>
                  <a:pt x="903" y="3838"/>
                </a:moveTo>
                <a:lnTo>
                  <a:pt x="1355" y="3838"/>
                </a:lnTo>
                <a:lnTo>
                  <a:pt x="1355" y="4290"/>
                </a:lnTo>
                <a:lnTo>
                  <a:pt x="903" y="4290"/>
                </a:lnTo>
                <a:lnTo>
                  <a:pt x="903" y="3838"/>
                </a:lnTo>
                <a:close/>
                <a:moveTo>
                  <a:pt x="0" y="3838"/>
                </a:moveTo>
                <a:lnTo>
                  <a:pt x="452" y="3838"/>
                </a:lnTo>
                <a:lnTo>
                  <a:pt x="452" y="4290"/>
                </a:lnTo>
                <a:lnTo>
                  <a:pt x="0" y="4290"/>
                </a:lnTo>
                <a:lnTo>
                  <a:pt x="0" y="3838"/>
                </a:lnTo>
                <a:close/>
                <a:moveTo>
                  <a:pt x="13095" y="3838"/>
                </a:moveTo>
                <a:lnTo>
                  <a:pt x="13547" y="3838"/>
                </a:lnTo>
                <a:lnTo>
                  <a:pt x="13547" y="4290"/>
                </a:lnTo>
                <a:lnTo>
                  <a:pt x="13095" y="4290"/>
                </a:lnTo>
                <a:lnTo>
                  <a:pt x="13095" y="3838"/>
                </a:lnTo>
                <a:close/>
                <a:moveTo>
                  <a:pt x="12192" y="3838"/>
                </a:moveTo>
                <a:lnTo>
                  <a:pt x="12644" y="3838"/>
                </a:lnTo>
                <a:lnTo>
                  <a:pt x="12644" y="4290"/>
                </a:lnTo>
                <a:lnTo>
                  <a:pt x="12192" y="4290"/>
                </a:lnTo>
                <a:lnTo>
                  <a:pt x="12192" y="3838"/>
                </a:lnTo>
                <a:close/>
                <a:moveTo>
                  <a:pt x="11289" y="3838"/>
                </a:moveTo>
                <a:lnTo>
                  <a:pt x="11741" y="3838"/>
                </a:lnTo>
                <a:lnTo>
                  <a:pt x="11741" y="4290"/>
                </a:lnTo>
                <a:lnTo>
                  <a:pt x="11289" y="4290"/>
                </a:lnTo>
                <a:lnTo>
                  <a:pt x="11289" y="3838"/>
                </a:lnTo>
                <a:close/>
                <a:moveTo>
                  <a:pt x="6773" y="3838"/>
                </a:moveTo>
                <a:cubicBezTo>
                  <a:pt x="6649" y="3838"/>
                  <a:pt x="6548" y="3737"/>
                  <a:pt x="6548" y="3612"/>
                </a:cubicBezTo>
                <a:cubicBezTo>
                  <a:pt x="6548" y="3488"/>
                  <a:pt x="6649" y="3387"/>
                  <a:pt x="6773" y="3387"/>
                </a:cubicBezTo>
                <a:cubicBezTo>
                  <a:pt x="6898" y="3387"/>
                  <a:pt x="6999" y="3488"/>
                  <a:pt x="6999" y="3612"/>
                </a:cubicBezTo>
                <a:lnTo>
                  <a:pt x="7451" y="3612"/>
                </a:lnTo>
                <a:cubicBezTo>
                  <a:pt x="7451" y="3319"/>
                  <a:pt x="7261" y="3070"/>
                  <a:pt x="6999" y="2977"/>
                </a:cubicBezTo>
                <a:lnTo>
                  <a:pt x="6999" y="2484"/>
                </a:lnTo>
                <a:lnTo>
                  <a:pt x="6548" y="2484"/>
                </a:lnTo>
                <a:lnTo>
                  <a:pt x="6548" y="2977"/>
                </a:lnTo>
                <a:cubicBezTo>
                  <a:pt x="6286" y="3070"/>
                  <a:pt x="6096" y="3319"/>
                  <a:pt x="6096" y="3612"/>
                </a:cubicBezTo>
                <a:cubicBezTo>
                  <a:pt x="6096" y="3986"/>
                  <a:pt x="6400" y="4290"/>
                  <a:pt x="6773" y="4290"/>
                </a:cubicBezTo>
                <a:cubicBezTo>
                  <a:pt x="6898" y="4290"/>
                  <a:pt x="6999" y="4391"/>
                  <a:pt x="6999" y="4516"/>
                </a:cubicBezTo>
                <a:cubicBezTo>
                  <a:pt x="6999" y="4640"/>
                  <a:pt x="6898" y="4741"/>
                  <a:pt x="6773" y="4741"/>
                </a:cubicBezTo>
                <a:cubicBezTo>
                  <a:pt x="6649" y="4741"/>
                  <a:pt x="6548" y="4640"/>
                  <a:pt x="6548" y="4516"/>
                </a:cubicBezTo>
                <a:lnTo>
                  <a:pt x="6096" y="4516"/>
                </a:lnTo>
                <a:cubicBezTo>
                  <a:pt x="6096" y="4810"/>
                  <a:pt x="6286" y="5058"/>
                  <a:pt x="6548" y="5151"/>
                </a:cubicBezTo>
                <a:lnTo>
                  <a:pt x="6548" y="5645"/>
                </a:lnTo>
                <a:lnTo>
                  <a:pt x="6999" y="5645"/>
                </a:lnTo>
                <a:lnTo>
                  <a:pt x="6999" y="5151"/>
                </a:lnTo>
                <a:cubicBezTo>
                  <a:pt x="7261" y="5058"/>
                  <a:pt x="7451" y="4810"/>
                  <a:pt x="7451" y="4516"/>
                </a:cubicBezTo>
                <a:cubicBezTo>
                  <a:pt x="7451" y="4142"/>
                  <a:pt x="7147" y="3838"/>
                  <a:pt x="6773" y="3838"/>
                </a:cubicBezTo>
                <a:close/>
                <a:moveTo>
                  <a:pt x="6773" y="1581"/>
                </a:moveTo>
                <a:cubicBezTo>
                  <a:pt x="5404" y="1581"/>
                  <a:pt x="4290" y="2695"/>
                  <a:pt x="4290" y="4064"/>
                </a:cubicBezTo>
                <a:cubicBezTo>
                  <a:pt x="4290" y="5433"/>
                  <a:pt x="5404" y="6548"/>
                  <a:pt x="6773" y="6548"/>
                </a:cubicBezTo>
                <a:cubicBezTo>
                  <a:pt x="8143" y="6548"/>
                  <a:pt x="9257" y="5433"/>
                  <a:pt x="9257" y="4064"/>
                </a:cubicBezTo>
                <a:cubicBezTo>
                  <a:pt x="9257" y="2695"/>
                  <a:pt x="8143" y="1581"/>
                  <a:pt x="6773" y="1581"/>
                </a:cubicBezTo>
                <a:close/>
                <a:moveTo>
                  <a:pt x="6773" y="6096"/>
                </a:moveTo>
                <a:cubicBezTo>
                  <a:pt x="5653" y="6096"/>
                  <a:pt x="4742" y="5185"/>
                  <a:pt x="4742" y="4064"/>
                </a:cubicBezTo>
                <a:cubicBezTo>
                  <a:pt x="4742" y="2944"/>
                  <a:pt x="5653" y="2032"/>
                  <a:pt x="6773" y="2032"/>
                </a:cubicBezTo>
                <a:cubicBezTo>
                  <a:pt x="7894" y="2032"/>
                  <a:pt x="8806" y="2944"/>
                  <a:pt x="8806" y="4064"/>
                </a:cubicBezTo>
                <a:cubicBezTo>
                  <a:pt x="8806" y="5185"/>
                  <a:pt x="7894" y="6096"/>
                  <a:pt x="6773" y="6096"/>
                </a:cubicBezTo>
                <a:close/>
                <a:moveTo>
                  <a:pt x="6773" y="13547"/>
                </a:moveTo>
                <a:cubicBezTo>
                  <a:pt x="6122" y="13547"/>
                  <a:pt x="5531" y="13193"/>
                  <a:pt x="5213" y="12644"/>
                </a:cubicBezTo>
                <a:lnTo>
                  <a:pt x="8334" y="12644"/>
                </a:lnTo>
                <a:cubicBezTo>
                  <a:pt x="8016" y="13193"/>
                  <a:pt x="7425" y="13547"/>
                  <a:pt x="6773" y="13547"/>
                </a:cubicBezTo>
                <a:close/>
                <a:moveTo>
                  <a:pt x="8806" y="12192"/>
                </a:moveTo>
                <a:lnTo>
                  <a:pt x="4742" y="12192"/>
                </a:lnTo>
                <a:cubicBezTo>
                  <a:pt x="4617" y="12192"/>
                  <a:pt x="4516" y="12091"/>
                  <a:pt x="4516" y="11966"/>
                </a:cubicBezTo>
                <a:cubicBezTo>
                  <a:pt x="4516" y="11842"/>
                  <a:pt x="4617" y="11741"/>
                  <a:pt x="4742" y="11741"/>
                </a:cubicBezTo>
                <a:lnTo>
                  <a:pt x="8806" y="11741"/>
                </a:lnTo>
                <a:cubicBezTo>
                  <a:pt x="8930" y="11741"/>
                  <a:pt x="9031" y="11842"/>
                  <a:pt x="9031" y="11966"/>
                </a:cubicBezTo>
                <a:cubicBezTo>
                  <a:pt x="9031" y="12091"/>
                  <a:pt x="8930" y="12192"/>
                  <a:pt x="8806" y="12192"/>
                </a:cubicBezTo>
                <a:close/>
                <a:moveTo>
                  <a:pt x="8806" y="11289"/>
                </a:moveTo>
                <a:lnTo>
                  <a:pt x="4742" y="11289"/>
                </a:lnTo>
                <a:cubicBezTo>
                  <a:pt x="4617" y="11289"/>
                  <a:pt x="4516" y="11188"/>
                  <a:pt x="4516" y="11063"/>
                </a:cubicBezTo>
                <a:cubicBezTo>
                  <a:pt x="4516" y="10939"/>
                  <a:pt x="4617" y="10837"/>
                  <a:pt x="4742" y="10837"/>
                </a:cubicBezTo>
                <a:lnTo>
                  <a:pt x="8806" y="10837"/>
                </a:lnTo>
                <a:cubicBezTo>
                  <a:pt x="8930" y="10837"/>
                  <a:pt x="9031" y="10939"/>
                  <a:pt x="9031" y="11063"/>
                </a:cubicBezTo>
                <a:cubicBezTo>
                  <a:pt x="9031" y="11188"/>
                  <a:pt x="8930" y="11289"/>
                  <a:pt x="8806" y="11289"/>
                </a:cubicBezTo>
                <a:close/>
                <a:moveTo>
                  <a:pt x="9706" y="8880"/>
                </a:moveTo>
                <a:cubicBezTo>
                  <a:pt x="9379" y="9333"/>
                  <a:pt x="9168" y="9866"/>
                  <a:pt x="9079" y="10445"/>
                </a:cubicBezTo>
                <a:cubicBezTo>
                  <a:pt x="8995" y="10408"/>
                  <a:pt x="8903" y="10386"/>
                  <a:pt x="8806" y="10386"/>
                </a:cubicBezTo>
                <a:lnTo>
                  <a:pt x="4742" y="10386"/>
                </a:lnTo>
                <a:cubicBezTo>
                  <a:pt x="4641" y="10386"/>
                  <a:pt x="4547" y="10409"/>
                  <a:pt x="4461" y="10449"/>
                </a:cubicBezTo>
                <a:cubicBezTo>
                  <a:pt x="4367" y="9861"/>
                  <a:pt x="4154" y="9321"/>
                  <a:pt x="3827" y="8861"/>
                </a:cubicBezTo>
                <a:cubicBezTo>
                  <a:pt x="3305" y="8127"/>
                  <a:pt x="3078" y="7224"/>
                  <a:pt x="3189" y="6319"/>
                </a:cubicBezTo>
                <a:cubicBezTo>
                  <a:pt x="3239" y="5907"/>
                  <a:pt x="3367" y="5510"/>
                  <a:pt x="3562" y="5133"/>
                </a:cubicBezTo>
                <a:cubicBezTo>
                  <a:pt x="3613" y="5288"/>
                  <a:pt x="3675" y="5438"/>
                  <a:pt x="3746" y="5582"/>
                </a:cubicBezTo>
                <a:lnTo>
                  <a:pt x="3297" y="6334"/>
                </a:lnTo>
                <a:lnTo>
                  <a:pt x="4503" y="7542"/>
                </a:lnTo>
                <a:lnTo>
                  <a:pt x="5256" y="7091"/>
                </a:lnTo>
                <a:cubicBezTo>
                  <a:pt x="5399" y="7163"/>
                  <a:pt x="5550" y="7225"/>
                  <a:pt x="5706" y="7277"/>
                </a:cubicBezTo>
                <a:lnTo>
                  <a:pt x="5920" y="8128"/>
                </a:lnTo>
                <a:lnTo>
                  <a:pt x="6096" y="8128"/>
                </a:lnTo>
                <a:lnTo>
                  <a:pt x="6096" y="9031"/>
                </a:lnTo>
                <a:lnTo>
                  <a:pt x="6548" y="9031"/>
                </a:lnTo>
                <a:lnTo>
                  <a:pt x="6548" y="8128"/>
                </a:lnTo>
                <a:lnTo>
                  <a:pt x="6999" y="8128"/>
                </a:lnTo>
                <a:lnTo>
                  <a:pt x="6999" y="9031"/>
                </a:lnTo>
                <a:lnTo>
                  <a:pt x="7451" y="9031"/>
                </a:lnTo>
                <a:lnTo>
                  <a:pt x="7451" y="8128"/>
                </a:lnTo>
                <a:lnTo>
                  <a:pt x="7627" y="8128"/>
                </a:lnTo>
                <a:lnTo>
                  <a:pt x="7841" y="7277"/>
                </a:lnTo>
                <a:cubicBezTo>
                  <a:pt x="7997" y="7225"/>
                  <a:pt x="8148" y="7163"/>
                  <a:pt x="8292" y="7091"/>
                </a:cubicBezTo>
                <a:lnTo>
                  <a:pt x="9044" y="7542"/>
                </a:lnTo>
                <a:lnTo>
                  <a:pt x="10251" y="6334"/>
                </a:lnTo>
                <a:lnTo>
                  <a:pt x="9800" y="5582"/>
                </a:lnTo>
                <a:cubicBezTo>
                  <a:pt x="9873" y="5438"/>
                  <a:pt x="9935" y="5287"/>
                  <a:pt x="9986" y="5132"/>
                </a:cubicBezTo>
                <a:lnTo>
                  <a:pt x="9988" y="5131"/>
                </a:lnTo>
                <a:cubicBezTo>
                  <a:pt x="10248" y="5639"/>
                  <a:pt x="10386" y="6203"/>
                  <a:pt x="10386" y="6773"/>
                </a:cubicBezTo>
                <a:cubicBezTo>
                  <a:pt x="10386" y="7535"/>
                  <a:pt x="10151" y="8264"/>
                  <a:pt x="9706" y="8880"/>
                </a:cubicBezTo>
                <a:close/>
                <a:moveTo>
                  <a:pt x="10386" y="4565"/>
                </a:moveTo>
                <a:lnTo>
                  <a:pt x="9627" y="4756"/>
                </a:lnTo>
                <a:lnTo>
                  <a:pt x="9591" y="4881"/>
                </a:lnTo>
                <a:cubicBezTo>
                  <a:pt x="9530" y="5093"/>
                  <a:pt x="9447" y="5294"/>
                  <a:pt x="9344" y="5480"/>
                </a:cubicBezTo>
                <a:lnTo>
                  <a:pt x="9281" y="5594"/>
                </a:lnTo>
                <a:lnTo>
                  <a:pt x="9682" y="6264"/>
                </a:lnTo>
                <a:lnTo>
                  <a:pt x="8973" y="6973"/>
                </a:lnTo>
                <a:lnTo>
                  <a:pt x="8303" y="6572"/>
                </a:lnTo>
                <a:lnTo>
                  <a:pt x="8189" y="6635"/>
                </a:lnTo>
                <a:cubicBezTo>
                  <a:pt x="8004" y="6737"/>
                  <a:pt x="7802" y="6821"/>
                  <a:pt x="7590" y="6882"/>
                </a:cubicBezTo>
                <a:lnTo>
                  <a:pt x="7466" y="6918"/>
                </a:lnTo>
                <a:lnTo>
                  <a:pt x="7275" y="7677"/>
                </a:lnTo>
                <a:lnTo>
                  <a:pt x="6272" y="7677"/>
                </a:lnTo>
                <a:lnTo>
                  <a:pt x="6082" y="6918"/>
                </a:lnTo>
                <a:lnTo>
                  <a:pt x="5957" y="6882"/>
                </a:lnTo>
                <a:cubicBezTo>
                  <a:pt x="5745" y="6820"/>
                  <a:pt x="5543" y="6737"/>
                  <a:pt x="5358" y="6635"/>
                </a:cubicBezTo>
                <a:lnTo>
                  <a:pt x="5244" y="6572"/>
                </a:lnTo>
                <a:lnTo>
                  <a:pt x="4574" y="6973"/>
                </a:lnTo>
                <a:lnTo>
                  <a:pt x="3865" y="6264"/>
                </a:lnTo>
                <a:lnTo>
                  <a:pt x="4266" y="5594"/>
                </a:lnTo>
                <a:lnTo>
                  <a:pt x="4203" y="5480"/>
                </a:lnTo>
                <a:cubicBezTo>
                  <a:pt x="4100" y="5294"/>
                  <a:pt x="4017" y="5092"/>
                  <a:pt x="3956" y="4881"/>
                </a:cubicBezTo>
                <a:lnTo>
                  <a:pt x="3920" y="4756"/>
                </a:lnTo>
                <a:lnTo>
                  <a:pt x="3161" y="4565"/>
                </a:lnTo>
                <a:lnTo>
                  <a:pt x="3161" y="3563"/>
                </a:lnTo>
                <a:lnTo>
                  <a:pt x="3920" y="3372"/>
                </a:lnTo>
                <a:lnTo>
                  <a:pt x="3956" y="3247"/>
                </a:lnTo>
                <a:cubicBezTo>
                  <a:pt x="4017" y="3036"/>
                  <a:pt x="4100" y="2834"/>
                  <a:pt x="4203" y="2648"/>
                </a:cubicBezTo>
                <a:lnTo>
                  <a:pt x="4266" y="2534"/>
                </a:lnTo>
                <a:lnTo>
                  <a:pt x="3865" y="1864"/>
                </a:lnTo>
                <a:lnTo>
                  <a:pt x="4574" y="1155"/>
                </a:lnTo>
                <a:lnTo>
                  <a:pt x="5244" y="1556"/>
                </a:lnTo>
                <a:lnTo>
                  <a:pt x="5358" y="1493"/>
                </a:lnTo>
                <a:cubicBezTo>
                  <a:pt x="5543" y="1391"/>
                  <a:pt x="5745" y="1308"/>
                  <a:pt x="5957" y="1246"/>
                </a:cubicBezTo>
                <a:lnTo>
                  <a:pt x="6082" y="1210"/>
                </a:lnTo>
                <a:lnTo>
                  <a:pt x="6272" y="452"/>
                </a:lnTo>
                <a:lnTo>
                  <a:pt x="7275" y="452"/>
                </a:lnTo>
                <a:lnTo>
                  <a:pt x="7466" y="1210"/>
                </a:lnTo>
                <a:lnTo>
                  <a:pt x="7590" y="1247"/>
                </a:lnTo>
                <a:cubicBezTo>
                  <a:pt x="7802" y="1308"/>
                  <a:pt x="8004" y="1391"/>
                  <a:pt x="8189" y="1493"/>
                </a:cubicBezTo>
                <a:lnTo>
                  <a:pt x="8303" y="1556"/>
                </a:lnTo>
                <a:lnTo>
                  <a:pt x="8973" y="1155"/>
                </a:lnTo>
                <a:lnTo>
                  <a:pt x="9682" y="1864"/>
                </a:lnTo>
                <a:lnTo>
                  <a:pt x="9281" y="2534"/>
                </a:lnTo>
                <a:lnTo>
                  <a:pt x="9344" y="2648"/>
                </a:lnTo>
                <a:cubicBezTo>
                  <a:pt x="9447" y="2834"/>
                  <a:pt x="9530" y="3036"/>
                  <a:pt x="9591" y="3247"/>
                </a:cubicBezTo>
                <a:lnTo>
                  <a:pt x="9627" y="3372"/>
                </a:lnTo>
                <a:lnTo>
                  <a:pt x="10386" y="3563"/>
                </a:lnTo>
                <a:lnTo>
                  <a:pt x="10386" y="456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29" name="Freeform 34"/>
          <p:cNvSpPr>
            <a:spLocks noEditPoints="1"/>
          </p:cNvSpPr>
          <p:nvPr/>
        </p:nvSpPr>
        <p:spPr bwMode="auto">
          <a:xfrm>
            <a:off x="9600881" y="5263461"/>
            <a:ext cx="472315" cy="471122"/>
          </a:xfrm>
          <a:custGeom>
            <a:avLst/>
            <a:gdLst>
              <a:gd name="T0" fmla="*/ 2030 w 13992"/>
              <a:gd name="T1" fmla="*/ 2031 h 13998"/>
              <a:gd name="T2" fmla="*/ 1710 w 13992"/>
              <a:gd name="T3" fmla="*/ 1712 h 13998"/>
              <a:gd name="T4" fmla="*/ 3455 w 13992"/>
              <a:gd name="T5" fmla="*/ 7172 h 13998"/>
              <a:gd name="T6" fmla="*/ 8122 w 13992"/>
              <a:gd name="T7" fmla="*/ 3161 h 13998"/>
              <a:gd name="T8" fmla="*/ 8122 w 13992"/>
              <a:gd name="T9" fmla="*/ 3613 h 13998"/>
              <a:gd name="T10" fmla="*/ 11734 w 13992"/>
              <a:gd name="T11" fmla="*/ 3161 h 13998"/>
              <a:gd name="T12" fmla="*/ 11283 w 13992"/>
              <a:gd name="T13" fmla="*/ 3161 h 13998"/>
              <a:gd name="T14" fmla="*/ 9928 w 13992"/>
              <a:gd name="T15" fmla="*/ 2258 h 13998"/>
              <a:gd name="T16" fmla="*/ 10154 w 13992"/>
              <a:gd name="T17" fmla="*/ 1838 h 13998"/>
              <a:gd name="T18" fmla="*/ 9702 w 13992"/>
              <a:gd name="T19" fmla="*/ 1838 h 13998"/>
              <a:gd name="T20" fmla="*/ 10380 w 13992"/>
              <a:gd name="T21" fmla="*/ 4064 h 13998"/>
              <a:gd name="T22" fmla="*/ 9025 w 13992"/>
              <a:gd name="T23" fmla="*/ 4064 h 13998"/>
              <a:gd name="T24" fmla="*/ 10154 w 13992"/>
              <a:gd name="T25" fmla="*/ 5419 h 13998"/>
              <a:gd name="T26" fmla="*/ 9928 w 13992"/>
              <a:gd name="T27" fmla="*/ 3161 h 13998"/>
              <a:gd name="T28" fmla="*/ 9928 w 13992"/>
              <a:gd name="T29" fmla="*/ 11063 h 13998"/>
              <a:gd name="T30" fmla="*/ 9928 w 13992"/>
              <a:gd name="T31" fmla="*/ 9257 h 13998"/>
              <a:gd name="T32" fmla="*/ 9928 w 13992"/>
              <a:gd name="T33" fmla="*/ 8806 h 13998"/>
              <a:gd name="T34" fmla="*/ 9928 w 13992"/>
              <a:gd name="T35" fmla="*/ 12418 h 13998"/>
              <a:gd name="T36" fmla="*/ 9928 w 13992"/>
              <a:gd name="T37" fmla="*/ 11966 h 13998"/>
              <a:gd name="T38" fmla="*/ 11960 w 13992"/>
              <a:gd name="T39" fmla="*/ 9934 h 13998"/>
              <a:gd name="T40" fmla="*/ 13992 w 13992"/>
              <a:gd name="T41" fmla="*/ 9081 h 13998"/>
              <a:gd name="T42" fmla="*/ 13405 w 13992"/>
              <a:gd name="T43" fmla="*/ 7664 h 13998"/>
              <a:gd name="T44" fmla="*/ 13554 w 13992"/>
              <a:gd name="T45" fmla="*/ 3657 h 13998"/>
              <a:gd name="T46" fmla="*/ 6780 w 13992"/>
              <a:gd name="T47" fmla="*/ 1506 h 13998"/>
              <a:gd name="T48" fmla="*/ 3660 w 13992"/>
              <a:gd name="T49" fmla="*/ 0 h 13998"/>
              <a:gd name="T50" fmla="*/ 1219 w 13992"/>
              <a:gd name="T51" fmla="*/ 6380 h 13998"/>
              <a:gd name="T52" fmla="*/ 6715 w 13992"/>
              <a:gd name="T53" fmla="*/ 11002 h 13998"/>
              <a:gd name="T54" fmla="*/ 7658 w 13992"/>
              <a:gd name="T55" fmla="*/ 13412 h 13998"/>
              <a:gd name="T56" fmla="*/ 9075 w 13992"/>
              <a:gd name="T57" fmla="*/ 13998 h 13998"/>
              <a:gd name="T58" fmla="*/ 11446 w 13992"/>
              <a:gd name="T59" fmla="*/ 12962 h 13998"/>
              <a:gd name="T60" fmla="*/ 12955 w 13992"/>
              <a:gd name="T61" fmla="*/ 11452 h 13998"/>
              <a:gd name="T62" fmla="*/ 5864 w 13992"/>
              <a:gd name="T63" fmla="*/ 9939 h 13998"/>
              <a:gd name="T64" fmla="*/ 1391 w 13992"/>
              <a:gd name="T65" fmla="*/ 1394 h 13998"/>
              <a:gd name="T66" fmla="*/ 5796 w 13992"/>
              <a:gd name="T67" fmla="*/ 1245 h 13998"/>
              <a:gd name="T68" fmla="*/ 9897 w 13992"/>
              <a:gd name="T69" fmla="*/ 452 h 13998"/>
              <a:gd name="T70" fmla="*/ 11200 w 13992"/>
              <a:gd name="T71" fmla="*/ 6798 h 13998"/>
              <a:gd name="T72" fmla="*/ 9075 w 13992"/>
              <a:gd name="T73" fmla="*/ 5870 h 13998"/>
              <a:gd name="T74" fmla="*/ 7658 w 13992"/>
              <a:gd name="T75" fmla="*/ 6457 h 13998"/>
              <a:gd name="T76" fmla="*/ 6716 w 13992"/>
              <a:gd name="T77" fmla="*/ 8867 h 13998"/>
              <a:gd name="T78" fmla="*/ 12837 w 13992"/>
              <a:gd name="T79" fmla="*/ 12134 h 13998"/>
              <a:gd name="T80" fmla="*/ 11344 w 13992"/>
              <a:gd name="T81" fmla="*/ 12505 h 13998"/>
              <a:gd name="T82" fmla="*/ 10429 w 13992"/>
              <a:gd name="T83" fmla="*/ 13547 h 13998"/>
              <a:gd name="T84" fmla="*/ 9111 w 13992"/>
              <a:gd name="T85" fmla="*/ 12752 h 13998"/>
              <a:gd name="T86" fmla="*/ 7728 w 13992"/>
              <a:gd name="T87" fmla="*/ 12843 h 13998"/>
              <a:gd name="T88" fmla="*/ 7358 w 13992"/>
              <a:gd name="T89" fmla="*/ 11350 h 13998"/>
              <a:gd name="T90" fmla="*/ 6316 w 13992"/>
              <a:gd name="T91" fmla="*/ 10436 h 13998"/>
              <a:gd name="T92" fmla="*/ 7111 w 13992"/>
              <a:gd name="T93" fmla="*/ 9117 h 13998"/>
              <a:gd name="T94" fmla="*/ 7019 w 13992"/>
              <a:gd name="T95" fmla="*/ 7734 h 13998"/>
              <a:gd name="T96" fmla="*/ 8512 w 13992"/>
              <a:gd name="T97" fmla="*/ 7363 h 13998"/>
              <a:gd name="T98" fmla="*/ 9427 w 13992"/>
              <a:gd name="T99" fmla="*/ 6322 h 13998"/>
              <a:gd name="T100" fmla="*/ 10745 w 13992"/>
              <a:gd name="T101" fmla="*/ 7117 h 13998"/>
              <a:gd name="T102" fmla="*/ 12128 w 13992"/>
              <a:gd name="T103" fmla="*/ 7025 h 13998"/>
              <a:gd name="T104" fmla="*/ 12498 w 13992"/>
              <a:gd name="T105" fmla="*/ 8518 h 13998"/>
              <a:gd name="T106" fmla="*/ 13540 w 13992"/>
              <a:gd name="T107" fmla="*/ 9433 h 13998"/>
              <a:gd name="T108" fmla="*/ 12745 w 13992"/>
              <a:gd name="T109" fmla="*/ 10751 h 13998"/>
              <a:gd name="T110" fmla="*/ 12837 w 13992"/>
              <a:gd name="T111" fmla="*/ 12134 h 13998"/>
              <a:gd name="T112" fmla="*/ 3212 w 13992"/>
              <a:gd name="T113" fmla="*/ 1398 h 13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92" h="13998">
                <a:moveTo>
                  <a:pt x="2123" y="5372"/>
                </a:moveTo>
                <a:cubicBezTo>
                  <a:pt x="1639" y="4937"/>
                  <a:pt x="1360" y="4314"/>
                  <a:pt x="1358" y="3663"/>
                </a:cubicBezTo>
                <a:cubicBezTo>
                  <a:pt x="1356" y="3047"/>
                  <a:pt x="1595" y="2468"/>
                  <a:pt x="2030" y="2031"/>
                </a:cubicBezTo>
                <a:cubicBezTo>
                  <a:pt x="2263" y="1798"/>
                  <a:pt x="2535" y="1621"/>
                  <a:pt x="2838" y="1505"/>
                </a:cubicBezTo>
                <a:lnTo>
                  <a:pt x="2677" y="1083"/>
                </a:lnTo>
                <a:cubicBezTo>
                  <a:pt x="2314" y="1222"/>
                  <a:pt x="1988" y="1434"/>
                  <a:pt x="1710" y="1712"/>
                </a:cubicBezTo>
                <a:cubicBezTo>
                  <a:pt x="1190" y="2234"/>
                  <a:pt x="904" y="2927"/>
                  <a:pt x="906" y="3664"/>
                </a:cubicBezTo>
                <a:cubicBezTo>
                  <a:pt x="908" y="4443"/>
                  <a:pt x="1242" y="5188"/>
                  <a:pt x="1822" y="5708"/>
                </a:cubicBezTo>
                <a:lnTo>
                  <a:pt x="3455" y="7172"/>
                </a:lnTo>
                <a:lnTo>
                  <a:pt x="3757" y="6836"/>
                </a:lnTo>
                <a:lnTo>
                  <a:pt x="2123" y="5372"/>
                </a:lnTo>
                <a:close/>
                <a:moveTo>
                  <a:pt x="8122" y="3161"/>
                </a:moveTo>
                <a:lnTo>
                  <a:pt x="8573" y="3161"/>
                </a:lnTo>
                <a:lnTo>
                  <a:pt x="8573" y="3613"/>
                </a:lnTo>
                <a:lnTo>
                  <a:pt x="8122" y="3613"/>
                </a:lnTo>
                <a:lnTo>
                  <a:pt x="8122" y="3161"/>
                </a:lnTo>
                <a:close/>
                <a:moveTo>
                  <a:pt x="11283" y="3161"/>
                </a:moveTo>
                <a:lnTo>
                  <a:pt x="11734" y="3161"/>
                </a:lnTo>
                <a:lnTo>
                  <a:pt x="11734" y="3613"/>
                </a:lnTo>
                <a:lnTo>
                  <a:pt x="11283" y="3613"/>
                </a:lnTo>
                <a:lnTo>
                  <a:pt x="11283" y="3161"/>
                </a:lnTo>
                <a:close/>
                <a:moveTo>
                  <a:pt x="9928" y="3161"/>
                </a:moveTo>
                <a:cubicBezTo>
                  <a:pt x="9679" y="3161"/>
                  <a:pt x="9476" y="2958"/>
                  <a:pt x="9476" y="2709"/>
                </a:cubicBezTo>
                <a:cubicBezTo>
                  <a:pt x="9476" y="2460"/>
                  <a:pt x="9679" y="2258"/>
                  <a:pt x="9928" y="2258"/>
                </a:cubicBezTo>
                <a:cubicBezTo>
                  <a:pt x="10177" y="2258"/>
                  <a:pt x="10380" y="2460"/>
                  <a:pt x="10380" y="2709"/>
                </a:cubicBezTo>
                <a:lnTo>
                  <a:pt x="10831" y="2709"/>
                </a:lnTo>
                <a:cubicBezTo>
                  <a:pt x="10831" y="2290"/>
                  <a:pt x="10542" y="1939"/>
                  <a:pt x="10154" y="1838"/>
                </a:cubicBezTo>
                <a:lnTo>
                  <a:pt x="10154" y="1355"/>
                </a:lnTo>
                <a:lnTo>
                  <a:pt x="9702" y="1355"/>
                </a:lnTo>
                <a:lnTo>
                  <a:pt x="9702" y="1838"/>
                </a:lnTo>
                <a:cubicBezTo>
                  <a:pt x="9314" y="1939"/>
                  <a:pt x="9025" y="2290"/>
                  <a:pt x="9025" y="2709"/>
                </a:cubicBezTo>
                <a:cubicBezTo>
                  <a:pt x="9025" y="3207"/>
                  <a:pt x="9430" y="3612"/>
                  <a:pt x="9928" y="3612"/>
                </a:cubicBezTo>
                <a:cubicBezTo>
                  <a:pt x="10177" y="3612"/>
                  <a:pt x="10380" y="3815"/>
                  <a:pt x="10380" y="4064"/>
                </a:cubicBezTo>
                <a:cubicBezTo>
                  <a:pt x="10380" y="4313"/>
                  <a:pt x="10177" y="4516"/>
                  <a:pt x="9928" y="4516"/>
                </a:cubicBezTo>
                <a:cubicBezTo>
                  <a:pt x="9679" y="4516"/>
                  <a:pt x="9476" y="4313"/>
                  <a:pt x="9476" y="4064"/>
                </a:cubicBezTo>
                <a:lnTo>
                  <a:pt x="9025" y="4064"/>
                </a:lnTo>
                <a:cubicBezTo>
                  <a:pt x="9025" y="4484"/>
                  <a:pt x="9314" y="4834"/>
                  <a:pt x="9702" y="4935"/>
                </a:cubicBezTo>
                <a:lnTo>
                  <a:pt x="9702" y="5419"/>
                </a:lnTo>
                <a:lnTo>
                  <a:pt x="10154" y="5419"/>
                </a:lnTo>
                <a:lnTo>
                  <a:pt x="10154" y="4935"/>
                </a:lnTo>
                <a:cubicBezTo>
                  <a:pt x="10542" y="4834"/>
                  <a:pt x="10831" y="4484"/>
                  <a:pt x="10831" y="4064"/>
                </a:cubicBezTo>
                <a:cubicBezTo>
                  <a:pt x="10831" y="3566"/>
                  <a:pt x="10426" y="3161"/>
                  <a:pt x="9928" y="3161"/>
                </a:cubicBezTo>
                <a:close/>
                <a:moveTo>
                  <a:pt x="9928" y="8806"/>
                </a:moveTo>
                <a:cubicBezTo>
                  <a:pt x="9306" y="8806"/>
                  <a:pt x="8799" y="9312"/>
                  <a:pt x="8799" y="9934"/>
                </a:cubicBezTo>
                <a:cubicBezTo>
                  <a:pt x="8799" y="10557"/>
                  <a:pt x="9306" y="11063"/>
                  <a:pt x="9928" y="11063"/>
                </a:cubicBezTo>
                <a:lnTo>
                  <a:pt x="9928" y="10612"/>
                </a:lnTo>
                <a:cubicBezTo>
                  <a:pt x="9555" y="10612"/>
                  <a:pt x="9251" y="10308"/>
                  <a:pt x="9251" y="9934"/>
                </a:cubicBezTo>
                <a:cubicBezTo>
                  <a:pt x="9251" y="9561"/>
                  <a:pt x="9555" y="9257"/>
                  <a:pt x="9928" y="9257"/>
                </a:cubicBezTo>
                <a:cubicBezTo>
                  <a:pt x="10301" y="9257"/>
                  <a:pt x="10605" y="9561"/>
                  <a:pt x="10605" y="9934"/>
                </a:cubicBezTo>
                <a:lnTo>
                  <a:pt x="11057" y="9934"/>
                </a:lnTo>
                <a:cubicBezTo>
                  <a:pt x="11057" y="9312"/>
                  <a:pt x="10550" y="8806"/>
                  <a:pt x="9928" y="8806"/>
                </a:cubicBezTo>
                <a:close/>
                <a:moveTo>
                  <a:pt x="9928" y="7451"/>
                </a:moveTo>
                <a:cubicBezTo>
                  <a:pt x="8559" y="7451"/>
                  <a:pt x="7445" y="8565"/>
                  <a:pt x="7445" y="9934"/>
                </a:cubicBezTo>
                <a:cubicBezTo>
                  <a:pt x="7445" y="11304"/>
                  <a:pt x="8559" y="12418"/>
                  <a:pt x="9928" y="12418"/>
                </a:cubicBezTo>
                <a:cubicBezTo>
                  <a:pt x="11297" y="12418"/>
                  <a:pt x="12412" y="11304"/>
                  <a:pt x="12412" y="9934"/>
                </a:cubicBezTo>
                <a:cubicBezTo>
                  <a:pt x="12412" y="8565"/>
                  <a:pt x="11297" y="7451"/>
                  <a:pt x="9928" y="7451"/>
                </a:cubicBezTo>
                <a:close/>
                <a:moveTo>
                  <a:pt x="9928" y="11966"/>
                </a:moveTo>
                <a:cubicBezTo>
                  <a:pt x="8808" y="11966"/>
                  <a:pt x="7896" y="11055"/>
                  <a:pt x="7896" y="9934"/>
                </a:cubicBezTo>
                <a:cubicBezTo>
                  <a:pt x="7896" y="8814"/>
                  <a:pt x="8808" y="7902"/>
                  <a:pt x="9928" y="7902"/>
                </a:cubicBezTo>
                <a:cubicBezTo>
                  <a:pt x="11048" y="7902"/>
                  <a:pt x="11960" y="8814"/>
                  <a:pt x="11960" y="9934"/>
                </a:cubicBezTo>
                <a:cubicBezTo>
                  <a:pt x="11960" y="11055"/>
                  <a:pt x="11048" y="11966"/>
                  <a:pt x="9928" y="11966"/>
                </a:cubicBezTo>
                <a:close/>
                <a:moveTo>
                  <a:pt x="13992" y="10788"/>
                </a:moveTo>
                <a:lnTo>
                  <a:pt x="13992" y="9081"/>
                </a:lnTo>
                <a:lnTo>
                  <a:pt x="13141" y="8867"/>
                </a:lnTo>
                <a:cubicBezTo>
                  <a:pt x="13089" y="8711"/>
                  <a:pt x="13027" y="8561"/>
                  <a:pt x="12955" y="8417"/>
                </a:cubicBezTo>
                <a:lnTo>
                  <a:pt x="13405" y="7664"/>
                </a:lnTo>
                <a:lnTo>
                  <a:pt x="12226" y="6485"/>
                </a:lnTo>
                <a:lnTo>
                  <a:pt x="12338" y="6384"/>
                </a:lnTo>
                <a:cubicBezTo>
                  <a:pt x="13111" y="5691"/>
                  <a:pt x="13554" y="4699"/>
                  <a:pt x="13554" y="3657"/>
                </a:cubicBezTo>
                <a:cubicBezTo>
                  <a:pt x="13554" y="1641"/>
                  <a:pt x="11913" y="0"/>
                  <a:pt x="9876" y="0"/>
                </a:cubicBezTo>
                <a:cubicBezTo>
                  <a:pt x="8990" y="0"/>
                  <a:pt x="8135" y="322"/>
                  <a:pt x="7468" y="905"/>
                </a:cubicBezTo>
                <a:lnTo>
                  <a:pt x="6780" y="1506"/>
                </a:lnTo>
                <a:lnTo>
                  <a:pt x="6093" y="905"/>
                </a:lnTo>
                <a:cubicBezTo>
                  <a:pt x="5427" y="322"/>
                  <a:pt x="4571" y="0"/>
                  <a:pt x="3685" y="0"/>
                </a:cubicBezTo>
                <a:lnTo>
                  <a:pt x="3660" y="0"/>
                </a:lnTo>
                <a:cubicBezTo>
                  <a:pt x="2681" y="0"/>
                  <a:pt x="1762" y="382"/>
                  <a:pt x="1071" y="1075"/>
                </a:cubicBezTo>
                <a:cubicBezTo>
                  <a:pt x="379" y="1768"/>
                  <a:pt x="0" y="2688"/>
                  <a:pt x="3" y="3667"/>
                </a:cubicBezTo>
                <a:cubicBezTo>
                  <a:pt x="6" y="4701"/>
                  <a:pt x="449" y="5690"/>
                  <a:pt x="1219" y="6380"/>
                </a:cubicBezTo>
                <a:lnTo>
                  <a:pt x="5864" y="10545"/>
                </a:lnTo>
                <a:lnTo>
                  <a:pt x="5864" y="10788"/>
                </a:lnTo>
                <a:lnTo>
                  <a:pt x="6715" y="11002"/>
                </a:lnTo>
                <a:cubicBezTo>
                  <a:pt x="6767" y="11157"/>
                  <a:pt x="6829" y="11308"/>
                  <a:pt x="6901" y="11452"/>
                </a:cubicBezTo>
                <a:lnTo>
                  <a:pt x="6451" y="12205"/>
                </a:lnTo>
                <a:lnTo>
                  <a:pt x="7658" y="13412"/>
                </a:lnTo>
                <a:lnTo>
                  <a:pt x="8410" y="12962"/>
                </a:lnTo>
                <a:cubicBezTo>
                  <a:pt x="8554" y="13033"/>
                  <a:pt x="8705" y="13095"/>
                  <a:pt x="8861" y="13147"/>
                </a:cubicBezTo>
                <a:lnTo>
                  <a:pt x="9075" y="13998"/>
                </a:lnTo>
                <a:lnTo>
                  <a:pt x="10781" y="13998"/>
                </a:lnTo>
                <a:lnTo>
                  <a:pt x="10995" y="13147"/>
                </a:lnTo>
                <a:cubicBezTo>
                  <a:pt x="11151" y="13095"/>
                  <a:pt x="11302" y="13033"/>
                  <a:pt x="11446" y="12962"/>
                </a:cubicBezTo>
                <a:lnTo>
                  <a:pt x="12198" y="13412"/>
                </a:lnTo>
                <a:lnTo>
                  <a:pt x="13405" y="12205"/>
                </a:lnTo>
                <a:lnTo>
                  <a:pt x="12955" y="11452"/>
                </a:lnTo>
                <a:cubicBezTo>
                  <a:pt x="13027" y="11308"/>
                  <a:pt x="13089" y="11158"/>
                  <a:pt x="13141" y="11002"/>
                </a:cubicBezTo>
                <a:lnTo>
                  <a:pt x="13992" y="10788"/>
                </a:lnTo>
                <a:close/>
                <a:moveTo>
                  <a:pt x="5864" y="9939"/>
                </a:moveTo>
                <a:lnTo>
                  <a:pt x="1520" y="6044"/>
                </a:lnTo>
                <a:cubicBezTo>
                  <a:pt x="845" y="5439"/>
                  <a:pt x="457" y="4572"/>
                  <a:pt x="455" y="3666"/>
                </a:cubicBezTo>
                <a:cubicBezTo>
                  <a:pt x="452" y="2808"/>
                  <a:pt x="784" y="2001"/>
                  <a:pt x="1391" y="1394"/>
                </a:cubicBezTo>
                <a:cubicBezTo>
                  <a:pt x="1996" y="787"/>
                  <a:pt x="2802" y="452"/>
                  <a:pt x="3660" y="452"/>
                </a:cubicBezTo>
                <a:lnTo>
                  <a:pt x="3685" y="452"/>
                </a:lnTo>
                <a:cubicBezTo>
                  <a:pt x="4462" y="452"/>
                  <a:pt x="5212" y="734"/>
                  <a:pt x="5796" y="1245"/>
                </a:cubicBezTo>
                <a:lnTo>
                  <a:pt x="6781" y="2106"/>
                </a:lnTo>
                <a:lnTo>
                  <a:pt x="7765" y="1245"/>
                </a:lnTo>
                <a:cubicBezTo>
                  <a:pt x="8349" y="734"/>
                  <a:pt x="9099" y="452"/>
                  <a:pt x="9897" y="452"/>
                </a:cubicBezTo>
                <a:cubicBezTo>
                  <a:pt x="11664" y="452"/>
                  <a:pt x="13102" y="1890"/>
                  <a:pt x="13102" y="3661"/>
                </a:cubicBezTo>
                <a:cubicBezTo>
                  <a:pt x="13102" y="4571"/>
                  <a:pt x="12714" y="5440"/>
                  <a:pt x="12037" y="6048"/>
                </a:cubicBezTo>
                <a:lnTo>
                  <a:pt x="11200" y="6798"/>
                </a:lnTo>
                <a:cubicBezTo>
                  <a:pt x="11133" y="6771"/>
                  <a:pt x="11065" y="6745"/>
                  <a:pt x="10995" y="6722"/>
                </a:cubicBezTo>
                <a:lnTo>
                  <a:pt x="10781" y="5870"/>
                </a:lnTo>
                <a:lnTo>
                  <a:pt x="9075" y="5870"/>
                </a:lnTo>
                <a:lnTo>
                  <a:pt x="8861" y="6722"/>
                </a:lnTo>
                <a:cubicBezTo>
                  <a:pt x="8705" y="6773"/>
                  <a:pt x="8554" y="6835"/>
                  <a:pt x="8410" y="6907"/>
                </a:cubicBezTo>
                <a:lnTo>
                  <a:pt x="7658" y="6457"/>
                </a:lnTo>
                <a:lnTo>
                  <a:pt x="6451" y="7664"/>
                </a:lnTo>
                <a:lnTo>
                  <a:pt x="6901" y="8416"/>
                </a:lnTo>
                <a:cubicBezTo>
                  <a:pt x="6829" y="8560"/>
                  <a:pt x="6767" y="8711"/>
                  <a:pt x="6716" y="8867"/>
                </a:cubicBezTo>
                <a:lnTo>
                  <a:pt x="5864" y="9081"/>
                </a:lnTo>
                <a:lnTo>
                  <a:pt x="5864" y="9939"/>
                </a:lnTo>
                <a:close/>
                <a:moveTo>
                  <a:pt x="12837" y="12134"/>
                </a:moveTo>
                <a:lnTo>
                  <a:pt x="12128" y="12843"/>
                </a:lnTo>
                <a:lnTo>
                  <a:pt x="11458" y="12442"/>
                </a:lnTo>
                <a:lnTo>
                  <a:pt x="11344" y="12505"/>
                </a:lnTo>
                <a:cubicBezTo>
                  <a:pt x="11158" y="12608"/>
                  <a:pt x="10956" y="12691"/>
                  <a:pt x="10745" y="12752"/>
                </a:cubicBezTo>
                <a:lnTo>
                  <a:pt x="10620" y="12788"/>
                </a:lnTo>
                <a:lnTo>
                  <a:pt x="10429" y="13547"/>
                </a:lnTo>
                <a:lnTo>
                  <a:pt x="9427" y="13547"/>
                </a:lnTo>
                <a:lnTo>
                  <a:pt x="9236" y="12788"/>
                </a:lnTo>
                <a:lnTo>
                  <a:pt x="9111" y="12752"/>
                </a:lnTo>
                <a:cubicBezTo>
                  <a:pt x="8900" y="12691"/>
                  <a:pt x="8698" y="12608"/>
                  <a:pt x="8512" y="12505"/>
                </a:cubicBezTo>
                <a:lnTo>
                  <a:pt x="8399" y="12442"/>
                </a:lnTo>
                <a:lnTo>
                  <a:pt x="7728" y="12843"/>
                </a:lnTo>
                <a:lnTo>
                  <a:pt x="7019" y="12134"/>
                </a:lnTo>
                <a:lnTo>
                  <a:pt x="7420" y="11464"/>
                </a:lnTo>
                <a:lnTo>
                  <a:pt x="7358" y="11350"/>
                </a:lnTo>
                <a:cubicBezTo>
                  <a:pt x="7255" y="11164"/>
                  <a:pt x="7172" y="10962"/>
                  <a:pt x="7111" y="10751"/>
                </a:cubicBezTo>
                <a:lnTo>
                  <a:pt x="7075" y="10626"/>
                </a:lnTo>
                <a:lnTo>
                  <a:pt x="6316" y="10436"/>
                </a:lnTo>
                <a:lnTo>
                  <a:pt x="6316" y="9433"/>
                </a:lnTo>
                <a:lnTo>
                  <a:pt x="7075" y="9242"/>
                </a:lnTo>
                <a:lnTo>
                  <a:pt x="7111" y="9117"/>
                </a:lnTo>
                <a:cubicBezTo>
                  <a:pt x="7172" y="8906"/>
                  <a:pt x="7255" y="8704"/>
                  <a:pt x="7358" y="8518"/>
                </a:cubicBezTo>
                <a:lnTo>
                  <a:pt x="7420" y="8404"/>
                </a:lnTo>
                <a:lnTo>
                  <a:pt x="7019" y="7734"/>
                </a:lnTo>
                <a:lnTo>
                  <a:pt x="7728" y="7025"/>
                </a:lnTo>
                <a:lnTo>
                  <a:pt x="8399" y="7426"/>
                </a:lnTo>
                <a:lnTo>
                  <a:pt x="8512" y="7363"/>
                </a:lnTo>
                <a:cubicBezTo>
                  <a:pt x="8698" y="7261"/>
                  <a:pt x="8900" y="7178"/>
                  <a:pt x="9111" y="7117"/>
                </a:cubicBezTo>
                <a:lnTo>
                  <a:pt x="9236" y="7080"/>
                </a:lnTo>
                <a:lnTo>
                  <a:pt x="9427" y="6322"/>
                </a:lnTo>
                <a:lnTo>
                  <a:pt x="10429" y="6322"/>
                </a:lnTo>
                <a:lnTo>
                  <a:pt x="10620" y="7081"/>
                </a:lnTo>
                <a:lnTo>
                  <a:pt x="10745" y="7117"/>
                </a:lnTo>
                <a:cubicBezTo>
                  <a:pt x="10956" y="7178"/>
                  <a:pt x="11158" y="7261"/>
                  <a:pt x="11344" y="7364"/>
                </a:cubicBezTo>
                <a:lnTo>
                  <a:pt x="11458" y="7426"/>
                </a:lnTo>
                <a:lnTo>
                  <a:pt x="12128" y="7025"/>
                </a:lnTo>
                <a:lnTo>
                  <a:pt x="12837" y="7734"/>
                </a:lnTo>
                <a:lnTo>
                  <a:pt x="12436" y="8405"/>
                </a:lnTo>
                <a:lnTo>
                  <a:pt x="12498" y="8518"/>
                </a:lnTo>
                <a:cubicBezTo>
                  <a:pt x="12601" y="8704"/>
                  <a:pt x="12684" y="8906"/>
                  <a:pt x="12745" y="9118"/>
                </a:cubicBezTo>
                <a:lnTo>
                  <a:pt x="12781" y="9243"/>
                </a:lnTo>
                <a:lnTo>
                  <a:pt x="13540" y="9433"/>
                </a:lnTo>
                <a:lnTo>
                  <a:pt x="13540" y="10435"/>
                </a:lnTo>
                <a:lnTo>
                  <a:pt x="12781" y="10626"/>
                </a:lnTo>
                <a:lnTo>
                  <a:pt x="12745" y="10751"/>
                </a:lnTo>
                <a:cubicBezTo>
                  <a:pt x="12684" y="10963"/>
                  <a:pt x="12601" y="11164"/>
                  <a:pt x="12498" y="11350"/>
                </a:cubicBezTo>
                <a:lnTo>
                  <a:pt x="12436" y="11464"/>
                </a:lnTo>
                <a:lnTo>
                  <a:pt x="12837" y="12134"/>
                </a:lnTo>
                <a:close/>
                <a:moveTo>
                  <a:pt x="3602" y="904"/>
                </a:moveTo>
                <a:cubicBezTo>
                  <a:pt x="3442" y="907"/>
                  <a:pt x="3282" y="924"/>
                  <a:pt x="3126" y="955"/>
                </a:cubicBezTo>
                <a:lnTo>
                  <a:pt x="3212" y="1398"/>
                </a:lnTo>
                <a:cubicBezTo>
                  <a:pt x="3343" y="1372"/>
                  <a:pt x="3477" y="1358"/>
                  <a:pt x="3611" y="1355"/>
                </a:cubicBezTo>
                <a:lnTo>
                  <a:pt x="3602" y="9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336242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EBC1A8D-E693-4704-8E11-5AAB4B40BAEF}"/>
              </a:ext>
            </a:extLst>
          </p:cNvPr>
          <p:cNvSpPr>
            <a:spLocks noGrp="1"/>
          </p:cNvSpPr>
          <p:nvPr>
            <p:ph type="ctrTitle"/>
          </p:nvPr>
        </p:nvSpPr>
        <p:spPr/>
        <p:txBody>
          <a:bodyPr/>
          <a:lstStyle/>
          <a:p>
            <a:r>
              <a:rPr lang="en-US" dirty="0"/>
              <a:t>Startup Policies</a:t>
            </a:r>
            <a:endParaRPr lang="ru-RU" dirty="0"/>
          </a:p>
        </p:txBody>
      </p:sp>
      <p:sp>
        <p:nvSpPr>
          <p:cNvPr id="5" name="Subtitle 4">
            <a:extLst>
              <a:ext uri="{FF2B5EF4-FFF2-40B4-BE49-F238E27FC236}">
                <a16:creationId xmlns:a16="http://schemas.microsoft.com/office/drawing/2014/main" id="{18F92ECC-81D7-46DF-AF27-3388655CE442}"/>
              </a:ext>
            </a:extLst>
          </p:cNvPr>
          <p:cNvSpPr>
            <a:spLocks noGrp="1"/>
          </p:cNvSpPr>
          <p:nvPr>
            <p:ph type="subTitle" idx="1"/>
          </p:nvPr>
        </p:nvSpPr>
        <p:spPr/>
        <p:txBody>
          <a:bodyPr/>
          <a:lstStyle/>
          <a:p>
            <a:r>
              <a:rPr lang="en-US" dirty="0"/>
              <a:t>By, State &amp; Central Government</a:t>
            </a:r>
            <a:endParaRPr lang="ru-RU" dirty="0"/>
          </a:p>
        </p:txBody>
      </p:sp>
      <p:pic>
        <p:nvPicPr>
          <p:cNvPr id="10" name="Picture Placeholder 9">
            <a:extLst>
              <a:ext uri="{FF2B5EF4-FFF2-40B4-BE49-F238E27FC236}">
                <a16:creationId xmlns:a16="http://schemas.microsoft.com/office/drawing/2014/main" id="{262D17B0-1557-47A2-A8D6-91730FF9DB5D}"/>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70" t="45643" r="70" b="24197"/>
          <a:stretch/>
        </p:blipFill>
        <p:spPr>
          <a:xfrm>
            <a:off x="912412" y="2373273"/>
            <a:ext cx="11271651" cy="2763270"/>
          </a:xfrm>
        </p:spPr>
      </p:pic>
      <p:sp>
        <p:nvSpPr>
          <p:cNvPr id="12" name="Slide Number Placeholder 11">
            <a:extLst>
              <a:ext uri="{FF2B5EF4-FFF2-40B4-BE49-F238E27FC236}">
                <a16:creationId xmlns:a16="http://schemas.microsoft.com/office/drawing/2014/main" id="{B5E4C005-CB50-4CBB-83F0-3393A7AC6211}"/>
              </a:ext>
            </a:extLst>
          </p:cNvPr>
          <p:cNvSpPr>
            <a:spLocks noGrp="1"/>
          </p:cNvSpPr>
          <p:nvPr>
            <p:ph type="sldNum" sz="quarter" idx="12"/>
          </p:nvPr>
        </p:nvSpPr>
        <p:spPr/>
        <p:txBody>
          <a:bodyPr/>
          <a:lstStyle/>
          <a:p>
            <a:fld id="{D495E168-DA5E-4888-8D8A-92B118324C14}" type="slidenum">
              <a:rPr lang="ru-RU" smtClean="0"/>
              <a:pPr/>
              <a:t>4</a:t>
            </a:fld>
            <a:endParaRPr lang="ru-RU" dirty="0"/>
          </a:p>
        </p:txBody>
      </p:sp>
    </p:spTree>
    <p:extLst>
      <p:ext uri="{BB962C8B-B14F-4D97-AF65-F5344CB8AC3E}">
        <p14:creationId xmlns:p14="http://schemas.microsoft.com/office/powerpoint/2010/main" val="22872118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3DC07A9-EF68-43A1-A0AA-BEEF4D3608C9}"/>
              </a:ext>
            </a:extLst>
          </p:cNvPr>
          <p:cNvSpPr/>
          <p:nvPr/>
        </p:nvSpPr>
        <p:spPr>
          <a:xfrm flipV="1">
            <a:off x="0" y="0"/>
            <a:ext cx="12192000" cy="6858000"/>
          </a:xfrm>
          <a:prstGeom prst="rect">
            <a:avLst/>
          </a:prstGeom>
          <a:gradFill>
            <a:gsLst>
              <a:gs pos="0">
                <a:srgbClr val="240067"/>
              </a:gs>
              <a:gs pos="91000">
                <a:srgbClr val="24003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lumMod val="95000"/>
                </a:schemeClr>
              </a:solidFill>
            </a:endParaRPr>
          </a:p>
        </p:txBody>
      </p:sp>
      <p:sp>
        <p:nvSpPr>
          <p:cNvPr id="62" name="Freeform: Shape 61">
            <a:extLst>
              <a:ext uri="{FF2B5EF4-FFF2-40B4-BE49-F238E27FC236}">
                <a16:creationId xmlns:a16="http://schemas.microsoft.com/office/drawing/2014/main" id="{3D6B6328-1A62-407B-8EAA-F9F5A43D6025}"/>
              </a:ext>
            </a:extLst>
          </p:cNvPr>
          <p:cNvSpPr/>
          <p:nvPr/>
        </p:nvSpPr>
        <p:spPr>
          <a:xfrm>
            <a:off x="1" y="0"/>
            <a:ext cx="12191999" cy="2010882"/>
          </a:xfrm>
          <a:custGeom>
            <a:avLst/>
            <a:gdLst>
              <a:gd name="connsiteX0" fmla="*/ 0 w 12191999"/>
              <a:gd name="connsiteY0" fmla="*/ 0 h 2010882"/>
              <a:gd name="connsiteX1" fmla="*/ 12191999 w 12191999"/>
              <a:gd name="connsiteY1" fmla="*/ 0 h 2010882"/>
              <a:gd name="connsiteX2" fmla="*/ 12191999 w 12191999"/>
              <a:gd name="connsiteY2" fmla="*/ 223204 h 2010882"/>
              <a:gd name="connsiteX3" fmla="*/ 12165349 w 12191999"/>
              <a:gd name="connsiteY3" fmla="*/ 253823 h 2010882"/>
              <a:gd name="connsiteX4" fmla="*/ 9129486 w 12191999"/>
              <a:gd name="connsiteY4" fmla="*/ 1988457 h 2010882"/>
              <a:gd name="connsiteX5" fmla="*/ 3657600 w 12191999"/>
              <a:gd name="connsiteY5" fmla="*/ 783771 h 2010882"/>
              <a:gd name="connsiteX6" fmla="*/ 303362 w 12191999"/>
              <a:gd name="connsiteY6" fmla="*/ 1690234 h 2010882"/>
              <a:gd name="connsiteX7" fmla="*/ 0 w 12191999"/>
              <a:gd name="connsiteY7" fmla="*/ 1842927 h 2010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2010882">
                <a:moveTo>
                  <a:pt x="0" y="0"/>
                </a:moveTo>
                <a:lnTo>
                  <a:pt x="12191999" y="0"/>
                </a:lnTo>
                <a:lnTo>
                  <a:pt x="12191999" y="223204"/>
                </a:lnTo>
                <a:lnTo>
                  <a:pt x="12165349" y="253823"/>
                </a:lnTo>
                <a:cubicBezTo>
                  <a:pt x="11503554" y="957234"/>
                  <a:pt x="10147300" y="1840442"/>
                  <a:pt x="9129486" y="1988457"/>
                </a:cubicBezTo>
                <a:cubicBezTo>
                  <a:pt x="7649029" y="2203752"/>
                  <a:pt x="5198533" y="798285"/>
                  <a:pt x="3657600" y="783771"/>
                </a:cubicBezTo>
                <a:cubicBezTo>
                  <a:pt x="2309284" y="771071"/>
                  <a:pt x="1286008" y="1202871"/>
                  <a:pt x="303362" y="1690234"/>
                </a:cubicBezTo>
                <a:lnTo>
                  <a:pt x="0" y="1842927"/>
                </a:lnTo>
                <a:close/>
              </a:path>
            </a:pathLst>
          </a:custGeom>
          <a:solidFill>
            <a:srgbClr val="9C6BCF">
              <a:alpha val="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Freeform: Shape 20">
            <a:extLst>
              <a:ext uri="{FF2B5EF4-FFF2-40B4-BE49-F238E27FC236}">
                <a16:creationId xmlns:a16="http://schemas.microsoft.com/office/drawing/2014/main" id="{47F20E71-4084-4A4D-B7F7-C26377A53983}"/>
              </a:ext>
            </a:extLst>
          </p:cNvPr>
          <p:cNvSpPr/>
          <p:nvPr/>
        </p:nvSpPr>
        <p:spPr>
          <a:xfrm>
            <a:off x="-4288" y="2935439"/>
            <a:ext cx="11421587" cy="3922561"/>
          </a:xfrm>
          <a:custGeom>
            <a:avLst/>
            <a:gdLst>
              <a:gd name="connsiteX0" fmla="*/ 0 w 9568392"/>
              <a:gd name="connsiteY0" fmla="*/ 0 h 3286111"/>
              <a:gd name="connsiteX1" fmla="*/ 109082 w 9568392"/>
              <a:gd name="connsiteY1" fmla="*/ 50087 h 3286111"/>
              <a:gd name="connsiteX2" fmla="*/ 4145955 w 9568392"/>
              <a:gd name="connsiteY2" fmla="*/ 2841611 h 3286111"/>
              <a:gd name="connsiteX3" fmla="*/ 7841655 w 9568392"/>
              <a:gd name="connsiteY3" fmla="*/ 2651111 h 3286111"/>
              <a:gd name="connsiteX4" fmla="*/ 9531846 w 9568392"/>
              <a:gd name="connsiteY4" fmla="*/ 3262919 h 3286111"/>
              <a:gd name="connsiteX5" fmla="*/ 9568392 w 9568392"/>
              <a:gd name="connsiteY5" fmla="*/ 3286111 h 3286111"/>
              <a:gd name="connsiteX6" fmla="*/ 0 w 9568392"/>
              <a:gd name="connsiteY6" fmla="*/ 3286111 h 3286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68392" h="3286111">
                <a:moveTo>
                  <a:pt x="0" y="0"/>
                </a:moveTo>
                <a:lnTo>
                  <a:pt x="109082" y="50087"/>
                </a:lnTo>
                <a:cubicBezTo>
                  <a:pt x="1319504" y="639672"/>
                  <a:pt x="2878733" y="2413053"/>
                  <a:pt x="4145955" y="2841611"/>
                </a:cubicBezTo>
                <a:cubicBezTo>
                  <a:pt x="5454055" y="3283994"/>
                  <a:pt x="6859522" y="2515644"/>
                  <a:pt x="7841655" y="2651111"/>
                </a:cubicBezTo>
                <a:cubicBezTo>
                  <a:pt x="8455488" y="2735778"/>
                  <a:pt x="9097433" y="3008961"/>
                  <a:pt x="9531846" y="3262919"/>
                </a:cubicBezTo>
                <a:lnTo>
                  <a:pt x="9568392" y="3286111"/>
                </a:lnTo>
                <a:lnTo>
                  <a:pt x="0" y="3286111"/>
                </a:lnTo>
                <a:close/>
              </a:path>
            </a:pathLst>
          </a:custGeom>
          <a:solidFill>
            <a:srgbClr val="9C6BCF">
              <a:alpha val="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Freeform: Shape 21">
            <a:extLst>
              <a:ext uri="{FF2B5EF4-FFF2-40B4-BE49-F238E27FC236}">
                <a16:creationId xmlns:a16="http://schemas.microsoft.com/office/drawing/2014/main" id="{E6246FB5-5054-4B75-AAC3-0F9B19A2FA94}"/>
              </a:ext>
            </a:extLst>
          </p:cNvPr>
          <p:cNvSpPr/>
          <p:nvPr/>
        </p:nvSpPr>
        <p:spPr>
          <a:xfrm flipH="1" flipV="1">
            <a:off x="7464218" y="4777753"/>
            <a:ext cx="4727781" cy="2080247"/>
          </a:xfrm>
          <a:custGeom>
            <a:avLst/>
            <a:gdLst>
              <a:gd name="connsiteX0" fmla="*/ 0 w 6487254"/>
              <a:gd name="connsiteY0" fmla="*/ 0 h 1933129"/>
              <a:gd name="connsiteX1" fmla="*/ 6487254 w 6487254"/>
              <a:gd name="connsiteY1" fmla="*/ 0 h 1933129"/>
              <a:gd name="connsiteX2" fmla="*/ 6273142 w 6487254"/>
              <a:gd name="connsiteY2" fmla="*/ 81288 h 1933129"/>
              <a:gd name="connsiteX3" fmla="*/ 4423887 w 6487254"/>
              <a:gd name="connsiteY3" fmla="*/ 647700 h 1933129"/>
              <a:gd name="connsiteX4" fmla="*/ 1261587 w 6487254"/>
              <a:gd name="connsiteY4" fmla="*/ 787400 h 1933129"/>
              <a:gd name="connsiteX5" fmla="*/ 129303 w 6487254"/>
              <a:gd name="connsiteY5" fmla="*/ 1760140 h 1933129"/>
              <a:gd name="connsiteX6" fmla="*/ 0 w 6487254"/>
              <a:gd name="connsiteY6" fmla="*/ 1933129 h 1933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87254" h="1933129">
                <a:moveTo>
                  <a:pt x="0" y="0"/>
                </a:moveTo>
                <a:lnTo>
                  <a:pt x="6487254" y="0"/>
                </a:lnTo>
                <a:lnTo>
                  <a:pt x="6273142" y="81288"/>
                </a:lnTo>
                <a:cubicBezTo>
                  <a:pt x="5625831" y="317798"/>
                  <a:pt x="4854497" y="540279"/>
                  <a:pt x="4423887" y="647700"/>
                </a:cubicBezTo>
                <a:cubicBezTo>
                  <a:pt x="3439637" y="893233"/>
                  <a:pt x="2131537" y="370417"/>
                  <a:pt x="1261587" y="787400"/>
                </a:cubicBezTo>
                <a:cubicBezTo>
                  <a:pt x="826612" y="995892"/>
                  <a:pt x="460693" y="1343289"/>
                  <a:pt x="129303" y="1760140"/>
                </a:cubicBezTo>
                <a:lnTo>
                  <a:pt x="0" y="1933129"/>
                </a:lnTo>
                <a:close/>
              </a:path>
            </a:pathLst>
          </a:custGeom>
          <a:solidFill>
            <a:srgbClr val="9C6BCF">
              <a:alpha val="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Content Placeholder 2">
            <a:extLst>
              <a:ext uri="{FF2B5EF4-FFF2-40B4-BE49-F238E27FC236}">
                <a16:creationId xmlns:a16="http://schemas.microsoft.com/office/drawing/2014/main" id="{FAF6C5E6-2132-4AFE-AB2D-2E9419144626}"/>
              </a:ext>
            </a:extLst>
          </p:cNvPr>
          <p:cNvSpPr txBox="1">
            <a:spLocks/>
          </p:cNvSpPr>
          <p:nvPr/>
        </p:nvSpPr>
        <p:spPr>
          <a:xfrm>
            <a:off x="503693" y="727877"/>
            <a:ext cx="4853163" cy="5114221"/>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2400" i="0" dirty="0">
                <a:solidFill>
                  <a:schemeClr val="bg1"/>
                </a:solidFill>
                <a:effectLst/>
                <a:latin typeface="Calibri body"/>
              </a:rPr>
              <a:t>The state provides support to start-ups at different stages of life cycle. Sector agnostic schemes such as, Student Start-up and Innovation Policy provides support to start-ups at proof of concept / minimum viable product stage, whereas, Scheme for assistance for Start-ups / Innovation provides support to start-ups at seed funding and scale up stage.</a:t>
            </a:r>
          </a:p>
          <a:p>
            <a:pPr marL="0" indent="0" algn="just">
              <a:buNone/>
            </a:pPr>
            <a:r>
              <a:rPr lang="en-US" sz="2400" i="0" dirty="0">
                <a:solidFill>
                  <a:schemeClr val="bg1"/>
                </a:solidFill>
                <a:effectLst/>
                <a:latin typeface="Calibri body"/>
              </a:rPr>
              <a:t>The State has also implemented different sector specific schemes in the area of IT-</a:t>
            </a:r>
            <a:r>
              <a:rPr lang="en-US" sz="2400" i="0" dirty="0" err="1">
                <a:solidFill>
                  <a:schemeClr val="bg1"/>
                </a:solidFill>
                <a:effectLst/>
                <a:latin typeface="Calibri body"/>
              </a:rPr>
              <a:t>ITeS</a:t>
            </a:r>
            <a:r>
              <a:rPr lang="en-US" sz="2400" i="0" dirty="0">
                <a:solidFill>
                  <a:schemeClr val="bg1"/>
                </a:solidFill>
                <a:effectLst/>
                <a:latin typeface="Calibri body"/>
              </a:rPr>
              <a:t>, Electronics and Biotech for providing support to sector specific needs of the start-ups. </a:t>
            </a:r>
          </a:p>
        </p:txBody>
      </p:sp>
      <p:sp>
        <p:nvSpPr>
          <p:cNvPr id="32" name="Content Placeholder 2">
            <a:extLst>
              <a:ext uri="{FF2B5EF4-FFF2-40B4-BE49-F238E27FC236}">
                <a16:creationId xmlns:a16="http://schemas.microsoft.com/office/drawing/2014/main" id="{20FB3A54-FD3B-49CE-816C-0D0C60D5B493}"/>
              </a:ext>
            </a:extLst>
          </p:cNvPr>
          <p:cNvSpPr txBox="1">
            <a:spLocks/>
          </p:cNvSpPr>
          <p:nvPr/>
        </p:nvSpPr>
        <p:spPr>
          <a:xfrm>
            <a:off x="5860550" y="726810"/>
            <a:ext cx="5287180" cy="5498941"/>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buFont typeface="Arial" panose="020B0604020202020204" pitchFamily="34" charset="0"/>
              <a:buNone/>
            </a:pPr>
            <a:r>
              <a:rPr lang="en-US" sz="2400" b="0" i="0" dirty="0">
                <a:solidFill>
                  <a:schemeClr val="bg1"/>
                </a:solidFill>
                <a:effectLst/>
              </a:rPr>
              <a:t>All the four schemes providing support to startups are listed as follows:</a:t>
            </a:r>
          </a:p>
          <a:p>
            <a:pPr marL="514350" indent="-514350" algn="just">
              <a:lnSpc>
                <a:spcPct val="100000"/>
              </a:lnSpc>
              <a:buFont typeface="+mj-lt"/>
              <a:buAutoNum type="romanUcPeriod"/>
            </a:pPr>
            <a:r>
              <a:rPr lang="en-US" sz="2300" b="0" i="0" dirty="0">
                <a:solidFill>
                  <a:schemeClr val="bg1"/>
                </a:solidFill>
                <a:effectLst/>
              </a:rPr>
              <a:t>Scheme for assistance for Startups/Innovation – Gujarat Industrial Policy 2020</a:t>
            </a:r>
          </a:p>
          <a:p>
            <a:pPr marL="514350" indent="-514350" algn="just">
              <a:lnSpc>
                <a:spcPct val="100000"/>
              </a:lnSpc>
              <a:buFont typeface="+mj-lt"/>
              <a:buAutoNum type="romanUcPeriod"/>
            </a:pPr>
            <a:r>
              <a:rPr lang="en-US" sz="2300" b="0" i="0" dirty="0">
                <a:solidFill>
                  <a:schemeClr val="bg1"/>
                </a:solidFill>
                <a:effectLst/>
              </a:rPr>
              <a:t>Student Startup and Innovation Policy (SSIP) (2017-21)</a:t>
            </a:r>
          </a:p>
          <a:p>
            <a:pPr marL="514350" indent="-514350" algn="just">
              <a:lnSpc>
                <a:spcPct val="100000"/>
              </a:lnSpc>
              <a:buFont typeface="+mj-lt"/>
              <a:buAutoNum type="romanUcPeriod"/>
            </a:pPr>
            <a:r>
              <a:rPr lang="en-US" sz="2300" b="0" i="0" dirty="0">
                <a:solidFill>
                  <a:schemeClr val="bg1"/>
                </a:solidFill>
                <a:effectLst/>
              </a:rPr>
              <a:t>Scheme of assistance for Incubators and Start-ups under Electronics &amp; IT/</a:t>
            </a:r>
            <a:r>
              <a:rPr lang="en-US" sz="2300" b="0" i="0" dirty="0" err="1">
                <a:solidFill>
                  <a:schemeClr val="bg1"/>
                </a:solidFill>
                <a:effectLst/>
              </a:rPr>
              <a:t>ITeS</a:t>
            </a:r>
            <a:r>
              <a:rPr lang="en-US" sz="2300" b="0" i="0" dirty="0">
                <a:solidFill>
                  <a:schemeClr val="bg1"/>
                </a:solidFill>
                <a:effectLst/>
              </a:rPr>
              <a:t> Start-up Policy for the State of Gujarat (2016-21)</a:t>
            </a:r>
          </a:p>
          <a:p>
            <a:pPr marL="514350" indent="-514350" algn="just">
              <a:lnSpc>
                <a:spcPct val="100000"/>
              </a:lnSpc>
              <a:buFont typeface="+mj-lt"/>
              <a:buAutoNum type="romanUcPeriod"/>
            </a:pPr>
            <a:r>
              <a:rPr lang="en-US" sz="2300" b="0" i="0" dirty="0">
                <a:solidFill>
                  <a:schemeClr val="bg1"/>
                </a:solidFill>
                <a:effectLst/>
              </a:rPr>
              <a:t>Scheme of assistance for Biotechnology (BT) Industry Under Gujarat State Biotechnology Policy (2016-21)</a:t>
            </a:r>
            <a:endParaRPr lang="en-US" sz="2300" dirty="0">
              <a:solidFill>
                <a:schemeClr val="bg1"/>
              </a:solidFill>
            </a:endParaRPr>
          </a:p>
        </p:txBody>
      </p:sp>
      <p:sp>
        <p:nvSpPr>
          <p:cNvPr id="56" name="Content Placeholder 2">
            <a:extLst>
              <a:ext uri="{FF2B5EF4-FFF2-40B4-BE49-F238E27FC236}">
                <a16:creationId xmlns:a16="http://schemas.microsoft.com/office/drawing/2014/main" id="{0404D344-1EAA-46D6-805B-0136714CA04D}"/>
              </a:ext>
            </a:extLst>
          </p:cNvPr>
          <p:cNvSpPr txBox="1">
            <a:spLocks/>
          </p:cNvSpPr>
          <p:nvPr/>
        </p:nvSpPr>
        <p:spPr>
          <a:xfrm>
            <a:off x="10789920" y="6410064"/>
            <a:ext cx="868680" cy="257186"/>
          </a:xfrm>
          <a:prstGeom prst="rect">
            <a:avLst/>
          </a:prstGeom>
        </p:spPr>
        <p:txBody>
          <a:bodyPr vert="horz" wrap="square" lIns="0" tIns="0" rIns="0" bIns="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30000"/>
              </a:lnSpc>
              <a:buFont typeface="Arial" panose="020B0604020202020204" pitchFamily="34" charset="0"/>
              <a:buNone/>
            </a:pPr>
            <a:r>
              <a:rPr lang="en-US" sz="1400" dirty="0">
                <a:solidFill>
                  <a:schemeClr val="bg1">
                    <a:lumMod val="95000"/>
                  </a:schemeClr>
                </a:solidFill>
              </a:rPr>
              <a:t>Page </a:t>
            </a:r>
            <a:r>
              <a:rPr lang="en-US" sz="1400" b="1" dirty="0">
                <a:solidFill>
                  <a:schemeClr val="bg1">
                    <a:lumMod val="95000"/>
                  </a:schemeClr>
                </a:solidFill>
                <a:latin typeface="+mj-lt"/>
              </a:rPr>
              <a:t>3</a:t>
            </a:r>
          </a:p>
        </p:txBody>
      </p:sp>
      <p:pic>
        <p:nvPicPr>
          <p:cNvPr id="58" name="Graphic 57">
            <a:extLst>
              <a:ext uri="{FF2B5EF4-FFF2-40B4-BE49-F238E27FC236}">
                <a16:creationId xmlns:a16="http://schemas.microsoft.com/office/drawing/2014/main" id="{B724612B-19B8-4093-92A6-B41BA12DFC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20456538" flipH="1">
            <a:off x="11638872" y="1020389"/>
            <a:ext cx="522694" cy="736038"/>
          </a:xfrm>
          <a:prstGeom prst="rect">
            <a:avLst/>
          </a:prstGeom>
        </p:spPr>
      </p:pic>
      <p:pic>
        <p:nvPicPr>
          <p:cNvPr id="59" name="Graphic 58">
            <a:extLst>
              <a:ext uri="{FF2B5EF4-FFF2-40B4-BE49-F238E27FC236}">
                <a16:creationId xmlns:a16="http://schemas.microsoft.com/office/drawing/2014/main" id="{0D78A396-E8EC-4BB0-B2B5-EB867B7452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3307405" flipH="1" flipV="1">
            <a:off x="11803627" y="1583324"/>
            <a:ext cx="311354" cy="438437"/>
          </a:xfrm>
          <a:prstGeom prst="rect">
            <a:avLst/>
          </a:prstGeom>
        </p:spPr>
      </p:pic>
    </p:spTree>
    <p:extLst>
      <p:ext uri="{BB962C8B-B14F-4D97-AF65-F5344CB8AC3E}">
        <p14:creationId xmlns:p14="http://schemas.microsoft.com/office/powerpoint/2010/main" val="18292044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60E4B91E-CC99-49A7-B26A-644201DA68F5}"/>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l="15009" r="39103"/>
          <a:stretch/>
        </p:blipFill>
        <p:spPr>
          <a:xfrm>
            <a:off x="1396781" y="0"/>
            <a:ext cx="3894833" cy="5656330"/>
          </a:xfrm>
        </p:spPr>
      </p:pic>
      <p:sp>
        <p:nvSpPr>
          <p:cNvPr id="2" name="Title 1">
            <a:extLst>
              <a:ext uri="{FF2B5EF4-FFF2-40B4-BE49-F238E27FC236}">
                <a16:creationId xmlns:a16="http://schemas.microsoft.com/office/drawing/2014/main" id="{1E38EE8B-1608-4FFC-96B5-595AB97B845A}"/>
              </a:ext>
            </a:extLst>
          </p:cNvPr>
          <p:cNvSpPr>
            <a:spLocks noGrp="1"/>
          </p:cNvSpPr>
          <p:nvPr>
            <p:ph type="title"/>
          </p:nvPr>
        </p:nvSpPr>
        <p:spPr>
          <a:xfrm>
            <a:off x="6910023" y="756974"/>
            <a:ext cx="4503295" cy="782638"/>
          </a:xfrm>
        </p:spPr>
        <p:txBody>
          <a:bodyPr>
            <a:noAutofit/>
          </a:bodyPr>
          <a:lstStyle/>
          <a:p>
            <a:r>
              <a:rPr lang="en-US" sz="3600" dirty="0"/>
              <a:t>Scheme for assistance for Startups/Innovation</a:t>
            </a:r>
            <a:endParaRPr lang="ru-RU" sz="3600" dirty="0"/>
          </a:p>
        </p:txBody>
      </p:sp>
      <p:sp>
        <p:nvSpPr>
          <p:cNvPr id="3" name="Text Placeholder 2">
            <a:extLst>
              <a:ext uri="{FF2B5EF4-FFF2-40B4-BE49-F238E27FC236}">
                <a16:creationId xmlns:a16="http://schemas.microsoft.com/office/drawing/2014/main" id="{C11093FF-1360-4523-8547-5192EDA8BBF9}"/>
              </a:ext>
            </a:extLst>
          </p:cNvPr>
          <p:cNvSpPr>
            <a:spLocks noGrp="1"/>
          </p:cNvSpPr>
          <p:nvPr>
            <p:ph type="body" sz="quarter" idx="13"/>
          </p:nvPr>
        </p:nvSpPr>
        <p:spPr/>
        <p:txBody>
          <a:bodyPr>
            <a:normAutofit/>
          </a:bodyPr>
          <a:lstStyle/>
          <a:p>
            <a:r>
              <a:rPr lang="en-US" sz="2400" dirty="0"/>
              <a:t>Gujarat Industrial Policy 2020</a:t>
            </a:r>
          </a:p>
        </p:txBody>
      </p:sp>
      <p:sp>
        <p:nvSpPr>
          <p:cNvPr id="4" name="Text Placeholder 3">
            <a:extLst>
              <a:ext uri="{FF2B5EF4-FFF2-40B4-BE49-F238E27FC236}">
                <a16:creationId xmlns:a16="http://schemas.microsoft.com/office/drawing/2014/main" id="{2B46C56E-82FC-4B02-954F-3AFACF2E8CBA}"/>
              </a:ext>
            </a:extLst>
          </p:cNvPr>
          <p:cNvSpPr>
            <a:spLocks noGrp="1"/>
          </p:cNvSpPr>
          <p:nvPr>
            <p:ph type="body" sz="quarter" idx="14"/>
          </p:nvPr>
        </p:nvSpPr>
        <p:spPr>
          <a:xfrm>
            <a:off x="6767281" y="2584175"/>
            <a:ext cx="4126006" cy="3772175"/>
          </a:xfrm>
        </p:spPr>
        <p:txBody>
          <a:bodyPr>
            <a:normAutofit fontScale="85000" lnSpcReduction="20000"/>
          </a:bodyPr>
          <a:lstStyle/>
          <a:p>
            <a:pPr algn="just">
              <a:buFont typeface="Arial" panose="020B0604020202020204" pitchFamily="34" charset="0"/>
              <a:buChar char="•"/>
            </a:pPr>
            <a:r>
              <a:rPr lang="en-US" b="0" i="0" dirty="0">
                <a:solidFill>
                  <a:srgbClr val="212529"/>
                </a:solidFill>
                <a:effectLst/>
                <a:latin typeface="Open Sans" panose="020B0606030504020204" pitchFamily="34" charset="0"/>
              </a:rPr>
              <a:t>Assistance up to INR 30 lakh as a seed support to the startups</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Sustenance allowance of INR 20,000 per month to the startups and INR 25,000 per month to women led startups for a period of one year</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For the startup scheme, woman entrepreneur led startup means, any startup founded / co-founded by at least one woman.</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Assistance up to INR 1 lakh per startup for obtaining training in soft skills on reimbursement basis</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Additional assistance up to INR 10 lakh for the startups generating significant impact on the society.</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Assistance up to INR 3 lakh to enroll and participate for national/international recognized acceleration program</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For mid-level Pre-Series A funding of startups, a separate fund under Gujarat Venture Finance Limited (GVFL) for smaller ticket funding between INR 50 lakh to INR 3 crore</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Additional 1% Interest Subsidy, maximum up to 9% on term loans to applicant under the provisions of scheme for assistance to MSMEs.</a:t>
            </a:r>
          </a:p>
        </p:txBody>
      </p:sp>
      <p:sp>
        <p:nvSpPr>
          <p:cNvPr id="7" name="Slide Number Placeholder 6">
            <a:extLst>
              <a:ext uri="{FF2B5EF4-FFF2-40B4-BE49-F238E27FC236}">
                <a16:creationId xmlns:a16="http://schemas.microsoft.com/office/drawing/2014/main" id="{2E6A3C64-206A-47DC-8E31-F719E356D26D}"/>
              </a:ext>
            </a:extLst>
          </p:cNvPr>
          <p:cNvSpPr>
            <a:spLocks noGrp="1"/>
          </p:cNvSpPr>
          <p:nvPr>
            <p:ph type="sldNum" sz="quarter" idx="12"/>
          </p:nvPr>
        </p:nvSpPr>
        <p:spPr/>
        <p:txBody>
          <a:bodyPr/>
          <a:lstStyle/>
          <a:p>
            <a:fld id="{D495E168-DA5E-4888-8D8A-92B118324C14}" type="slidenum">
              <a:rPr lang="ru-RU" smtClean="0"/>
              <a:pPr/>
              <a:t>6</a:t>
            </a:fld>
            <a:endParaRPr lang="ru-RU" dirty="0"/>
          </a:p>
        </p:txBody>
      </p:sp>
    </p:spTree>
    <p:extLst>
      <p:ext uri="{BB962C8B-B14F-4D97-AF65-F5344CB8AC3E}">
        <p14:creationId xmlns:p14="http://schemas.microsoft.com/office/powerpoint/2010/main" val="30668985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60E4B91E-CC99-49A7-B26A-644201DA68F5}"/>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l="17259" t="1118" r="36903" b="-1118"/>
          <a:stretch/>
        </p:blipFill>
        <p:spPr>
          <a:xfrm>
            <a:off x="1396781" y="0"/>
            <a:ext cx="3894833" cy="5656330"/>
          </a:xfrm>
        </p:spPr>
      </p:pic>
      <p:sp>
        <p:nvSpPr>
          <p:cNvPr id="2" name="Title 1">
            <a:extLst>
              <a:ext uri="{FF2B5EF4-FFF2-40B4-BE49-F238E27FC236}">
                <a16:creationId xmlns:a16="http://schemas.microsoft.com/office/drawing/2014/main" id="{1E38EE8B-1608-4FFC-96B5-595AB97B845A}"/>
              </a:ext>
            </a:extLst>
          </p:cNvPr>
          <p:cNvSpPr>
            <a:spLocks noGrp="1"/>
          </p:cNvSpPr>
          <p:nvPr>
            <p:ph type="title"/>
          </p:nvPr>
        </p:nvSpPr>
        <p:spPr>
          <a:xfrm>
            <a:off x="6910023" y="756974"/>
            <a:ext cx="4503295" cy="782638"/>
          </a:xfrm>
        </p:spPr>
        <p:txBody>
          <a:bodyPr>
            <a:noAutofit/>
          </a:bodyPr>
          <a:lstStyle/>
          <a:p>
            <a:r>
              <a:rPr lang="en-US" sz="3600" dirty="0"/>
              <a:t>Student Startup and Innovation Policy (SSIP) </a:t>
            </a:r>
            <a:endParaRPr lang="ru-RU" sz="3600" dirty="0"/>
          </a:p>
        </p:txBody>
      </p:sp>
      <p:sp>
        <p:nvSpPr>
          <p:cNvPr id="3" name="Text Placeholder 2">
            <a:extLst>
              <a:ext uri="{FF2B5EF4-FFF2-40B4-BE49-F238E27FC236}">
                <a16:creationId xmlns:a16="http://schemas.microsoft.com/office/drawing/2014/main" id="{C11093FF-1360-4523-8547-5192EDA8BBF9}"/>
              </a:ext>
            </a:extLst>
          </p:cNvPr>
          <p:cNvSpPr>
            <a:spLocks noGrp="1"/>
          </p:cNvSpPr>
          <p:nvPr>
            <p:ph type="body" sz="quarter" idx="13"/>
          </p:nvPr>
        </p:nvSpPr>
        <p:spPr/>
        <p:txBody>
          <a:bodyPr>
            <a:normAutofit/>
          </a:bodyPr>
          <a:lstStyle/>
          <a:p>
            <a:r>
              <a:rPr lang="en-US" sz="2400" dirty="0"/>
              <a:t>Education Department - GoG</a:t>
            </a:r>
          </a:p>
        </p:txBody>
      </p:sp>
      <p:sp>
        <p:nvSpPr>
          <p:cNvPr id="4" name="Text Placeholder 3">
            <a:extLst>
              <a:ext uri="{FF2B5EF4-FFF2-40B4-BE49-F238E27FC236}">
                <a16:creationId xmlns:a16="http://schemas.microsoft.com/office/drawing/2014/main" id="{2B46C56E-82FC-4B02-954F-3AFACF2E8CBA}"/>
              </a:ext>
            </a:extLst>
          </p:cNvPr>
          <p:cNvSpPr>
            <a:spLocks noGrp="1"/>
          </p:cNvSpPr>
          <p:nvPr>
            <p:ph type="body" sz="quarter" idx="14"/>
          </p:nvPr>
        </p:nvSpPr>
        <p:spPr/>
        <p:txBody>
          <a:bodyPr/>
          <a:lstStyle/>
          <a:p>
            <a:pPr algn="l">
              <a:buFont typeface="Arial" panose="020B0604020202020204" pitchFamily="34" charset="0"/>
              <a:buChar char="•"/>
            </a:pPr>
            <a:r>
              <a:rPr lang="en-US" b="0" i="0" dirty="0">
                <a:solidFill>
                  <a:srgbClr val="212529"/>
                </a:solidFill>
                <a:effectLst/>
                <a:latin typeface="Open Sans" panose="020B0606030504020204" pitchFamily="34" charset="0"/>
              </a:rPr>
              <a:t>Up to INR 2 Lakh support for creation of Proof of Concept (POC) or Minimum Viable Prototypes (MVP)</a:t>
            </a:r>
          </a:p>
          <a:p>
            <a:pPr algn="l">
              <a:buFont typeface="Arial" panose="020B0604020202020204" pitchFamily="34" charset="0"/>
              <a:buChar char="•"/>
            </a:pPr>
            <a:r>
              <a:rPr lang="en-US" b="0" i="0" dirty="0">
                <a:solidFill>
                  <a:srgbClr val="212529"/>
                </a:solidFill>
                <a:effectLst/>
                <a:latin typeface="Open Sans" panose="020B0606030504020204" pitchFamily="34" charset="0"/>
              </a:rPr>
              <a:t>Intellectual Property Right (IPR) support up to INR 50,000 for each innovation</a:t>
            </a:r>
          </a:p>
        </p:txBody>
      </p:sp>
      <p:sp>
        <p:nvSpPr>
          <p:cNvPr id="7" name="Slide Number Placeholder 6">
            <a:extLst>
              <a:ext uri="{FF2B5EF4-FFF2-40B4-BE49-F238E27FC236}">
                <a16:creationId xmlns:a16="http://schemas.microsoft.com/office/drawing/2014/main" id="{2E6A3C64-206A-47DC-8E31-F719E356D26D}"/>
              </a:ext>
            </a:extLst>
          </p:cNvPr>
          <p:cNvSpPr>
            <a:spLocks noGrp="1"/>
          </p:cNvSpPr>
          <p:nvPr>
            <p:ph type="sldNum" sz="quarter" idx="12"/>
          </p:nvPr>
        </p:nvSpPr>
        <p:spPr/>
        <p:txBody>
          <a:bodyPr/>
          <a:lstStyle/>
          <a:p>
            <a:fld id="{D495E168-DA5E-4888-8D8A-92B118324C14}" type="slidenum">
              <a:rPr lang="ru-RU" smtClean="0"/>
              <a:pPr/>
              <a:t>7</a:t>
            </a:fld>
            <a:endParaRPr lang="ru-RU" dirty="0"/>
          </a:p>
        </p:txBody>
      </p:sp>
    </p:spTree>
    <p:extLst>
      <p:ext uri="{BB962C8B-B14F-4D97-AF65-F5344CB8AC3E}">
        <p14:creationId xmlns:p14="http://schemas.microsoft.com/office/powerpoint/2010/main" val="30839832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60E4B91E-CC99-49A7-B26A-644201DA68F5}"/>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27081" r="27081"/>
          <a:stretch/>
        </p:blipFill>
        <p:spPr>
          <a:xfrm>
            <a:off x="1396781" y="0"/>
            <a:ext cx="3894833" cy="5656330"/>
          </a:xfrm>
        </p:spPr>
      </p:pic>
      <p:sp>
        <p:nvSpPr>
          <p:cNvPr id="2" name="Title 1">
            <a:extLst>
              <a:ext uri="{FF2B5EF4-FFF2-40B4-BE49-F238E27FC236}">
                <a16:creationId xmlns:a16="http://schemas.microsoft.com/office/drawing/2014/main" id="{1E38EE8B-1608-4FFC-96B5-595AB97B845A}"/>
              </a:ext>
            </a:extLst>
          </p:cNvPr>
          <p:cNvSpPr>
            <a:spLocks noGrp="1"/>
          </p:cNvSpPr>
          <p:nvPr>
            <p:ph type="title"/>
          </p:nvPr>
        </p:nvSpPr>
        <p:spPr>
          <a:xfrm>
            <a:off x="6910023" y="756974"/>
            <a:ext cx="4786346" cy="782638"/>
          </a:xfrm>
        </p:spPr>
        <p:txBody>
          <a:bodyPr>
            <a:noAutofit/>
          </a:bodyPr>
          <a:lstStyle/>
          <a:p>
            <a:r>
              <a:rPr lang="en-US" sz="3600" dirty="0"/>
              <a:t>Scheme of assistance for Incubators and Start-ups</a:t>
            </a:r>
            <a:endParaRPr lang="ru-RU" sz="3600" dirty="0"/>
          </a:p>
        </p:txBody>
      </p:sp>
      <p:sp>
        <p:nvSpPr>
          <p:cNvPr id="3" name="Text Placeholder 2">
            <a:extLst>
              <a:ext uri="{FF2B5EF4-FFF2-40B4-BE49-F238E27FC236}">
                <a16:creationId xmlns:a16="http://schemas.microsoft.com/office/drawing/2014/main" id="{C11093FF-1360-4523-8547-5192EDA8BBF9}"/>
              </a:ext>
            </a:extLst>
          </p:cNvPr>
          <p:cNvSpPr>
            <a:spLocks noGrp="1"/>
          </p:cNvSpPr>
          <p:nvPr>
            <p:ph type="body" sz="quarter" idx="13"/>
          </p:nvPr>
        </p:nvSpPr>
        <p:spPr/>
        <p:txBody>
          <a:bodyPr>
            <a:normAutofit fontScale="92500" lnSpcReduction="10000"/>
          </a:bodyPr>
          <a:lstStyle/>
          <a:p>
            <a:r>
              <a:rPr lang="en-US" sz="2400" dirty="0"/>
              <a:t>Electronics &amp; IT/</a:t>
            </a:r>
            <a:r>
              <a:rPr lang="en-US" sz="2400" dirty="0" err="1"/>
              <a:t>ITeS</a:t>
            </a:r>
            <a:r>
              <a:rPr lang="en-US" sz="2400" dirty="0"/>
              <a:t> Start-up Policy for the State of Gujarat (2016-21)</a:t>
            </a:r>
          </a:p>
        </p:txBody>
      </p:sp>
      <p:sp>
        <p:nvSpPr>
          <p:cNvPr id="4" name="Text Placeholder 3">
            <a:extLst>
              <a:ext uri="{FF2B5EF4-FFF2-40B4-BE49-F238E27FC236}">
                <a16:creationId xmlns:a16="http://schemas.microsoft.com/office/drawing/2014/main" id="{2B46C56E-82FC-4B02-954F-3AFACF2E8CBA}"/>
              </a:ext>
            </a:extLst>
          </p:cNvPr>
          <p:cNvSpPr>
            <a:spLocks noGrp="1"/>
          </p:cNvSpPr>
          <p:nvPr>
            <p:ph type="body" sz="quarter" idx="14"/>
          </p:nvPr>
        </p:nvSpPr>
        <p:spPr>
          <a:xfrm>
            <a:off x="6710901" y="2839714"/>
            <a:ext cx="5168348" cy="3261312"/>
          </a:xfrm>
        </p:spPr>
        <p:txBody>
          <a:bodyPr>
            <a:normAutofit fontScale="85000" lnSpcReduction="20000"/>
          </a:bodyPr>
          <a:lstStyle/>
          <a:p>
            <a:pPr algn="just">
              <a:buFont typeface="Arial" panose="020B0604020202020204" pitchFamily="34" charset="0"/>
              <a:buChar char="•"/>
            </a:pPr>
            <a:r>
              <a:rPr lang="en-US" b="0" i="0" dirty="0">
                <a:solidFill>
                  <a:srgbClr val="212529"/>
                </a:solidFill>
                <a:effectLst/>
                <a:latin typeface="Open Sans" panose="020B0606030504020204" pitchFamily="34" charset="0"/>
              </a:rPr>
              <a:t>Lease rental subsidy at the scale of 50 </a:t>
            </a:r>
            <a:r>
              <a:rPr lang="en-US" b="0" i="0" dirty="0" err="1">
                <a:solidFill>
                  <a:srgbClr val="212529"/>
                </a:solidFill>
                <a:effectLst/>
                <a:latin typeface="Open Sans" panose="020B0606030504020204" pitchFamily="34" charset="0"/>
              </a:rPr>
              <a:t>sq.ft</a:t>
            </a:r>
            <a:r>
              <a:rPr lang="en-US" b="0" i="0" dirty="0">
                <a:solidFill>
                  <a:srgbClr val="212529"/>
                </a:solidFill>
                <a:effectLst/>
                <a:latin typeface="Open Sans" panose="020B0606030504020204" pitchFamily="34" charset="0"/>
              </a:rPr>
              <a:t>. per employee, for 2 years on reimbursement basis at the rate of INR 15/</a:t>
            </a:r>
            <a:r>
              <a:rPr lang="en-US" b="0" i="0" dirty="0" err="1">
                <a:solidFill>
                  <a:srgbClr val="212529"/>
                </a:solidFill>
                <a:effectLst/>
                <a:latin typeface="Open Sans" panose="020B0606030504020204" pitchFamily="34" charset="0"/>
              </a:rPr>
              <a:t>sqft</a:t>
            </a:r>
            <a:r>
              <a:rPr lang="en-US" b="0" i="0" dirty="0">
                <a:solidFill>
                  <a:srgbClr val="212529"/>
                </a:solidFill>
                <a:effectLst/>
                <a:latin typeface="Open Sans" panose="020B0606030504020204" pitchFamily="34" charset="0"/>
              </a:rPr>
              <a:t>/month</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Interest Subsidy at the rate of 9% per annum subject to a ceiling of Rs. 2 lakh per year for a maximum duration of 2 years</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Patent Assistance at the rate of 75% of cost of obtaining patent subject to ceiling of Rs. 2 lakh per patent for domestic patent and INR 5 lakh per patent for international patent</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Bandwidth Subsidy at the rate of 70% of annual bandwidth charges, subject to a ceiling of Rs. 20,000 for 2 years</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Rs. 5000 per skill certification per person subject to overall ceiling of INR 1 lakh per annum per startup for 2 years</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Assistance of INR 1 lakh for prototype/ product development and additional assistance of INR 1 lakh for marketing</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Matching equity support of additional 25% of capital from Gujarat Venture Finance Limited (GVFL), at which the capital was raised within 6 months of such raising subject to a ceiling of INR 5 crore.</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In all e-Governance Projects undertaken by Govt. of Gujarat, part of work of value range between 5% and 10% is outsourced to start-ups and students of technical colleges in Gujarat.</a:t>
            </a:r>
          </a:p>
        </p:txBody>
      </p:sp>
      <p:sp>
        <p:nvSpPr>
          <p:cNvPr id="7" name="Slide Number Placeholder 6">
            <a:extLst>
              <a:ext uri="{FF2B5EF4-FFF2-40B4-BE49-F238E27FC236}">
                <a16:creationId xmlns:a16="http://schemas.microsoft.com/office/drawing/2014/main" id="{2E6A3C64-206A-47DC-8E31-F719E356D26D}"/>
              </a:ext>
            </a:extLst>
          </p:cNvPr>
          <p:cNvSpPr>
            <a:spLocks noGrp="1"/>
          </p:cNvSpPr>
          <p:nvPr>
            <p:ph type="sldNum" sz="quarter" idx="12"/>
          </p:nvPr>
        </p:nvSpPr>
        <p:spPr/>
        <p:txBody>
          <a:bodyPr/>
          <a:lstStyle/>
          <a:p>
            <a:fld id="{D495E168-DA5E-4888-8D8A-92B118324C14}" type="slidenum">
              <a:rPr lang="ru-RU" smtClean="0"/>
              <a:pPr/>
              <a:t>8</a:t>
            </a:fld>
            <a:endParaRPr lang="ru-RU" dirty="0"/>
          </a:p>
        </p:txBody>
      </p:sp>
    </p:spTree>
    <p:extLst>
      <p:ext uri="{BB962C8B-B14F-4D97-AF65-F5344CB8AC3E}">
        <p14:creationId xmlns:p14="http://schemas.microsoft.com/office/powerpoint/2010/main" val="14327953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60E4B91E-CC99-49A7-B26A-644201DA68F5}"/>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5445" r="5445"/>
          <a:stretch/>
        </p:blipFill>
        <p:spPr>
          <a:xfrm>
            <a:off x="1396781" y="0"/>
            <a:ext cx="3894833" cy="5656330"/>
          </a:xfrm>
        </p:spPr>
      </p:pic>
      <p:sp>
        <p:nvSpPr>
          <p:cNvPr id="2" name="Title 1">
            <a:extLst>
              <a:ext uri="{FF2B5EF4-FFF2-40B4-BE49-F238E27FC236}">
                <a16:creationId xmlns:a16="http://schemas.microsoft.com/office/drawing/2014/main" id="{1E38EE8B-1608-4FFC-96B5-595AB97B845A}"/>
              </a:ext>
            </a:extLst>
          </p:cNvPr>
          <p:cNvSpPr>
            <a:spLocks noGrp="1"/>
          </p:cNvSpPr>
          <p:nvPr>
            <p:ph type="title"/>
          </p:nvPr>
        </p:nvSpPr>
        <p:spPr>
          <a:xfrm>
            <a:off x="6910023" y="756974"/>
            <a:ext cx="5281977" cy="782638"/>
          </a:xfrm>
        </p:spPr>
        <p:txBody>
          <a:bodyPr>
            <a:noAutofit/>
          </a:bodyPr>
          <a:lstStyle/>
          <a:p>
            <a:r>
              <a:rPr lang="en-US" sz="3600" dirty="0"/>
              <a:t>Scheme of assistance for Biotechnology Industry </a:t>
            </a:r>
            <a:endParaRPr lang="ru-RU" sz="3600" dirty="0"/>
          </a:p>
        </p:txBody>
      </p:sp>
      <p:sp>
        <p:nvSpPr>
          <p:cNvPr id="3" name="Text Placeholder 2">
            <a:extLst>
              <a:ext uri="{FF2B5EF4-FFF2-40B4-BE49-F238E27FC236}">
                <a16:creationId xmlns:a16="http://schemas.microsoft.com/office/drawing/2014/main" id="{C11093FF-1360-4523-8547-5192EDA8BBF9}"/>
              </a:ext>
            </a:extLst>
          </p:cNvPr>
          <p:cNvSpPr>
            <a:spLocks noGrp="1"/>
          </p:cNvSpPr>
          <p:nvPr>
            <p:ph type="body" sz="quarter" idx="13"/>
          </p:nvPr>
        </p:nvSpPr>
        <p:spPr/>
        <p:txBody>
          <a:bodyPr>
            <a:normAutofit fontScale="92500" lnSpcReduction="10000"/>
          </a:bodyPr>
          <a:lstStyle/>
          <a:p>
            <a:r>
              <a:rPr lang="en-US" sz="2400" dirty="0"/>
              <a:t>Gujarat State Biotechnology Policy (2016-21)</a:t>
            </a:r>
          </a:p>
        </p:txBody>
      </p:sp>
      <p:sp>
        <p:nvSpPr>
          <p:cNvPr id="4" name="Text Placeholder 3">
            <a:extLst>
              <a:ext uri="{FF2B5EF4-FFF2-40B4-BE49-F238E27FC236}">
                <a16:creationId xmlns:a16="http://schemas.microsoft.com/office/drawing/2014/main" id="{2B46C56E-82FC-4B02-954F-3AFACF2E8CBA}"/>
              </a:ext>
            </a:extLst>
          </p:cNvPr>
          <p:cNvSpPr>
            <a:spLocks noGrp="1"/>
          </p:cNvSpPr>
          <p:nvPr>
            <p:ph type="body" sz="quarter" idx="14"/>
          </p:nvPr>
        </p:nvSpPr>
        <p:spPr>
          <a:xfrm>
            <a:off x="6766560" y="2839713"/>
            <a:ext cx="4238045" cy="3728063"/>
          </a:xfrm>
        </p:spPr>
        <p:txBody>
          <a:bodyPr>
            <a:normAutofit fontScale="85000" lnSpcReduction="20000"/>
          </a:bodyPr>
          <a:lstStyle/>
          <a:p>
            <a:pPr algn="just">
              <a:buFont typeface="Arial" panose="020B0604020202020204" pitchFamily="34" charset="0"/>
              <a:buChar char="•"/>
            </a:pPr>
            <a:r>
              <a:rPr lang="en-US" b="0" i="0" dirty="0">
                <a:solidFill>
                  <a:srgbClr val="212529"/>
                </a:solidFill>
                <a:effectLst/>
                <a:latin typeface="Open Sans" panose="020B0606030504020204" pitchFamily="34" charset="0"/>
              </a:rPr>
              <a:t>50% of capital expenditure, excluding cost of land, for setting up a pilot production facility, subject to a ceiling of INR. 10 lakhs, within 2 years</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Assistance of INR 1 lakh for product prototype developed through outsourcing and INR 1 lakh for marketing</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100% reimbursement of Stamp Duty and Registration Fee paid</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Lease rental subsidy at the scale of 50 </a:t>
            </a:r>
            <a:r>
              <a:rPr lang="en-US" b="0" i="0" dirty="0" err="1">
                <a:solidFill>
                  <a:srgbClr val="212529"/>
                </a:solidFill>
                <a:effectLst/>
                <a:latin typeface="Open Sans" panose="020B0606030504020204" pitchFamily="34" charset="0"/>
              </a:rPr>
              <a:t>sq.ft</a:t>
            </a:r>
            <a:r>
              <a:rPr lang="en-US" b="0" i="0" dirty="0">
                <a:solidFill>
                  <a:srgbClr val="212529"/>
                </a:solidFill>
                <a:effectLst/>
                <a:latin typeface="Open Sans" panose="020B0606030504020204" pitchFamily="34" charset="0"/>
              </a:rPr>
              <a:t>. per employee, for 2 years on reimbursement basis at the rate of INR 15/</a:t>
            </a:r>
            <a:r>
              <a:rPr lang="en-US" b="0" i="0" dirty="0" err="1">
                <a:solidFill>
                  <a:srgbClr val="212529"/>
                </a:solidFill>
                <a:effectLst/>
                <a:latin typeface="Open Sans" panose="020B0606030504020204" pitchFamily="34" charset="0"/>
              </a:rPr>
              <a:t>sqft</a:t>
            </a:r>
            <a:r>
              <a:rPr lang="en-US" b="0" i="0" dirty="0">
                <a:solidFill>
                  <a:srgbClr val="212529"/>
                </a:solidFill>
                <a:effectLst/>
                <a:latin typeface="Open Sans" panose="020B0606030504020204" pitchFamily="34" charset="0"/>
              </a:rPr>
              <a:t>/month</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Interest Subsidy at the rate of 9% per annum subject to a ceiling of Rs. 2 lakh per year</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Patent Assistance at the rate of 75% of cost of obtaining patent subject to ceiling of Rs. 2 lakh per patent for domestic patent and INR 5 lakh per patent for international patent. Total assistance is limited to INR 4 lakh for domestic patent and INR 10 lakh for international patent.</a:t>
            </a:r>
          </a:p>
          <a:p>
            <a:pPr algn="just">
              <a:buFont typeface="Arial" panose="020B0604020202020204" pitchFamily="34" charset="0"/>
              <a:buChar char="•"/>
            </a:pPr>
            <a:r>
              <a:rPr lang="en-US" b="0" i="0" dirty="0">
                <a:solidFill>
                  <a:srgbClr val="212529"/>
                </a:solidFill>
                <a:effectLst/>
                <a:latin typeface="Open Sans" panose="020B0606030504020204" pitchFamily="34" charset="0"/>
              </a:rPr>
              <a:t>Rs. 5000 per skill certification per person subject to overall ceiling of Rs. 20000 per month per startup for 2 years</a:t>
            </a:r>
          </a:p>
        </p:txBody>
      </p:sp>
      <p:sp>
        <p:nvSpPr>
          <p:cNvPr id="7" name="Slide Number Placeholder 6">
            <a:extLst>
              <a:ext uri="{FF2B5EF4-FFF2-40B4-BE49-F238E27FC236}">
                <a16:creationId xmlns:a16="http://schemas.microsoft.com/office/drawing/2014/main" id="{2E6A3C64-206A-47DC-8E31-F719E356D26D}"/>
              </a:ext>
            </a:extLst>
          </p:cNvPr>
          <p:cNvSpPr>
            <a:spLocks noGrp="1"/>
          </p:cNvSpPr>
          <p:nvPr>
            <p:ph type="sldNum" sz="quarter" idx="12"/>
          </p:nvPr>
        </p:nvSpPr>
        <p:spPr/>
        <p:txBody>
          <a:bodyPr/>
          <a:lstStyle/>
          <a:p>
            <a:fld id="{D495E168-DA5E-4888-8D8A-92B118324C14}" type="slidenum">
              <a:rPr lang="ru-RU" smtClean="0"/>
              <a:pPr/>
              <a:t>9</a:t>
            </a:fld>
            <a:endParaRPr lang="ru-RU" dirty="0"/>
          </a:p>
        </p:txBody>
      </p:sp>
    </p:spTree>
    <p:extLst>
      <p:ext uri="{BB962C8B-B14F-4D97-AF65-F5344CB8AC3E}">
        <p14:creationId xmlns:p14="http://schemas.microsoft.com/office/powerpoint/2010/main" val="39279834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62</TotalTime>
  <Words>1623</Words>
  <Application>Microsoft Office PowerPoint</Application>
  <PresentationFormat>Widescreen</PresentationFormat>
  <Paragraphs>114</Paragraphs>
  <Slides>24</Slides>
  <Notes>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6" baseType="lpstr">
      <vt:lpstr>Arial</vt:lpstr>
      <vt:lpstr>Arial</vt:lpstr>
      <vt:lpstr>Arial Black</vt:lpstr>
      <vt:lpstr>Calibri</vt:lpstr>
      <vt:lpstr>Calibri body</vt:lpstr>
      <vt:lpstr>Calibri Light</vt:lpstr>
      <vt:lpstr>Open Sans</vt:lpstr>
      <vt:lpstr>Roboto Slab</vt:lpstr>
      <vt:lpstr>Segoe UI</vt:lpstr>
      <vt:lpstr>Segoe UI Semilight</vt:lpstr>
      <vt:lpstr>Office Theme</vt:lpstr>
      <vt:lpstr>think-cell Slide</vt:lpstr>
      <vt:lpstr>PowerPoint Presentation</vt:lpstr>
      <vt:lpstr>PowerPoint Presentation</vt:lpstr>
      <vt:lpstr>‘Make In India’ Initiative:</vt:lpstr>
      <vt:lpstr>Startup Policies</vt:lpstr>
      <vt:lpstr>PowerPoint Presentation</vt:lpstr>
      <vt:lpstr>Scheme for assistance for Startups/Innovation</vt:lpstr>
      <vt:lpstr>Student Startup and Innovation Policy (SSIP) </vt:lpstr>
      <vt:lpstr>Scheme of assistance for Incubators and Start-ups</vt:lpstr>
      <vt:lpstr>Scheme of assistance for Biotechnology Industry </vt:lpstr>
      <vt:lpstr>Startup India Seed Fund Scheme </vt:lpstr>
      <vt:lpstr>Startup Incubators</vt:lpstr>
      <vt:lpstr>Ecosystem Stakeholders</vt:lpstr>
      <vt:lpstr>PowerPoint Presentation</vt:lpstr>
      <vt:lpstr>PowerPoint Presentation</vt:lpstr>
      <vt:lpstr>Valley of Death</vt:lpstr>
      <vt:lpstr>Critical Success Factors Framework</vt:lpstr>
      <vt:lpstr>DISRUPTING DISRUPTOR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khil suthar</dc:creator>
  <cp:lastModifiedBy>nikhil suthar</cp:lastModifiedBy>
  <cp:revision>23</cp:revision>
  <dcterms:created xsi:type="dcterms:W3CDTF">2022-12-09T17:58:48Z</dcterms:created>
  <dcterms:modified xsi:type="dcterms:W3CDTF">2022-12-10T08:23:32Z</dcterms:modified>
</cp:coreProperties>
</file>